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2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notesSlides/notesSlide13.xml" ContentType="application/vnd.openxmlformats-officedocument.presentationml.notesSlide+xml"/>
  <Override PartName="/ppt/tags/tag213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38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7FCBF1-225A-4CC4-9410-47DEC0CBE409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14C9846-21B2-4F4F-A0EB-3151C64F9999}">
      <dgm:prSet phldrT="[Texte]" custT="1"/>
      <dgm:spPr>
        <a:solidFill>
          <a:schemeClr val="bg1"/>
        </a:solidFill>
      </dgm:spPr>
      <dgm:t>
        <a:bodyPr/>
        <a:lstStyle/>
        <a:p>
          <a:r>
            <a:rPr lang="en-US" sz="1500" b="1" noProof="0" dirty="0" smtClean="0">
              <a:solidFill>
                <a:schemeClr val="tx2"/>
              </a:solidFill>
            </a:rPr>
            <a:t>DEVELOPMENT of SENEGAL EXPORTATIONS under AGOA</a:t>
          </a:r>
          <a:endParaRPr lang="en-US" sz="1500" b="1" noProof="0" dirty="0">
            <a:solidFill>
              <a:schemeClr val="tx2"/>
            </a:solidFill>
          </a:endParaRPr>
        </a:p>
      </dgm:t>
    </dgm:pt>
    <dgm:pt modelId="{B7565F65-4FA2-4F50-9BC4-FE49E4C0E795}" type="parTrans" cxnId="{3F255611-807A-49B3-848A-C89B7F2CB0CB}">
      <dgm:prSet/>
      <dgm:spPr/>
      <dgm:t>
        <a:bodyPr/>
        <a:lstStyle/>
        <a:p>
          <a:endParaRPr lang="en-US" noProof="0"/>
        </a:p>
      </dgm:t>
    </dgm:pt>
    <dgm:pt modelId="{1D5A534C-0513-4C1A-B663-198FB788AC84}" type="sibTrans" cxnId="{3F255611-807A-49B3-848A-C89B7F2CB0CB}">
      <dgm:prSet/>
      <dgm:spPr/>
      <dgm:t>
        <a:bodyPr/>
        <a:lstStyle/>
        <a:p>
          <a:endParaRPr lang="en-US" noProof="0"/>
        </a:p>
      </dgm:t>
    </dgm:pt>
    <dgm:pt modelId="{85304B2F-0350-40C3-8459-E34DD2C29608}">
      <dgm:prSet phldrT="[Texte]" custT="1"/>
      <dgm:spPr/>
      <dgm:t>
        <a:bodyPr/>
        <a:lstStyle/>
        <a:p>
          <a:r>
            <a:rPr lang="en-US" sz="1600" b="1" noProof="0" dirty="0" smtClean="0"/>
            <a:t>Enhancement of exportation capacity in US market</a:t>
          </a:r>
          <a:endParaRPr lang="en-US" sz="1400" b="1" noProof="0" dirty="0"/>
        </a:p>
      </dgm:t>
    </dgm:pt>
    <dgm:pt modelId="{36C171FF-50FD-4335-8CD3-0E6954723E2E}" type="parTrans" cxnId="{2A0E10C6-441B-4428-AD33-A546DC9DA6F7}">
      <dgm:prSet/>
      <dgm:spPr/>
      <dgm:t>
        <a:bodyPr/>
        <a:lstStyle/>
        <a:p>
          <a:endParaRPr lang="en-US" noProof="0"/>
        </a:p>
      </dgm:t>
    </dgm:pt>
    <dgm:pt modelId="{F99F9A53-6114-4327-8135-B717A4031BC5}" type="sibTrans" cxnId="{2A0E10C6-441B-4428-AD33-A546DC9DA6F7}">
      <dgm:prSet/>
      <dgm:spPr/>
      <dgm:t>
        <a:bodyPr/>
        <a:lstStyle/>
        <a:p>
          <a:endParaRPr lang="en-US" noProof="0"/>
        </a:p>
      </dgm:t>
    </dgm:pt>
    <dgm:pt modelId="{F22A6989-CC7C-4FFF-A28F-9B6D29D0ED66}">
      <dgm:prSet phldrT="[Texte]" custT="1"/>
      <dgm:spPr/>
      <dgm:t>
        <a:bodyPr/>
        <a:lstStyle/>
        <a:p>
          <a:r>
            <a:rPr lang="en-US" sz="1600" b="1" noProof="0" dirty="0" err="1" smtClean="0"/>
            <a:t>Sensibilisation</a:t>
          </a:r>
          <a:r>
            <a:rPr lang="en-US" sz="1600" b="1" noProof="0" dirty="0" smtClean="0"/>
            <a:t> about AGOA and information about opportunities in US market</a:t>
          </a:r>
          <a:endParaRPr lang="en-US" sz="1600" b="1" noProof="0" dirty="0"/>
        </a:p>
      </dgm:t>
    </dgm:pt>
    <dgm:pt modelId="{8660222C-14A1-4543-A576-4A8FE7B6F20D}" type="parTrans" cxnId="{13FCB234-4AAD-4D08-9227-B033A53C285C}">
      <dgm:prSet/>
      <dgm:spPr/>
      <dgm:t>
        <a:bodyPr/>
        <a:lstStyle/>
        <a:p>
          <a:endParaRPr lang="en-US" noProof="0"/>
        </a:p>
      </dgm:t>
    </dgm:pt>
    <dgm:pt modelId="{6FCCA6A3-609D-44EA-ADE4-4B65B157E6DD}" type="sibTrans" cxnId="{13FCB234-4AAD-4D08-9227-B033A53C285C}">
      <dgm:prSet/>
      <dgm:spPr/>
      <dgm:t>
        <a:bodyPr/>
        <a:lstStyle/>
        <a:p>
          <a:endParaRPr lang="en-US" noProof="0"/>
        </a:p>
      </dgm:t>
    </dgm:pt>
    <dgm:pt modelId="{34B446CA-681A-4CAF-8696-3B17C7E62BC5}">
      <dgm:prSet phldrT="[Texte]" custT="1"/>
      <dgm:spPr/>
      <dgm:t>
        <a:bodyPr/>
        <a:lstStyle/>
        <a:p>
          <a:r>
            <a:rPr lang="en-US" sz="1600" b="1" noProof="0" dirty="0" smtClean="0"/>
            <a:t>Promotion of  «From Senegal» in US market</a:t>
          </a:r>
          <a:endParaRPr lang="en-US" sz="1600" b="1" noProof="0" dirty="0"/>
        </a:p>
      </dgm:t>
    </dgm:pt>
    <dgm:pt modelId="{D17E4A92-3102-41A4-A70B-30F64378C712}" type="parTrans" cxnId="{4FCB235E-51FE-490B-8D91-102F7AD1D465}">
      <dgm:prSet/>
      <dgm:spPr/>
      <dgm:t>
        <a:bodyPr/>
        <a:lstStyle/>
        <a:p>
          <a:endParaRPr lang="en-US" noProof="0"/>
        </a:p>
      </dgm:t>
    </dgm:pt>
    <dgm:pt modelId="{A8EB7483-2B95-481F-A5BC-373659076A64}" type="sibTrans" cxnId="{4FCB235E-51FE-490B-8D91-102F7AD1D465}">
      <dgm:prSet/>
      <dgm:spPr/>
      <dgm:t>
        <a:bodyPr/>
        <a:lstStyle/>
        <a:p>
          <a:endParaRPr lang="en-US" noProof="0"/>
        </a:p>
      </dgm:t>
    </dgm:pt>
    <dgm:pt modelId="{E8D29004-87F2-4806-86D1-37515F684B4C}">
      <dgm:prSet phldrT="[Texte]" custT="1"/>
      <dgm:spPr/>
      <dgm:t>
        <a:bodyPr/>
        <a:lstStyle/>
        <a:p>
          <a:r>
            <a:rPr lang="en-US" sz="1600" b="1" noProof="0" dirty="0" smtClean="0"/>
            <a:t>Facilitation of trade exchange</a:t>
          </a:r>
          <a:endParaRPr lang="en-US" sz="1600" b="1" noProof="0" dirty="0"/>
        </a:p>
      </dgm:t>
    </dgm:pt>
    <dgm:pt modelId="{FB6A6BFF-ED87-4C6A-9D6A-8B6031CA6EA8}" type="parTrans" cxnId="{D36BA94D-217E-42F4-A94D-B10DF2DF57FC}">
      <dgm:prSet/>
      <dgm:spPr/>
      <dgm:t>
        <a:bodyPr/>
        <a:lstStyle/>
        <a:p>
          <a:endParaRPr lang="en-US" noProof="0"/>
        </a:p>
      </dgm:t>
    </dgm:pt>
    <dgm:pt modelId="{20686381-47AA-4EB8-B219-6F454059EF69}" type="sibTrans" cxnId="{D36BA94D-217E-42F4-A94D-B10DF2DF57FC}">
      <dgm:prSet/>
      <dgm:spPr/>
      <dgm:t>
        <a:bodyPr/>
        <a:lstStyle/>
        <a:p>
          <a:endParaRPr lang="en-US" noProof="0"/>
        </a:p>
      </dgm:t>
    </dgm:pt>
    <dgm:pt modelId="{59BADD3A-83D2-4E54-800D-9DA3D4954D1D}" type="pres">
      <dgm:prSet presAssocID="{167FCBF1-225A-4CC4-9410-47DEC0CBE409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80D7FFD-24C9-4125-B29A-CACED19630FA}" type="pres">
      <dgm:prSet presAssocID="{114C9846-21B2-4F4F-A0EB-3151C64F9999}" presName="centerShape" presStyleLbl="node0" presStyleIdx="0" presStyleCnt="1" custScaleX="154863" custScaleY="106523" custLinFactNeighborX="-2712" custLinFactNeighborY="-1205"/>
      <dgm:spPr/>
      <dgm:t>
        <a:bodyPr/>
        <a:lstStyle/>
        <a:p>
          <a:endParaRPr lang="fr-FR"/>
        </a:p>
      </dgm:t>
    </dgm:pt>
    <dgm:pt modelId="{7CF5A862-22FA-436C-A183-932DCD32FB06}" type="pres">
      <dgm:prSet presAssocID="{36C171FF-50FD-4335-8CD3-0E6954723E2E}" presName="Name9" presStyleLbl="parChTrans1D2" presStyleIdx="0" presStyleCnt="4"/>
      <dgm:spPr/>
      <dgm:t>
        <a:bodyPr/>
        <a:lstStyle/>
        <a:p>
          <a:endParaRPr lang="fr-FR"/>
        </a:p>
      </dgm:t>
    </dgm:pt>
    <dgm:pt modelId="{4AA40983-E682-4F79-878D-62676DCD7C90}" type="pres">
      <dgm:prSet presAssocID="{36C171FF-50FD-4335-8CD3-0E6954723E2E}" presName="connTx" presStyleLbl="parChTrans1D2" presStyleIdx="0" presStyleCnt="4"/>
      <dgm:spPr/>
      <dgm:t>
        <a:bodyPr/>
        <a:lstStyle/>
        <a:p>
          <a:endParaRPr lang="fr-FR"/>
        </a:p>
      </dgm:t>
    </dgm:pt>
    <dgm:pt modelId="{0C1AC2AE-F998-46A0-A9FD-2F8732A63928}" type="pres">
      <dgm:prSet presAssocID="{85304B2F-0350-40C3-8459-E34DD2C29608}" presName="node" presStyleLbl="node1" presStyleIdx="0" presStyleCnt="4" custScaleX="150551" custScaleY="137070" custRadScaleRad="102239" custRadScaleInc="231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ADFF119-65DD-493A-9994-1F31BC721F89}" type="pres">
      <dgm:prSet presAssocID="{8660222C-14A1-4543-A576-4A8FE7B6F20D}" presName="Name9" presStyleLbl="parChTrans1D2" presStyleIdx="1" presStyleCnt="4"/>
      <dgm:spPr/>
      <dgm:t>
        <a:bodyPr/>
        <a:lstStyle/>
        <a:p>
          <a:endParaRPr lang="fr-FR"/>
        </a:p>
      </dgm:t>
    </dgm:pt>
    <dgm:pt modelId="{945ECB31-F2A1-4252-9B09-10EA44AEE84E}" type="pres">
      <dgm:prSet presAssocID="{8660222C-14A1-4543-A576-4A8FE7B6F20D}" presName="connTx" presStyleLbl="parChTrans1D2" presStyleIdx="1" presStyleCnt="4"/>
      <dgm:spPr/>
      <dgm:t>
        <a:bodyPr/>
        <a:lstStyle/>
        <a:p>
          <a:endParaRPr lang="fr-FR"/>
        </a:p>
      </dgm:t>
    </dgm:pt>
    <dgm:pt modelId="{9C04D37B-633B-4DCA-8E2E-B1C46E295CB3}" type="pres">
      <dgm:prSet presAssocID="{F22A6989-CC7C-4FFF-A28F-9B6D29D0ED66}" presName="node" presStyleLbl="node1" presStyleIdx="1" presStyleCnt="4" custScaleX="160284" custScaleY="140979" custRadScaleRad="188806" custRadScaleInc="328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9FA44F9-E639-46AF-89AD-0D522A4BBA93}" type="pres">
      <dgm:prSet presAssocID="{D17E4A92-3102-41A4-A70B-30F64378C712}" presName="Name9" presStyleLbl="parChTrans1D2" presStyleIdx="2" presStyleCnt="4"/>
      <dgm:spPr/>
      <dgm:t>
        <a:bodyPr/>
        <a:lstStyle/>
        <a:p>
          <a:endParaRPr lang="fr-FR"/>
        </a:p>
      </dgm:t>
    </dgm:pt>
    <dgm:pt modelId="{44A198FD-FED7-45DB-8113-55FF62893249}" type="pres">
      <dgm:prSet presAssocID="{D17E4A92-3102-41A4-A70B-30F64378C712}" presName="connTx" presStyleLbl="parChTrans1D2" presStyleIdx="2" presStyleCnt="4"/>
      <dgm:spPr/>
      <dgm:t>
        <a:bodyPr/>
        <a:lstStyle/>
        <a:p>
          <a:endParaRPr lang="fr-FR"/>
        </a:p>
      </dgm:t>
    </dgm:pt>
    <dgm:pt modelId="{F3902607-CC6C-452D-89D6-984E744FE61D}" type="pres">
      <dgm:prSet presAssocID="{34B446CA-681A-4CAF-8696-3B17C7E62BC5}" presName="node" presStyleLbl="node1" presStyleIdx="2" presStyleCnt="4" custScaleX="153573" custScaleY="113304" custRadScaleRad="108743" custRadScaleInc="-365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A68A6BC-7C5F-40BC-84DB-372B7FEDF2A5}" type="pres">
      <dgm:prSet presAssocID="{FB6A6BFF-ED87-4C6A-9D6A-8B6031CA6EA8}" presName="Name9" presStyleLbl="parChTrans1D2" presStyleIdx="3" presStyleCnt="4"/>
      <dgm:spPr/>
      <dgm:t>
        <a:bodyPr/>
        <a:lstStyle/>
        <a:p>
          <a:endParaRPr lang="fr-FR"/>
        </a:p>
      </dgm:t>
    </dgm:pt>
    <dgm:pt modelId="{26A61203-8851-422B-AAD2-2BD11D48B80E}" type="pres">
      <dgm:prSet presAssocID="{FB6A6BFF-ED87-4C6A-9D6A-8B6031CA6EA8}" presName="connTx" presStyleLbl="parChTrans1D2" presStyleIdx="3" presStyleCnt="4"/>
      <dgm:spPr/>
      <dgm:t>
        <a:bodyPr/>
        <a:lstStyle/>
        <a:p>
          <a:endParaRPr lang="fr-FR"/>
        </a:p>
      </dgm:t>
    </dgm:pt>
    <dgm:pt modelId="{55EBC381-BED0-4C3D-A55C-A9A7C2C625DD}" type="pres">
      <dgm:prSet presAssocID="{E8D29004-87F2-4806-86D1-37515F684B4C}" presName="node" presStyleLbl="node1" presStyleIdx="3" presStyleCnt="4" custScaleX="136219" custScaleY="140979" custRadScaleRad="172264" custRadScaleInc="-56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54AD7161-6374-4E85-816F-A0696B8B6BBF}" type="presOf" srcId="{8660222C-14A1-4543-A576-4A8FE7B6F20D}" destId="{CADFF119-65DD-493A-9994-1F31BC721F89}" srcOrd="0" destOrd="0" presId="urn:microsoft.com/office/officeart/2005/8/layout/radial1"/>
    <dgm:cxn modelId="{F1196563-3967-4D8F-9EB7-FB20A33CC18B}" type="presOf" srcId="{FB6A6BFF-ED87-4C6A-9D6A-8B6031CA6EA8}" destId="{8A68A6BC-7C5F-40BC-84DB-372B7FEDF2A5}" srcOrd="0" destOrd="0" presId="urn:microsoft.com/office/officeart/2005/8/layout/radial1"/>
    <dgm:cxn modelId="{D36BA94D-217E-42F4-A94D-B10DF2DF57FC}" srcId="{114C9846-21B2-4F4F-A0EB-3151C64F9999}" destId="{E8D29004-87F2-4806-86D1-37515F684B4C}" srcOrd="3" destOrd="0" parTransId="{FB6A6BFF-ED87-4C6A-9D6A-8B6031CA6EA8}" sibTransId="{20686381-47AA-4EB8-B219-6F454059EF69}"/>
    <dgm:cxn modelId="{56DB6798-5590-4E7A-8CD3-4532699FA513}" type="presOf" srcId="{D17E4A92-3102-41A4-A70B-30F64378C712}" destId="{44A198FD-FED7-45DB-8113-55FF62893249}" srcOrd="1" destOrd="0" presId="urn:microsoft.com/office/officeart/2005/8/layout/radial1"/>
    <dgm:cxn modelId="{4FCB235E-51FE-490B-8D91-102F7AD1D465}" srcId="{114C9846-21B2-4F4F-A0EB-3151C64F9999}" destId="{34B446CA-681A-4CAF-8696-3B17C7E62BC5}" srcOrd="2" destOrd="0" parTransId="{D17E4A92-3102-41A4-A70B-30F64378C712}" sibTransId="{A8EB7483-2B95-481F-A5BC-373659076A64}"/>
    <dgm:cxn modelId="{30A33512-B940-4A6F-8238-BD43EEBAECC1}" type="presOf" srcId="{F22A6989-CC7C-4FFF-A28F-9B6D29D0ED66}" destId="{9C04D37B-633B-4DCA-8E2E-B1C46E295CB3}" srcOrd="0" destOrd="0" presId="urn:microsoft.com/office/officeart/2005/8/layout/radial1"/>
    <dgm:cxn modelId="{54FEA8F7-0252-44B1-A747-B189BAD15D8D}" type="presOf" srcId="{85304B2F-0350-40C3-8459-E34DD2C29608}" destId="{0C1AC2AE-F998-46A0-A9FD-2F8732A63928}" srcOrd="0" destOrd="0" presId="urn:microsoft.com/office/officeart/2005/8/layout/radial1"/>
    <dgm:cxn modelId="{918E1B38-918B-4D18-A59B-A9BB8A1A66A9}" type="presOf" srcId="{167FCBF1-225A-4CC4-9410-47DEC0CBE409}" destId="{59BADD3A-83D2-4E54-800D-9DA3D4954D1D}" srcOrd="0" destOrd="0" presId="urn:microsoft.com/office/officeart/2005/8/layout/radial1"/>
    <dgm:cxn modelId="{7ED294CB-D0B4-4D52-AB49-422D92194EC8}" type="presOf" srcId="{D17E4A92-3102-41A4-A70B-30F64378C712}" destId="{19FA44F9-E639-46AF-89AD-0D522A4BBA93}" srcOrd="0" destOrd="0" presId="urn:microsoft.com/office/officeart/2005/8/layout/radial1"/>
    <dgm:cxn modelId="{59CB249E-AF4C-4AAB-A747-8940E7D93252}" type="presOf" srcId="{E8D29004-87F2-4806-86D1-37515F684B4C}" destId="{55EBC381-BED0-4C3D-A55C-A9A7C2C625DD}" srcOrd="0" destOrd="0" presId="urn:microsoft.com/office/officeart/2005/8/layout/radial1"/>
    <dgm:cxn modelId="{1F27BAFC-E127-44FC-B075-44CE7F1D9257}" type="presOf" srcId="{114C9846-21B2-4F4F-A0EB-3151C64F9999}" destId="{C80D7FFD-24C9-4125-B29A-CACED19630FA}" srcOrd="0" destOrd="0" presId="urn:microsoft.com/office/officeart/2005/8/layout/radial1"/>
    <dgm:cxn modelId="{13FCB234-4AAD-4D08-9227-B033A53C285C}" srcId="{114C9846-21B2-4F4F-A0EB-3151C64F9999}" destId="{F22A6989-CC7C-4FFF-A28F-9B6D29D0ED66}" srcOrd="1" destOrd="0" parTransId="{8660222C-14A1-4543-A576-4A8FE7B6F20D}" sibTransId="{6FCCA6A3-609D-44EA-ADE4-4B65B157E6DD}"/>
    <dgm:cxn modelId="{3F255611-807A-49B3-848A-C89B7F2CB0CB}" srcId="{167FCBF1-225A-4CC4-9410-47DEC0CBE409}" destId="{114C9846-21B2-4F4F-A0EB-3151C64F9999}" srcOrd="0" destOrd="0" parTransId="{B7565F65-4FA2-4F50-9BC4-FE49E4C0E795}" sibTransId="{1D5A534C-0513-4C1A-B663-198FB788AC84}"/>
    <dgm:cxn modelId="{38E72077-B4B7-4AF2-96C1-AE3042C9F9BB}" type="presOf" srcId="{34B446CA-681A-4CAF-8696-3B17C7E62BC5}" destId="{F3902607-CC6C-452D-89D6-984E744FE61D}" srcOrd="0" destOrd="0" presId="urn:microsoft.com/office/officeart/2005/8/layout/radial1"/>
    <dgm:cxn modelId="{2A0E10C6-441B-4428-AD33-A546DC9DA6F7}" srcId="{114C9846-21B2-4F4F-A0EB-3151C64F9999}" destId="{85304B2F-0350-40C3-8459-E34DD2C29608}" srcOrd="0" destOrd="0" parTransId="{36C171FF-50FD-4335-8CD3-0E6954723E2E}" sibTransId="{F99F9A53-6114-4327-8135-B717A4031BC5}"/>
    <dgm:cxn modelId="{6C88FD87-8DE7-4B26-BF3F-30CE0EA48A2C}" type="presOf" srcId="{FB6A6BFF-ED87-4C6A-9D6A-8B6031CA6EA8}" destId="{26A61203-8851-422B-AAD2-2BD11D48B80E}" srcOrd="1" destOrd="0" presId="urn:microsoft.com/office/officeart/2005/8/layout/radial1"/>
    <dgm:cxn modelId="{C1550172-7355-4ECD-9496-4BBE2FB378B5}" type="presOf" srcId="{8660222C-14A1-4543-A576-4A8FE7B6F20D}" destId="{945ECB31-F2A1-4252-9B09-10EA44AEE84E}" srcOrd="1" destOrd="0" presId="urn:microsoft.com/office/officeart/2005/8/layout/radial1"/>
    <dgm:cxn modelId="{757ED8E6-D9E5-4AC1-B5CC-51B8DB9D4B6A}" type="presOf" srcId="{36C171FF-50FD-4335-8CD3-0E6954723E2E}" destId="{7CF5A862-22FA-436C-A183-932DCD32FB06}" srcOrd="0" destOrd="0" presId="urn:microsoft.com/office/officeart/2005/8/layout/radial1"/>
    <dgm:cxn modelId="{72F117B5-51F8-4194-A707-A8709862CA25}" type="presOf" srcId="{36C171FF-50FD-4335-8CD3-0E6954723E2E}" destId="{4AA40983-E682-4F79-878D-62676DCD7C90}" srcOrd="1" destOrd="0" presId="urn:microsoft.com/office/officeart/2005/8/layout/radial1"/>
    <dgm:cxn modelId="{E6317DAB-0954-434C-B361-315D1D4A26A9}" type="presParOf" srcId="{59BADD3A-83D2-4E54-800D-9DA3D4954D1D}" destId="{C80D7FFD-24C9-4125-B29A-CACED19630FA}" srcOrd="0" destOrd="0" presId="urn:microsoft.com/office/officeart/2005/8/layout/radial1"/>
    <dgm:cxn modelId="{80BFA8D1-0090-4424-B59C-3B4C809654BF}" type="presParOf" srcId="{59BADD3A-83D2-4E54-800D-9DA3D4954D1D}" destId="{7CF5A862-22FA-436C-A183-932DCD32FB06}" srcOrd="1" destOrd="0" presId="urn:microsoft.com/office/officeart/2005/8/layout/radial1"/>
    <dgm:cxn modelId="{8476B8D8-3B46-4410-A104-B60EEF7F0158}" type="presParOf" srcId="{7CF5A862-22FA-436C-A183-932DCD32FB06}" destId="{4AA40983-E682-4F79-878D-62676DCD7C90}" srcOrd="0" destOrd="0" presId="urn:microsoft.com/office/officeart/2005/8/layout/radial1"/>
    <dgm:cxn modelId="{AF84B611-B4E3-41C3-B9B5-365D46AB0317}" type="presParOf" srcId="{59BADD3A-83D2-4E54-800D-9DA3D4954D1D}" destId="{0C1AC2AE-F998-46A0-A9FD-2F8732A63928}" srcOrd="2" destOrd="0" presId="urn:microsoft.com/office/officeart/2005/8/layout/radial1"/>
    <dgm:cxn modelId="{7216D069-6D40-4079-B0F9-6B13168A49F6}" type="presParOf" srcId="{59BADD3A-83D2-4E54-800D-9DA3D4954D1D}" destId="{CADFF119-65DD-493A-9994-1F31BC721F89}" srcOrd="3" destOrd="0" presId="urn:microsoft.com/office/officeart/2005/8/layout/radial1"/>
    <dgm:cxn modelId="{26997D7D-84BF-4B63-BCDB-A9B0E52E8C1F}" type="presParOf" srcId="{CADFF119-65DD-493A-9994-1F31BC721F89}" destId="{945ECB31-F2A1-4252-9B09-10EA44AEE84E}" srcOrd="0" destOrd="0" presId="urn:microsoft.com/office/officeart/2005/8/layout/radial1"/>
    <dgm:cxn modelId="{A9998E71-F97C-4374-96A5-02D534989862}" type="presParOf" srcId="{59BADD3A-83D2-4E54-800D-9DA3D4954D1D}" destId="{9C04D37B-633B-4DCA-8E2E-B1C46E295CB3}" srcOrd="4" destOrd="0" presId="urn:microsoft.com/office/officeart/2005/8/layout/radial1"/>
    <dgm:cxn modelId="{C16B63F7-3D22-48E1-B5C1-B35AC3A91807}" type="presParOf" srcId="{59BADD3A-83D2-4E54-800D-9DA3D4954D1D}" destId="{19FA44F9-E639-46AF-89AD-0D522A4BBA93}" srcOrd="5" destOrd="0" presId="urn:microsoft.com/office/officeart/2005/8/layout/radial1"/>
    <dgm:cxn modelId="{B1551396-1C21-44CB-B12C-293DF78550DE}" type="presParOf" srcId="{19FA44F9-E639-46AF-89AD-0D522A4BBA93}" destId="{44A198FD-FED7-45DB-8113-55FF62893249}" srcOrd="0" destOrd="0" presId="urn:microsoft.com/office/officeart/2005/8/layout/radial1"/>
    <dgm:cxn modelId="{A914EEAF-FADA-4A49-BDB0-E5B18F536AEF}" type="presParOf" srcId="{59BADD3A-83D2-4E54-800D-9DA3D4954D1D}" destId="{F3902607-CC6C-452D-89D6-984E744FE61D}" srcOrd="6" destOrd="0" presId="urn:microsoft.com/office/officeart/2005/8/layout/radial1"/>
    <dgm:cxn modelId="{866B5C6E-054B-45FB-919B-EC49CD7921EF}" type="presParOf" srcId="{59BADD3A-83D2-4E54-800D-9DA3D4954D1D}" destId="{8A68A6BC-7C5F-40BC-84DB-372B7FEDF2A5}" srcOrd="7" destOrd="0" presId="urn:microsoft.com/office/officeart/2005/8/layout/radial1"/>
    <dgm:cxn modelId="{249311F8-EF46-4CF9-8925-037B6D89CE04}" type="presParOf" srcId="{8A68A6BC-7C5F-40BC-84DB-372B7FEDF2A5}" destId="{26A61203-8851-422B-AAD2-2BD11D48B80E}" srcOrd="0" destOrd="0" presId="urn:microsoft.com/office/officeart/2005/8/layout/radial1"/>
    <dgm:cxn modelId="{C12A7754-175B-430F-85F9-566F2219558A}" type="presParOf" srcId="{59BADD3A-83D2-4E54-800D-9DA3D4954D1D}" destId="{55EBC381-BED0-4C3D-A55C-A9A7C2C625DD}" srcOrd="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0D7FFD-24C9-4125-B29A-CACED19630FA}">
      <dsp:nvSpPr>
        <dsp:cNvPr id="0" name=""/>
        <dsp:cNvSpPr/>
      </dsp:nvSpPr>
      <dsp:spPr>
        <a:xfrm>
          <a:off x="3046566" y="1872209"/>
          <a:ext cx="2210006" cy="1520160"/>
        </a:xfrm>
        <a:prstGeom prst="ellipse">
          <a:avLst/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noProof="0" dirty="0" smtClean="0">
              <a:solidFill>
                <a:schemeClr val="tx2"/>
              </a:solidFill>
            </a:rPr>
            <a:t>DEVELOPMENT of SENEGAL EXPORTATIONS under AGOA</a:t>
          </a:r>
          <a:endParaRPr lang="en-US" sz="1500" b="1" kern="1200" noProof="0" dirty="0">
            <a:solidFill>
              <a:schemeClr val="tx2"/>
            </a:solidFill>
          </a:endParaRPr>
        </a:p>
      </dsp:txBody>
      <dsp:txXfrm>
        <a:off x="3370214" y="2094831"/>
        <a:ext cx="1562710" cy="1074916"/>
      </dsp:txXfrm>
    </dsp:sp>
    <dsp:sp modelId="{7CF5A862-22FA-436C-A183-932DCD32FB06}">
      <dsp:nvSpPr>
        <dsp:cNvPr id="0" name=""/>
        <dsp:cNvSpPr/>
      </dsp:nvSpPr>
      <dsp:spPr>
        <a:xfrm rot="16456157">
          <a:off x="4171677" y="1819016"/>
          <a:ext cx="78998" cy="29605"/>
        </a:xfrm>
        <a:custGeom>
          <a:avLst/>
          <a:gdLst/>
          <a:ahLst/>
          <a:cxnLst/>
          <a:rect l="0" t="0" r="0" b="0"/>
          <a:pathLst>
            <a:path>
              <a:moveTo>
                <a:pt x="0" y="14802"/>
              </a:moveTo>
              <a:lnTo>
                <a:pt x="78998" y="1480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4209201" y="1831844"/>
        <a:ext cx="3949" cy="3949"/>
      </dsp:txXfrm>
    </dsp:sp>
    <dsp:sp modelId="{0C1AC2AE-F998-46A0-A9FD-2F8732A63928}">
      <dsp:nvSpPr>
        <dsp:cNvPr id="0" name=""/>
        <dsp:cNvSpPr/>
      </dsp:nvSpPr>
      <dsp:spPr>
        <a:xfrm>
          <a:off x="3212725" y="-159407"/>
          <a:ext cx="2148471" cy="195608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noProof="0" dirty="0" smtClean="0"/>
            <a:t>Enhancement of exportation capacity in US market</a:t>
          </a:r>
          <a:endParaRPr lang="en-US" sz="1400" b="1" kern="1200" noProof="0" dirty="0"/>
        </a:p>
      </dsp:txBody>
      <dsp:txXfrm>
        <a:off x="3527361" y="127055"/>
        <a:ext cx="1519199" cy="1383163"/>
      </dsp:txXfrm>
    </dsp:sp>
    <dsp:sp modelId="{CADFF119-65DD-493A-9994-1F31BC721F89}">
      <dsp:nvSpPr>
        <dsp:cNvPr id="0" name=""/>
        <dsp:cNvSpPr/>
      </dsp:nvSpPr>
      <dsp:spPr>
        <a:xfrm rot="137469">
          <a:off x="5254254" y="2684338"/>
          <a:ext cx="1136468" cy="29605"/>
        </a:xfrm>
        <a:custGeom>
          <a:avLst/>
          <a:gdLst/>
          <a:ahLst/>
          <a:cxnLst/>
          <a:rect l="0" t="0" r="0" b="0"/>
          <a:pathLst>
            <a:path>
              <a:moveTo>
                <a:pt x="0" y="14802"/>
              </a:moveTo>
              <a:lnTo>
                <a:pt x="1136468" y="1480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5794077" y="2670730"/>
        <a:ext cx="56823" cy="56823"/>
      </dsp:txXfrm>
    </dsp:sp>
    <dsp:sp modelId="{9C04D37B-633B-4DCA-8E2E-B1C46E295CB3}">
      <dsp:nvSpPr>
        <dsp:cNvPr id="0" name=""/>
        <dsp:cNvSpPr/>
      </dsp:nvSpPr>
      <dsp:spPr>
        <a:xfrm>
          <a:off x="6389087" y="1761633"/>
          <a:ext cx="2287368" cy="201187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noProof="0" dirty="0" err="1" smtClean="0"/>
            <a:t>Sensibilisation</a:t>
          </a:r>
          <a:r>
            <a:rPr lang="en-US" sz="1600" b="1" kern="1200" noProof="0" dirty="0" smtClean="0"/>
            <a:t> about AGOA and information about opportunities in US market</a:t>
          </a:r>
          <a:endParaRPr lang="en-US" sz="1600" b="1" kern="1200" noProof="0" dirty="0"/>
        </a:p>
      </dsp:txBody>
      <dsp:txXfrm>
        <a:off x="6724064" y="2056265"/>
        <a:ext cx="1617414" cy="1422608"/>
      </dsp:txXfrm>
    </dsp:sp>
    <dsp:sp modelId="{19FA44F9-E639-46AF-89AD-0D522A4BBA93}">
      <dsp:nvSpPr>
        <dsp:cNvPr id="0" name=""/>
        <dsp:cNvSpPr/>
      </dsp:nvSpPr>
      <dsp:spPr>
        <a:xfrm rot="5113871">
          <a:off x="4059635" y="3545047"/>
          <a:ext cx="338631" cy="29605"/>
        </a:xfrm>
        <a:custGeom>
          <a:avLst/>
          <a:gdLst/>
          <a:ahLst/>
          <a:cxnLst/>
          <a:rect l="0" t="0" r="0" b="0"/>
          <a:pathLst>
            <a:path>
              <a:moveTo>
                <a:pt x="0" y="14802"/>
              </a:moveTo>
              <a:lnTo>
                <a:pt x="338631" y="1480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>
        <a:off x="4220485" y="3551384"/>
        <a:ext cx="16931" cy="16931"/>
      </dsp:txXfrm>
    </dsp:sp>
    <dsp:sp modelId="{F3902607-CC6C-452D-89D6-984E744FE61D}">
      <dsp:nvSpPr>
        <dsp:cNvPr id="0" name=""/>
        <dsp:cNvSpPr/>
      </dsp:nvSpPr>
      <dsp:spPr>
        <a:xfrm>
          <a:off x="3214546" y="3727053"/>
          <a:ext cx="2191597" cy="16169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noProof="0" dirty="0" smtClean="0"/>
            <a:t>Promotion of  «From Senegal» in US market</a:t>
          </a:r>
          <a:endParaRPr lang="en-US" sz="1600" b="1" kern="1200" noProof="0" dirty="0"/>
        </a:p>
      </dsp:txBody>
      <dsp:txXfrm>
        <a:off x="3535498" y="3963847"/>
        <a:ext cx="1549693" cy="1143341"/>
      </dsp:txXfrm>
    </dsp:sp>
    <dsp:sp modelId="{8A68A6BC-7C5F-40BC-84DB-372B7FEDF2A5}">
      <dsp:nvSpPr>
        <dsp:cNvPr id="0" name=""/>
        <dsp:cNvSpPr/>
      </dsp:nvSpPr>
      <dsp:spPr>
        <a:xfrm rot="10734570">
          <a:off x="2022693" y="2648259"/>
          <a:ext cx="1024388" cy="29605"/>
        </a:xfrm>
        <a:custGeom>
          <a:avLst/>
          <a:gdLst/>
          <a:ahLst/>
          <a:cxnLst/>
          <a:rect l="0" t="0" r="0" b="0"/>
          <a:pathLst>
            <a:path>
              <a:moveTo>
                <a:pt x="0" y="14802"/>
              </a:moveTo>
              <a:lnTo>
                <a:pt x="1024388" y="1480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noProof="0"/>
        </a:p>
      </dsp:txBody>
      <dsp:txXfrm rot="10800000">
        <a:off x="2509278" y="2637452"/>
        <a:ext cx="51219" cy="51219"/>
      </dsp:txXfrm>
    </dsp:sp>
    <dsp:sp modelId="{55EBC381-BED0-4C3D-A55C-A9A7C2C625DD}">
      <dsp:nvSpPr>
        <dsp:cNvPr id="0" name=""/>
        <dsp:cNvSpPr/>
      </dsp:nvSpPr>
      <dsp:spPr>
        <a:xfrm>
          <a:off x="79007" y="1685372"/>
          <a:ext cx="1943943" cy="201187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noProof="0" dirty="0" smtClean="0"/>
            <a:t>Facilitation of trade exchange</a:t>
          </a:r>
          <a:endParaRPr lang="en-US" sz="1600" b="1" kern="1200" noProof="0" dirty="0"/>
        </a:p>
      </dsp:txBody>
      <dsp:txXfrm>
        <a:off x="363691" y="1980004"/>
        <a:ext cx="1374575" cy="14226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CF40ED-D0E4-4F1E-8714-EC58223FCD51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7385C2-FC31-4316-B75E-90E1DC3462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2340074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gif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3CBBDE-9B43-7946-8820-8B408CF3608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13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1503" indent="-284292"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1564" indent="-227141"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598775" indent="-227141"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5986" indent="-227141"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478028" indent="-227141" defTabSz="92468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00069" indent="-227141" defTabSz="92468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322110" indent="-227141" defTabSz="92468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744152" indent="-227141" defTabSz="92468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0" hangingPunct="0"/>
            <a:fld id="{EAE52E1F-6613-0349-A39D-9E8F2EC0FAC1}" type="slidenum">
              <a:rPr lang="fr-FR" sz="1200">
                <a:solidFill>
                  <a:srgbClr val="000000"/>
                </a:solidFill>
                <a:latin typeface="Arial" charset="0"/>
              </a:rPr>
              <a:pPr eaLnBrk="0" hangingPunct="0"/>
              <a:t>13</a:t>
            </a:fld>
            <a:endParaRPr lang="fr-FR" sz="12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7388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458" y="4340103"/>
            <a:ext cx="5033085" cy="411600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4314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636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636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636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636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636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63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63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63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63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084DFFF-3075-49B9-BE9E-9AC527996402}" type="slidenum">
              <a:rPr lang="fr-FR" altLang="fr-FR" smtClean="0">
                <a:latin typeface="Arial" pitchFamily="34" charset="0"/>
                <a:ea typeface="MS PGothic" pitchFamily="34" charset="-128"/>
                <a:cs typeface="Arial" pitchFamily="34" charset="0"/>
              </a:rPr>
              <a:pPr eaLnBrk="1" hangingPunct="1">
                <a:spcBef>
                  <a:spcPct val="0"/>
                </a:spcBef>
              </a:pPr>
              <a:t>14</a:t>
            </a:fld>
            <a:endParaRPr lang="fr-FR" altLang="fr-FR" smtClean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4588" y="687388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36638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3588" cy="34305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6038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3588" cy="34305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fr-FR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1493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4A013DAC-5CD8-4506-8ED4-2C0D95FB3E33}" type="slidenum">
              <a:rPr lang="fr-FR" altLang="fr-FR" smtClean="0">
                <a:latin typeface="Arial" charset="0"/>
                <a:ea typeface="MS PGothic" pitchFamily="34" charset="-128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fr-FR" altLang="fr-FR" smtClean="0">
              <a:latin typeface="Arial" charset="0"/>
              <a:ea typeface="MS PGothic" pitchFamily="34" charset="-128"/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8976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4A013DAC-5CD8-4506-8ED4-2C0D95FB3E33}" type="slidenum">
              <a:rPr lang="fr-FR" altLang="fr-FR" smtClean="0">
                <a:latin typeface="Arial" charset="0"/>
                <a:ea typeface="MS PGothic" pitchFamily="34" charset="-128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fr-FR" altLang="fr-FR" smtClean="0">
              <a:latin typeface="Arial" charset="0"/>
              <a:ea typeface="MS PGothic" pitchFamily="34" charset="-128"/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342900" lvl="0" indent="-342900">
              <a:spcBef>
                <a:spcPct val="20000"/>
              </a:spcBef>
              <a:buBlip>
                <a:blip r:embed="rId3"/>
              </a:buBlip>
            </a:pPr>
            <a:r>
              <a:rPr lang="fr-FR" sz="1200" b="1" dirty="0" smtClean="0"/>
              <a:t>Produits congelés</a:t>
            </a:r>
          </a:p>
          <a:p>
            <a:pPr marL="342900" lvl="0" indent="-342900">
              <a:spcBef>
                <a:spcPct val="20000"/>
              </a:spcBef>
              <a:buBlip>
                <a:blip r:embed="rId3"/>
              </a:buBlip>
            </a:pPr>
            <a:r>
              <a:rPr lang="fr-FR" sz="1200" b="1" dirty="0" smtClean="0"/>
              <a:t>Produits frais</a:t>
            </a:r>
          </a:p>
          <a:p>
            <a:pPr marL="342900" lvl="0" indent="-342900">
              <a:spcBef>
                <a:spcPct val="20000"/>
              </a:spcBef>
              <a:buBlip>
                <a:blip r:embed="rId3"/>
              </a:buBlip>
            </a:pPr>
            <a:r>
              <a:rPr lang="fr-FR" sz="1200" b="1" dirty="0" smtClean="0"/>
              <a:t>Mollusques et crustacés</a:t>
            </a:r>
          </a:p>
          <a:p>
            <a:pPr marL="342900" lvl="0" indent="-342900">
              <a:spcBef>
                <a:spcPct val="20000"/>
              </a:spcBef>
              <a:buBlip>
                <a:blip r:embed="rId3"/>
              </a:buBlip>
            </a:pPr>
            <a:r>
              <a:rPr lang="fr-FR" sz="1200" b="1" dirty="0" smtClean="0"/>
              <a:t>Conserves et farine de poisson</a:t>
            </a:r>
          </a:p>
          <a:p>
            <a:pPr marL="342900" lvl="0" indent="-342900">
              <a:spcBef>
                <a:spcPct val="20000"/>
              </a:spcBef>
              <a:buBlip>
                <a:blip r:embed="rId3"/>
              </a:buBlip>
            </a:pPr>
            <a:r>
              <a:rPr lang="fr-FR" sz="1200" b="1" dirty="0" smtClean="0"/>
              <a:t>Nouvelles espèces (les chinchards, les </a:t>
            </a:r>
            <a:r>
              <a:rPr lang="fr-FR" sz="1200" b="1" dirty="0" err="1" smtClean="0"/>
              <a:t>barbures</a:t>
            </a:r>
            <a:r>
              <a:rPr lang="fr-FR" sz="1200" b="1" dirty="0" smtClean="0"/>
              <a:t> (</a:t>
            </a:r>
            <a:r>
              <a:rPr lang="fr-FR" sz="1200" b="1" dirty="0" err="1" smtClean="0"/>
              <a:t>thiekeme</a:t>
            </a:r>
            <a:r>
              <a:rPr lang="fr-FR" sz="1200" b="1" dirty="0" smtClean="0"/>
              <a:t>), les ceintures, les sardinelles)</a:t>
            </a:r>
          </a:p>
          <a:p>
            <a:pPr marL="342900" lvl="0" indent="-342900">
              <a:spcBef>
                <a:spcPct val="20000"/>
              </a:spcBef>
              <a:buBlip>
                <a:blip r:embed="rId3"/>
              </a:buBlip>
            </a:pPr>
            <a:r>
              <a:rPr lang="fr-FR" sz="1200" b="1" dirty="0" smtClean="0"/>
              <a:t>Produits séchés et fumés </a:t>
            </a:r>
          </a:p>
          <a:p>
            <a:pPr marL="342900" lvl="0" indent="-342900">
              <a:spcBef>
                <a:spcPct val="20000"/>
              </a:spcBef>
              <a:buBlip>
                <a:blip r:embed="rId3"/>
              </a:buBlip>
            </a:pPr>
            <a:r>
              <a:rPr lang="fr-FR" sz="1200" b="1" dirty="0" smtClean="0"/>
              <a:t>Produits aquacoles</a:t>
            </a:r>
          </a:p>
          <a:p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2354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3CBBDE-9B43-7946-8820-8B408CF3608A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67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A cela s’ajoute une économie résiliente et compétitive à l’échelle sous régionale avec</a:t>
            </a:r>
            <a:r>
              <a:rPr lang="fr-FR" baseline="0" dirty="0" smtClean="0"/>
              <a:t> les classements que voici :</a:t>
            </a:r>
          </a:p>
          <a:p>
            <a:r>
              <a:rPr lang="fr-FR" baseline="0" dirty="0" smtClean="0"/>
              <a:t>  - 2 PIB de l’</a:t>
            </a:r>
            <a:r>
              <a:rPr lang="fr-FR" baseline="0" dirty="0" err="1" smtClean="0"/>
              <a:t>espcae</a:t>
            </a:r>
            <a:r>
              <a:rPr lang="fr-FR" baseline="0" dirty="0" smtClean="0"/>
              <a:t> UEMOA</a:t>
            </a:r>
          </a:p>
          <a:p>
            <a:r>
              <a:rPr lang="fr-FR" baseline="0" dirty="0" smtClean="0"/>
              <a:t>  - 4 Taux de Croissance</a:t>
            </a:r>
          </a:p>
          <a:p>
            <a:r>
              <a:rPr lang="fr-FR" baseline="0" dirty="0" smtClean="0"/>
              <a:t>  - Le plus taux d’inflation ( 1,4ù)</a:t>
            </a:r>
          </a:p>
          <a:p>
            <a:r>
              <a:rPr lang="fr-FR" baseline="0" dirty="0" smtClean="0"/>
              <a:t>  - 3 récepteur d’IDE de l’espace UEMO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715590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6175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906" y="4344135"/>
            <a:ext cx="5032190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614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fr-FR" smtClean="0">
                <a:latin typeface="Arial" panose="020B0604020202020204" pitchFamily="34" charset="0"/>
              </a:rPr>
              <a:t>Stability is a prerequiste for any Country long-term economic development and political progress.</a:t>
            </a:r>
          </a:p>
          <a:p>
            <a:endParaRPr lang="fr-FR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7F962CE1-B0A3-42C5-8282-10429E648CFF}" type="slidenum">
              <a:rPr lang="fr-FR">
                <a:latin typeface="Calibri" panose="020F0502020204030204" pitchFamily="34" charset="0"/>
              </a:rPr>
              <a:pPr eaLnBrk="1" hangingPunct="1"/>
              <a:t>6</a:t>
            </a:fld>
            <a:endParaRPr lang="fr-FR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0912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Sénégal dispose d’un important potentiel touristique grâce à l’existence de sites d’une beauté exceptionnelle et sa position qui en fait l’un des pays les plus ensoleillés du globe</a:t>
            </a:r>
            <a:r>
              <a:rPr lang="fr-FR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fr-FR" sz="1200" dirty="0" smtClean="0">
                <a:solidFill>
                  <a:prstClr val="black"/>
                </a:solidFill>
                <a:latin typeface="+mn-lt"/>
                <a:cs typeface="Arial" charset="0"/>
              </a:rPr>
              <a:t>3 000 heures d’ensoleillement/ an)  </a:t>
            </a:r>
          </a:p>
          <a:p>
            <a:pPr marL="342900" indent="-3429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 dirty="0" smtClean="0">
                <a:solidFill>
                  <a:prstClr val="black"/>
                </a:solidFill>
                <a:latin typeface="+mn-lt"/>
                <a:cs typeface="Arial" charset="0"/>
              </a:rPr>
              <a:t>Température modérée </a:t>
            </a:r>
            <a:r>
              <a:rPr lang="fr-FR" sz="1200" b="1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(25°C)</a:t>
            </a:r>
          </a:p>
          <a:p>
            <a:pPr marL="342900" indent="-3429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black"/>
              </a:buClr>
              <a:buFont typeface="Arial" pitchFamily="34" charset="0"/>
              <a:buChar char="•"/>
              <a:defRPr/>
            </a:pPr>
            <a:r>
              <a:rPr lang="fr-FR" sz="1200" b="1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700 km </a:t>
            </a:r>
            <a:r>
              <a:rPr lang="fr-FR" sz="1200" dirty="0" smtClean="0">
                <a:solidFill>
                  <a:prstClr val="black"/>
                </a:solidFill>
                <a:latin typeface="+mn-lt"/>
                <a:cs typeface="Arial" charset="0"/>
              </a:rPr>
              <a:t>de Côtes</a:t>
            </a:r>
          </a:p>
          <a:p>
            <a:pPr marL="342900" indent="-3429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 b="1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500 km </a:t>
            </a:r>
            <a:r>
              <a:rPr lang="fr-FR" sz="1200" dirty="0" smtClean="0">
                <a:solidFill>
                  <a:prstClr val="black"/>
                </a:solidFill>
                <a:latin typeface="+mn-lt"/>
                <a:cs typeface="Arial" charset="0"/>
              </a:rPr>
              <a:t>de plages</a:t>
            </a:r>
          </a:p>
          <a:p>
            <a:pPr marL="342900" indent="-3429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 dirty="0" smtClean="0">
                <a:solidFill>
                  <a:prstClr val="black"/>
                </a:solidFill>
                <a:latin typeface="+mn-lt"/>
                <a:cs typeface="Arial" charset="0"/>
              </a:rPr>
              <a:t>Position géographique stratégique</a:t>
            </a:r>
          </a:p>
          <a:p>
            <a:pPr marL="342900" indent="-3429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black"/>
              </a:buClr>
              <a:buFont typeface="Arial" pitchFamily="34" charset="0"/>
              <a:buChar char="•"/>
              <a:defRPr/>
            </a:pPr>
            <a:r>
              <a:rPr lang="fr-FR" sz="1200" b="1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5 Aéroports internationaux</a:t>
            </a:r>
          </a:p>
          <a:p>
            <a:pPr marL="342900" indent="-3429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fr-FR" sz="1200" dirty="0" smtClean="0">
                <a:solidFill>
                  <a:prstClr val="black"/>
                </a:solidFill>
                <a:latin typeface="+mn-lt"/>
                <a:cs typeface="Arial" charset="0"/>
              </a:rPr>
              <a:t>Environ </a:t>
            </a:r>
            <a:r>
              <a:rPr lang="fr-FR" sz="1200" b="1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20 compagnies aériennes </a:t>
            </a:r>
          </a:p>
          <a:p>
            <a:pPr marL="342900" indent="-3429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black"/>
              </a:buClr>
              <a:buFont typeface="Arial" pitchFamily="34" charset="0"/>
              <a:buChar char="•"/>
              <a:defRPr/>
            </a:pPr>
            <a:r>
              <a:rPr lang="fr-FR" sz="1200" b="1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A 5 heures </a:t>
            </a:r>
            <a:r>
              <a:rPr lang="fr-FR" sz="1200" dirty="0" smtClean="0">
                <a:solidFill>
                  <a:prstClr val="black"/>
                </a:solidFill>
                <a:latin typeface="+mn-lt"/>
                <a:cs typeface="Arial" charset="0"/>
              </a:rPr>
              <a:t>des pays d’Europe</a:t>
            </a:r>
          </a:p>
          <a:p>
            <a:pPr marL="342900" indent="-342900" eaLnBrk="0" fontAlgn="auto" hangingPunct="0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>
                <a:prstClr val="black"/>
              </a:buClr>
              <a:buFont typeface="Arial" pitchFamily="34" charset="0"/>
              <a:buChar char="•"/>
              <a:defRPr/>
            </a:pPr>
            <a:r>
              <a:rPr lang="fr-FR" sz="1200" b="1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A 7 heures </a:t>
            </a:r>
            <a:r>
              <a:rPr lang="fr-FR" sz="1200" dirty="0" smtClean="0">
                <a:solidFill>
                  <a:prstClr val="black"/>
                </a:solidFill>
                <a:latin typeface="+mn-lt"/>
                <a:cs typeface="Arial" charset="0"/>
              </a:rPr>
              <a:t>des Etats Unis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475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0E23357-3601-4820-9E1E-4BC5243C0113}" type="slidenum">
              <a:rPr lang="fr-F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8104680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508" y="4344135"/>
            <a:ext cx="5028986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pt-BR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44250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/>
          </a:p>
        </p:txBody>
      </p:sp>
      <p:sp>
        <p:nvSpPr>
          <p:cNvPr id="7475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0E23357-3601-4820-9E1E-4BC5243C0113}" type="slidenum">
              <a:rPr lang="fr-FR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fr-FR" smtClean="0"/>
          </a:p>
        </p:txBody>
      </p:sp>
    </p:spTree>
    <p:extLst>
      <p:ext uri="{BB962C8B-B14F-4D97-AF65-F5344CB8AC3E}">
        <p14:creationId xmlns:p14="http://schemas.microsoft.com/office/powerpoint/2010/main" val="23412905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1503" indent="-284292"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1564" indent="-227141"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598775" indent="-227141"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5986" indent="-227141" defTabSz="924681"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478028" indent="-227141" defTabSz="92468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00069" indent="-227141" defTabSz="92468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322110" indent="-227141" defTabSz="92468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744152" indent="-227141" defTabSz="924681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0" hangingPunct="0"/>
            <a:fld id="{EAE52E1F-6613-0349-A39D-9E8F2EC0FAC1}" type="slidenum">
              <a:rPr lang="fr-FR" sz="1200">
                <a:solidFill>
                  <a:srgbClr val="000000"/>
                </a:solidFill>
                <a:latin typeface="Arial" charset="0"/>
              </a:rPr>
              <a:pPr eaLnBrk="0" hangingPunct="0"/>
              <a:t>12</a:t>
            </a:fld>
            <a:endParaRPr lang="fr-FR" sz="12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7388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458" y="4340103"/>
            <a:ext cx="5033085" cy="411600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096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fr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6177501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4416146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0167214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C29C0F-2AE5-8A46-8DF6-8828BBA0CC94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503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816852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8583041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778361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57631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7804978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700106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4369936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636509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fr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F003A7-495D-42D4-A6B4-6336D95161CB}" type="datetimeFigureOut">
              <a:rPr lang="fr-CA" smtClean="0"/>
              <a:t>2015-02-0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26DB45-997C-47A8-AA45-05A3D6273746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18520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5" Type="http://schemas.openxmlformats.org/officeDocument/2006/relationships/image" Target="../media/image19.pn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8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9.jpe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28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26" Type="http://schemas.openxmlformats.org/officeDocument/2006/relationships/tags" Target="../tags/tag126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tags" Target="../tags/tag116.xml"/><Relationship Id="rId124" Type="http://schemas.openxmlformats.org/officeDocument/2006/relationships/tags" Target="../tags/tag124.xml"/><Relationship Id="rId129" Type="http://schemas.openxmlformats.org/officeDocument/2006/relationships/notesSlide" Target="../notesSlides/notesSlide12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tags" Target="../tags/tag11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30" Type="http://schemas.openxmlformats.org/officeDocument/2006/relationships/image" Target="../media/image42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61" Type="http://schemas.openxmlformats.org/officeDocument/2006/relationships/tags" Target="../tags/tag61.xml"/><Relationship Id="rId82" Type="http://schemas.openxmlformats.org/officeDocument/2006/relationships/tags" Target="../tags/tag82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tags" Target="../tags/tag153.xml"/><Relationship Id="rId39" Type="http://schemas.openxmlformats.org/officeDocument/2006/relationships/tags" Target="../tags/tag166.xml"/><Relationship Id="rId21" Type="http://schemas.openxmlformats.org/officeDocument/2006/relationships/tags" Target="../tags/tag148.xml"/><Relationship Id="rId34" Type="http://schemas.openxmlformats.org/officeDocument/2006/relationships/tags" Target="../tags/tag161.xml"/><Relationship Id="rId42" Type="http://schemas.openxmlformats.org/officeDocument/2006/relationships/tags" Target="../tags/tag169.xml"/><Relationship Id="rId47" Type="http://schemas.openxmlformats.org/officeDocument/2006/relationships/tags" Target="../tags/tag174.xml"/><Relationship Id="rId50" Type="http://schemas.openxmlformats.org/officeDocument/2006/relationships/tags" Target="../tags/tag177.xml"/><Relationship Id="rId55" Type="http://schemas.openxmlformats.org/officeDocument/2006/relationships/tags" Target="../tags/tag182.xml"/><Relationship Id="rId63" Type="http://schemas.openxmlformats.org/officeDocument/2006/relationships/tags" Target="../tags/tag190.xml"/><Relationship Id="rId68" Type="http://schemas.openxmlformats.org/officeDocument/2006/relationships/tags" Target="../tags/tag195.xml"/><Relationship Id="rId76" Type="http://schemas.openxmlformats.org/officeDocument/2006/relationships/tags" Target="../tags/tag203.xml"/><Relationship Id="rId84" Type="http://schemas.openxmlformats.org/officeDocument/2006/relationships/tags" Target="../tags/tag211.xml"/><Relationship Id="rId89" Type="http://schemas.openxmlformats.org/officeDocument/2006/relationships/image" Target="../media/image44.jpeg"/><Relationship Id="rId7" Type="http://schemas.openxmlformats.org/officeDocument/2006/relationships/tags" Target="../tags/tag134.xml"/><Relationship Id="rId71" Type="http://schemas.openxmlformats.org/officeDocument/2006/relationships/tags" Target="../tags/tag198.xml"/><Relationship Id="rId92" Type="http://schemas.openxmlformats.org/officeDocument/2006/relationships/image" Target="../media/image47.jpeg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9" Type="http://schemas.openxmlformats.org/officeDocument/2006/relationships/tags" Target="../tags/tag156.xml"/><Relationship Id="rId11" Type="http://schemas.openxmlformats.org/officeDocument/2006/relationships/tags" Target="../tags/tag138.xml"/><Relationship Id="rId24" Type="http://schemas.openxmlformats.org/officeDocument/2006/relationships/tags" Target="../tags/tag151.xml"/><Relationship Id="rId32" Type="http://schemas.openxmlformats.org/officeDocument/2006/relationships/tags" Target="../tags/tag159.xml"/><Relationship Id="rId37" Type="http://schemas.openxmlformats.org/officeDocument/2006/relationships/tags" Target="../tags/tag164.xml"/><Relationship Id="rId40" Type="http://schemas.openxmlformats.org/officeDocument/2006/relationships/tags" Target="../tags/tag167.xml"/><Relationship Id="rId45" Type="http://schemas.openxmlformats.org/officeDocument/2006/relationships/tags" Target="../tags/tag172.xml"/><Relationship Id="rId53" Type="http://schemas.openxmlformats.org/officeDocument/2006/relationships/tags" Target="../tags/tag180.xml"/><Relationship Id="rId58" Type="http://schemas.openxmlformats.org/officeDocument/2006/relationships/tags" Target="../tags/tag185.xml"/><Relationship Id="rId66" Type="http://schemas.openxmlformats.org/officeDocument/2006/relationships/tags" Target="../tags/tag193.xml"/><Relationship Id="rId74" Type="http://schemas.openxmlformats.org/officeDocument/2006/relationships/tags" Target="../tags/tag201.xml"/><Relationship Id="rId79" Type="http://schemas.openxmlformats.org/officeDocument/2006/relationships/tags" Target="../tags/tag206.xml"/><Relationship Id="rId87" Type="http://schemas.openxmlformats.org/officeDocument/2006/relationships/notesSlide" Target="../notesSlides/notesSlide13.xml"/><Relationship Id="rId5" Type="http://schemas.openxmlformats.org/officeDocument/2006/relationships/tags" Target="../tags/tag132.xml"/><Relationship Id="rId61" Type="http://schemas.openxmlformats.org/officeDocument/2006/relationships/tags" Target="../tags/tag188.xml"/><Relationship Id="rId82" Type="http://schemas.openxmlformats.org/officeDocument/2006/relationships/tags" Target="../tags/tag209.xml"/><Relationship Id="rId90" Type="http://schemas.openxmlformats.org/officeDocument/2006/relationships/image" Target="../media/image45.jpeg"/><Relationship Id="rId95" Type="http://schemas.openxmlformats.org/officeDocument/2006/relationships/image" Target="../media/image50.jpeg"/><Relationship Id="rId19" Type="http://schemas.openxmlformats.org/officeDocument/2006/relationships/tags" Target="../tags/tag14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tags" Target="../tags/tag154.xml"/><Relationship Id="rId30" Type="http://schemas.openxmlformats.org/officeDocument/2006/relationships/tags" Target="../tags/tag157.xml"/><Relationship Id="rId35" Type="http://schemas.openxmlformats.org/officeDocument/2006/relationships/tags" Target="../tags/tag162.xml"/><Relationship Id="rId43" Type="http://schemas.openxmlformats.org/officeDocument/2006/relationships/tags" Target="../tags/tag170.xml"/><Relationship Id="rId48" Type="http://schemas.openxmlformats.org/officeDocument/2006/relationships/tags" Target="../tags/tag175.xml"/><Relationship Id="rId56" Type="http://schemas.openxmlformats.org/officeDocument/2006/relationships/tags" Target="../tags/tag183.xml"/><Relationship Id="rId64" Type="http://schemas.openxmlformats.org/officeDocument/2006/relationships/tags" Target="../tags/tag191.xml"/><Relationship Id="rId69" Type="http://schemas.openxmlformats.org/officeDocument/2006/relationships/tags" Target="../tags/tag196.xml"/><Relationship Id="rId77" Type="http://schemas.openxmlformats.org/officeDocument/2006/relationships/tags" Target="../tags/tag204.xml"/><Relationship Id="rId8" Type="http://schemas.openxmlformats.org/officeDocument/2006/relationships/tags" Target="../tags/tag135.xml"/><Relationship Id="rId51" Type="http://schemas.openxmlformats.org/officeDocument/2006/relationships/tags" Target="../tags/tag178.xml"/><Relationship Id="rId72" Type="http://schemas.openxmlformats.org/officeDocument/2006/relationships/tags" Target="../tags/tag199.xml"/><Relationship Id="rId80" Type="http://schemas.openxmlformats.org/officeDocument/2006/relationships/tags" Target="../tags/tag207.xml"/><Relationship Id="rId85" Type="http://schemas.openxmlformats.org/officeDocument/2006/relationships/tags" Target="../tags/tag212.xml"/><Relationship Id="rId93" Type="http://schemas.openxmlformats.org/officeDocument/2006/relationships/image" Target="../media/image48.jpeg"/><Relationship Id="rId3" Type="http://schemas.openxmlformats.org/officeDocument/2006/relationships/tags" Target="../tags/tag130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tags" Target="../tags/tag152.xml"/><Relationship Id="rId33" Type="http://schemas.openxmlformats.org/officeDocument/2006/relationships/tags" Target="../tags/tag160.xml"/><Relationship Id="rId38" Type="http://schemas.openxmlformats.org/officeDocument/2006/relationships/tags" Target="../tags/tag165.xml"/><Relationship Id="rId46" Type="http://schemas.openxmlformats.org/officeDocument/2006/relationships/tags" Target="../tags/tag173.xml"/><Relationship Id="rId59" Type="http://schemas.openxmlformats.org/officeDocument/2006/relationships/tags" Target="../tags/tag186.xml"/><Relationship Id="rId67" Type="http://schemas.openxmlformats.org/officeDocument/2006/relationships/tags" Target="../tags/tag194.xml"/><Relationship Id="rId20" Type="http://schemas.openxmlformats.org/officeDocument/2006/relationships/tags" Target="../tags/tag147.xml"/><Relationship Id="rId41" Type="http://schemas.openxmlformats.org/officeDocument/2006/relationships/tags" Target="../tags/tag168.xml"/><Relationship Id="rId54" Type="http://schemas.openxmlformats.org/officeDocument/2006/relationships/tags" Target="../tags/tag181.xml"/><Relationship Id="rId62" Type="http://schemas.openxmlformats.org/officeDocument/2006/relationships/tags" Target="../tags/tag189.xml"/><Relationship Id="rId70" Type="http://schemas.openxmlformats.org/officeDocument/2006/relationships/tags" Target="../tags/tag197.xml"/><Relationship Id="rId75" Type="http://schemas.openxmlformats.org/officeDocument/2006/relationships/tags" Target="../tags/tag202.xml"/><Relationship Id="rId83" Type="http://schemas.openxmlformats.org/officeDocument/2006/relationships/tags" Target="../tags/tag210.xml"/><Relationship Id="rId88" Type="http://schemas.openxmlformats.org/officeDocument/2006/relationships/image" Target="../media/image43.emf"/><Relationship Id="rId91" Type="http://schemas.openxmlformats.org/officeDocument/2006/relationships/image" Target="../media/image46.jpeg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15" Type="http://schemas.openxmlformats.org/officeDocument/2006/relationships/tags" Target="../tags/tag142.xml"/><Relationship Id="rId23" Type="http://schemas.openxmlformats.org/officeDocument/2006/relationships/tags" Target="../tags/tag150.xml"/><Relationship Id="rId28" Type="http://schemas.openxmlformats.org/officeDocument/2006/relationships/tags" Target="../tags/tag155.xml"/><Relationship Id="rId36" Type="http://schemas.openxmlformats.org/officeDocument/2006/relationships/tags" Target="../tags/tag163.xml"/><Relationship Id="rId49" Type="http://schemas.openxmlformats.org/officeDocument/2006/relationships/tags" Target="../tags/tag176.xml"/><Relationship Id="rId57" Type="http://schemas.openxmlformats.org/officeDocument/2006/relationships/tags" Target="../tags/tag184.xml"/><Relationship Id="rId10" Type="http://schemas.openxmlformats.org/officeDocument/2006/relationships/tags" Target="../tags/tag137.xml"/><Relationship Id="rId31" Type="http://schemas.openxmlformats.org/officeDocument/2006/relationships/tags" Target="../tags/tag158.xml"/><Relationship Id="rId44" Type="http://schemas.openxmlformats.org/officeDocument/2006/relationships/tags" Target="../tags/tag171.xml"/><Relationship Id="rId52" Type="http://schemas.openxmlformats.org/officeDocument/2006/relationships/tags" Target="../tags/tag179.xml"/><Relationship Id="rId60" Type="http://schemas.openxmlformats.org/officeDocument/2006/relationships/tags" Target="../tags/tag187.xml"/><Relationship Id="rId65" Type="http://schemas.openxmlformats.org/officeDocument/2006/relationships/tags" Target="../tags/tag192.xml"/><Relationship Id="rId73" Type="http://schemas.openxmlformats.org/officeDocument/2006/relationships/tags" Target="../tags/tag200.xml"/><Relationship Id="rId78" Type="http://schemas.openxmlformats.org/officeDocument/2006/relationships/tags" Target="../tags/tag205.xml"/><Relationship Id="rId81" Type="http://schemas.openxmlformats.org/officeDocument/2006/relationships/tags" Target="../tags/tag208.xml"/><Relationship Id="rId86" Type="http://schemas.openxmlformats.org/officeDocument/2006/relationships/slideLayout" Target="../slideLayouts/slideLayout7.xml"/><Relationship Id="rId94" Type="http://schemas.openxmlformats.org/officeDocument/2006/relationships/image" Target="../media/image49.jpeg"/><Relationship Id="rId4" Type="http://schemas.openxmlformats.org/officeDocument/2006/relationships/tags" Target="../tags/tag131.xml"/><Relationship Id="rId9" Type="http://schemas.openxmlformats.org/officeDocument/2006/relationships/tags" Target="../tags/tag13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3.xml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5.wmf"/><Relationship Id="rId4" Type="http://schemas.openxmlformats.org/officeDocument/2006/relationships/image" Target="../media/image5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AE510-2E18-4644-9DBF-437BBE941DEC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56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" descr="https://encrypted-tbn2.gstatic.com/images?q=tbn:ANd9GcROXhu_aKgnCq81JocoW3SHQkTOT7RNCyS_Hb94Y0s3tNVE19HTS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9825" y="2847975"/>
            <a:ext cx="431800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 descr="C:\Temp\Drapeau_Japo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32650" y="3352800"/>
            <a:ext cx="5524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reeform 3"/>
          <p:cNvSpPr>
            <a:spLocks/>
          </p:cNvSpPr>
          <p:nvPr/>
        </p:nvSpPr>
        <p:spPr bwMode="auto">
          <a:xfrm>
            <a:off x="4375150" y="3036888"/>
            <a:ext cx="204788" cy="228600"/>
          </a:xfrm>
          <a:custGeom>
            <a:avLst/>
            <a:gdLst>
              <a:gd name="T0" fmla="*/ 2147483647 w 148"/>
              <a:gd name="T1" fmla="*/ 2147483647 h 156"/>
              <a:gd name="T2" fmla="*/ 2147483647 w 148"/>
              <a:gd name="T3" fmla="*/ 2147483647 h 156"/>
              <a:gd name="T4" fmla="*/ 2147483647 w 148"/>
              <a:gd name="T5" fmla="*/ 2147483647 h 156"/>
              <a:gd name="T6" fmla="*/ 2147483647 w 148"/>
              <a:gd name="T7" fmla="*/ 2147483647 h 156"/>
              <a:gd name="T8" fmla="*/ 2147483647 w 148"/>
              <a:gd name="T9" fmla="*/ 2147483647 h 156"/>
              <a:gd name="T10" fmla="*/ 2147483647 w 148"/>
              <a:gd name="T11" fmla="*/ 2147483647 h 156"/>
              <a:gd name="T12" fmla="*/ 2147483647 w 148"/>
              <a:gd name="T13" fmla="*/ 2147483647 h 156"/>
              <a:gd name="T14" fmla="*/ 2147483647 w 148"/>
              <a:gd name="T15" fmla="*/ 2147483647 h 156"/>
              <a:gd name="T16" fmla="*/ 2147483647 w 148"/>
              <a:gd name="T17" fmla="*/ 0 h 156"/>
              <a:gd name="T18" fmla="*/ 2147483647 w 148"/>
              <a:gd name="T19" fmla="*/ 2147483647 h 156"/>
              <a:gd name="T20" fmla="*/ 2147483647 w 148"/>
              <a:gd name="T21" fmla="*/ 0 h 156"/>
              <a:gd name="T22" fmla="*/ 2147483647 w 148"/>
              <a:gd name="T23" fmla="*/ 0 h 156"/>
              <a:gd name="T24" fmla="*/ 2147483647 w 148"/>
              <a:gd name="T25" fmla="*/ 2147483647 h 156"/>
              <a:gd name="T26" fmla="*/ 2147483647 w 148"/>
              <a:gd name="T27" fmla="*/ 2147483647 h 156"/>
              <a:gd name="T28" fmla="*/ 2147483647 w 148"/>
              <a:gd name="T29" fmla="*/ 2147483647 h 156"/>
              <a:gd name="T30" fmla="*/ 2147483647 w 148"/>
              <a:gd name="T31" fmla="*/ 2147483647 h 156"/>
              <a:gd name="T32" fmla="*/ 0 w 148"/>
              <a:gd name="T33" fmla="*/ 2147483647 h 156"/>
              <a:gd name="T34" fmla="*/ 0 w 148"/>
              <a:gd name="T35" fmla="*/ 2147483647 h 156"/>
              <a:gd name="T36" fmla="*/ 2147483647 w 148"/>
              <a:gd name="T37" fmla="*/ 2147483647 h 156"/>
              <a:gd name="T38" fmla="*/ 2147483647 w 148"/>
              <a:gd name="T39" fmla="*/ 2147483647 h 156"/>
              <a:gd name="T40" fmla="*/ 2147483647 w 148"/>
              <a:gd name="T41" fmla="*/ 2147483647 h 156"/>
              <a:gd name="T42" fmla="*/ 2147483647 w 148"/>
              <a:gd name="T43" fmla="*/ 2147483647 h 156"/>
              <a:gd name="T44" fmla="*/ 2147483647 w 148"/>
              <a:gd name="T45" fmla="*/ 2147483647 h 156"/>
              <a:gd name="T46" fmla="*/ 2147483647 w 148"/>
              <a:gd name="T47" fmla="*/ 2147483647 h 156"/>
              <a:gd name="T48" fmla="*/ 2147483647 w 148"/>
              <a:gd name="T49" fmla="*/ 2147483647 h 156"/>
              <a:gd name="T50" fmla="*/ 2147483647 w 148"/>
              <a:gd name="T51" fmla="*/ 2147483647 h 15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48"/>
              <a:gd name="T79" fmla="*/ 0 h 156"/>
              <a:gd name="T80" fmla="*/ 148 w 148"/>
              <a:gd name="T81" fmla="*/ 156 h 15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48" h="156">
                <a:moveTo>
                  <a:pt x="101" y="97"/>
                </a:moveTo>
                <a:lnTo>
                  <a:pt x="103" y="96"/>
                </a:lnTo>
                <a:lnTo>
                  <a:pt x="137" y="80"/>
                </a:lnTo>
                <a:lnTo>
                  <a:pt x="147" y="87"/>
                </a:lnTo>
                <a:lnTo>
                  <a:pt x="137" y="24"/>
                </a:lnTo>
                <a:lnTo>
                  <a:pt x="111" y="8"/>
                </a:lnTo>
                <a:lnTo>
                  <a:pt x="80" y="21"/>
                </a:lnTo>
                <a:lnTo>
                  <a:pt x="84" y="12"/>
                </a:lnTo>
                <a:lnTo>
                  <a:pt x="57" y="0"/>
                </a:lnTo>
                <a:lnTo>
                  <a:pt x="52" y="1"/>
                </a:lnTo>
                <a:lnTo>
                  <a:pt x="52" y="0"/>
                </a:lnTo>
                <a:lnTo>
                  <a:pt x="46" y="0"/>
                </a:lnTo>
                <a:lnTo>
                  <a:pt x="44" y="35"/>
                </a:lnTo>
                <a:lnTo>
                  <a:pt x="30" y="26"/>
                </a:lnTo>
                <a:lnTo>
                  <a:pt x="19" y="36"/>
                </a:lnTo>
                <a:lnTo>
                  <a:pt x="17" y="56"/>
                </a:lnTo>
                <a:lnTo>
                  <a:pt x="0" y="64"/>
                </a:lnTo>
                <a:lnTo>
                  <a:pt x="0" y="90"/>
                </a:lnTo>
                <a:lnTo>
                  <a:pt x="1" y="101"/>
                </a:lnTo>
                <a:lnTo>
                  <a:pt x="5" y="113"/>
                </a:lnTo>
                <a:lnTo>
                  <a:pt x="35" y="126"/>
                </a:lnTo>
                <a:lnTo>
                  <a:pt x="26" y="152"/>
                </a:lnTo>
                <a:lnTo>
                  <a:pt x="59" y="155"/>
                </a:lnTo>
                <a:lnTo>
                  <a:pt x="115" y="154"/>
                </a:lnTo>
                <a:lnTo>
                  <a:pt x="131" y="129"/>
                </a:lnTo>
                <a:lnTo>
                  <a:pt x="101" y="9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" name="Freeform 4"/>
          <p:cNvSpPr>
            <a:spLocks/>
          </p:cNvSpPr>
          <p:nvPr/>
        </p:nvSpPr>
        <p:spPr bwMode="auto">
          <a:xfrm>
            <a:off x="2684463" y="4014788"/>
            <a:ext cx="36512" cy="15875"/>
          </a:xfrm>
          <a:custGeom>
            <a:avLst/>
            <a:gdLst>
              <a:gd name="T0" fmla="*/ 0 w 26"/>
              <a:gd name="T1" fmla="*/ 0 h 10"/>
              <a:gd name="T2" fmla="*/ 2147483647 w 26"/>
              <a:gd name="T3" fmla="*/ 2147483647 h 10"/>
              <a:gd name="T4" fmla="*/ 2147483647 w 26"/>
              <a:gd name="T5" fmla="*/ 2147483647 h 10"/>
              <a:gd name="T6" fmla="*/ 0 w 26"/>
              <a:gd name="T7" fmla="*/ 0 h 10"/>
              <a:gd name="T8" fmla="*/ 0 60000 65536"/>
              <a:gd name="T9" fmla="*/ 0 60000 65536"/>
              <a:gd name="T10" fmla="*/ 0 60000 65536"/>
              <a:gd name="T11" fmla="*/ 0 60000 65536"/>
              <a:gd name="T12" fmla="*/ 0 w 26"/>
              <a:gd name="T13" fmla="*/ 0 h 10"/>
              <a:gd name="T14" fmla="*/ 26 w 26"/>
              <a:gd name="T15" fmla="*/ 10 h 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" h="10">
                <a:moveTo>
                  <a:pt x="0" y="0"/>
                </a:moveTo>
                <a:lnTo>
                  <a:pt x="3" y="9"/>
                </a:lnTo>
                <a:lnTo>
                  <a:pt x="25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" name="Freeform 5"/>
          <p:cNvSpPr>
            <a:spLocks/>
          </p:cNvSpPr>
          <p:nvPr/>
        </p:nvSpPr>
        <p:spPr bwMode="auto">
          <a:xfrm>
            <a:off x="5638800" y="3516313"/>
            <a:ext cx="331788" cy="234950"/>
          </a:xfrm>
          <a:custGeom>
            <a:avLst/>
            <a:gdLst>
              <a:gd name="T0" fmla="*/ 0 w 241"/>
              <a:gd name="T1" fmla="*/ 2147483647 h 160"/>
              <a:gd name="T2" fmla="*/ 2147483647 w 241"/>
              <a:gd name="T3" fmla="*/ 2147483647 h 160"/>
              <a:gd name="T4" fmla="*/ 2147483647 w 241"/>
              <a:gd name="T5" fmla="*/ 2147483647 h 160"/>
              <a:gd name="T6" fmla="*/ 2147483647 w 241"/>
              <a:gd name="T7" fmla="*/ 2147483647 h 160"/>
              <a:gd name="T8" fmla="*/ 2147483647 w 241"/>
              <a:gd name="T9" fmla="*/ 2147483647 h 160"/>
              <a:gd name="T10" fmla="*/ 2147483647 w 241"/>
              <a:gd name="T11" fmla="*/ 2147483647 h 160"/>
              <a:gd name="T12" fmla="*/ 2147483647 w 241"/>
              <a:gd name="T13" fmla="*/ 2147483647 h 160"/>
              <a:gd name="T14" fmla="*/ 2147483647 w 241"/>
              <a:gd name="T15" fmla="*/ 2147483647 h 160"/>
              <a:gd name="T16" fmla="*/ 2147483647 w 241"/>
              <a:gd name="T17" fmla="*/ 2147483647 h 160"/>
              <a:gd name="T18" fmla="*/ 2147483647 w 241"/>
              <a:gd name="T19" fmla="*/ 2147483647 h 160"/>
              <a:gd name="T20" fmla="*/ 2147483647 w 241"/>
              <a:gd name="T21" fmla="*/ 2147483647 h 160"/>
              <a:gd name="T22" fmla="*/ 2147483647 w 241"/>
              <a:gd name="T23" fmla="*/ 2147483647 h 160"/>
              <a:gd name="T24" fmla="*/ 2147483647 w 241"/>
              <a:gd name="T25" fmla="*/ 2147483647 h 160"/>
              <a:gd name="T26" fmla="*/ 2147483647 w 241"/>
              <a:gd name="T27" fmla="*/ 2147483647 h 160"/>
              <a:gd name="T28" fmla="*/ 2147483647 w 241"/>
              <a:gd name="T29" fmla="*/ 2147483647 h 160"/>
              <a:gd name="T30" fmla="*/ 2147483647 w 241"/>
              <a:gd name="T31" fmla="*/ 2147483647 h 160"/>
              <a:gd name="T32" fmla="*/ 2147483647 w 241"/>
              <a:gd name="T33" fmla="*/ 2147483647 h 160"/>
              <a:gd name="T34" fmla="*/ 2147483647 w 241"/>
              <a:gd name="T35" fmla="*/ 2147483647 h 160"/>
              <a:gd name="T36" fmla="*/ 2147483647 w 241"/>
              <a:gd name="T37" fmla="*/ 0 h 160"/>
              <a:gd name="T38" fmla="*/ 2147483647 w 241"/>
              <a:gd name="T39" fmla="*/ 2147483647 h 160"/>
              <a:gd name="T40" fmla="*/ 2147483647 w 241"/>
              <a:gd name="T41" fmla="*/ 2147483647 h 160"/>
              <a:gd name="T42" fmla="*/ 2147483647 w 241"/>
              <a:gd name="T43" fmla="*/ 2147483647 h 160"/>
              <a:gd name="T44" fmla="*/ 2147483647 w 241"/>
              <a:gd name="T45" fmla="*/ 2147483647 h 160"/>
              <a:gd name="T46" fmla="*/ 0 w 241"/>
              <a:gd name="T47" fmla="*/ 2147483647 h 16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41"/>
              <a:gd name="T73" fmla="*/ 0 h 160"/>
              <a:gd name="T74" fmla="*/ 241 w 241"/>
              <a:gd name="T75" fmla="*/ 160 h 16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41" h="160">
                <a:moveTo>
                  <a:pt x="0" y="75"/>
                </a:moveTo>
                <a:lnTo>
                  <a:pt x="4" y="118"/>
                </a:lnTo>
                <a:lnTo>
                  <a:pt x="20" y="129"/>
                </a:lnTo>
                <a:lnTo>
                  <a:pt x="6" y="151"/>
                </a:lnTo>
                <a:lnTo>
                  <a:pt x="32" y="159"/>
                </a:lnTo>
                <a:lnTo>
                  <a:pt x="95" y="151"/>
                </a:lnTo>
                <a:lnTo>
                  <a:pt x="106" y="127"/>
                </a:lnTo>
                <a:lnTo>
                  <a:pt x="147" y="116"/>
                </a:lnTo>
                <a:lnTo>
                  <a:pt x="152" y="95"/>
                </a:lnTo>
                <a:lnTo>
                  <a:pt x="166" y="91"/>
                </a:lnTo>
                <a:lnTo>
                  <a:pt x="158" y="79"/>
                </a:lnTo>
                <a:lnTo>
                  <a:pt x="176" y="78"/>
                </a:lnTo>
                <a:lnTo>
                  <a:pt x="187" y="59"/>
                </a:lnTo>
                <a:lnTo>
                  <a:pt x="182" y="41"/>
                </a:lnTo>
                <a:lnTo>
                  <a:pt x="238" y="27"/>
                </a:lnTo>
                <a:lnTo>
                  <a:pt x="240" y="21"/>
                </a:lnTo>
                <a:lnTo>
                  <a:pt x="216" y="16"/>
                </a:lnTo>
                <a:lnTo>
                  <a:pt x="188" y="30"/>
                </a:lnTo>
                <a:lnTo>
                  <a:pt x="174" y="0"/>
                </a:lnTo>
                <a:lnTo>
                  <a:pt x="148" y="23"/>
                </a:lnTo>
                <a:lnTo>
                  <a:pt x="75" y="21"/>
                </a:lnTo>
                <a:lnTo>
                  <a:pt x="38" y="57"/>
                </a:lnTo>
                <a:lnTo>
                  <a:pt x="12" y="45"/>
                </a:lnTo>
                <a:lnTo>
                  <a:pt x="0" y="7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" name="Freeform 6"/>
          <p:cNvSpPr>
            <a:spLocks/>
          </p:cNvSpPr>
          <p:nvPr/>
        </p:nvSpPr>
        <p:spPr bwMode="auto">
          <a:xfrm>
            <a:off x="4686300" y="3403600"/>
            <a:ext cx="42863" cy="79375"/>
          </a:xfrm>
          <a:custGeom>
            <a:avLst/>
            <a:gdLst>
              <a:gd name="T0" fmla="*/ 0 w 31"/>
              <a:gd name="T1" fmla="*/ 2147483647 h 54"/>
              <a:gd name="T2" fmla="*/ 0 w 31"/>
              <a:gd name="T3" fmla="*/ 2147483647 h 54"/>
              <a:gd name="T4" fmla="*/ 2147483647 w 31"/>
              <a:gd name="T5" fmla="*/ 0 h 54"/>
              <a:gd name="T6" fmla="*/ 2147483647 w 31"/>
              <a:gd name="T7" fmla="*/ 2147483647 h 54"/>
              <a:gd name="T8" fmla="*/ 2147483647 w 31"/>
              <a:gd name="T9" fmla="*/ 2147483647 h 54"/>
              <a:gd name="T10" fmla="*/ 0 w 31"/>
              <a:gd name="T11" fmla="*/ 2147483647 h 5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1"/>
              <a:gd name="T19" fmla="*/ 0 h 54"/>
              <a:gd name="T20" fmla="*/ 31 w 31"/>
              <a:gd name="T21" fmla="*/ 54 h 5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1" h="54">
                <a:moveTo>
                  <a:pt x="0" y="39"/>
                </a:moveTo>
                <a:lnTo>
                  <a:pt x="0" y="12"/>
                </a:lnTo>
                <a:lnTo>
                  <a:pt x="15" y="0"/>
                </a:lnTo>
                <a:lnTo>
                  <a:pt x="30" y="31"/>
                </a:lnTo>
                <a:lnTo>
                  <a:pt x="15" y="53"/>
                </a:lnTo>
                <a:lnTo>
                  <a:pt x="0" y="3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" name="Freeform 7"/>
          <p:cNvSpPr>
            <a:spLocks/>
          </p:cNvSpPr>
          <p:nvPr/>
        </p:nvSpPr>
        <p:spPr bwMode="auto">
          <a:xfrm>
            <a:off x="4041775" y="3556000"/>
            <a:ext cx="468313" cy="447675"/>
          </a:xfrm>
          <a:custGeom>
            <a:avLst/>
            <a:gdLst>
              <a:gd name="T0" fmla="*/ 0 w 341"/>
              <a:gd name="T1" fmla="*/ 2147483647 h 306"/>
              <a:gd name="T2" fmla="*/ 0 w 341"/>
              <a:gd name="T3" fmla="*/ 2147483647 h 306"/>
              <a:gd name="T4" fmla="*/ 2147483647 w 341"/>
              <a:gd name="T5" fmla="*/ 2147483647 h 306"/>
              <a:gd name="T6" fmla="*/ 2147483647 w 341"/>
              <a:gd name="T7" fmla="*/ 2147483647 h 306"/>
              <a:gd name="T8" fmla="*/ 2147483647 w 341"/>
              <a:gd name="T9" fmla="*/ 2147483647 h 306"/>
              <a:gd name="T10" fmla="*/ 2147483647 w 341"/>
              <a:gd name="T11" fmla="*/ 2147483647 h 306"/>
              <a:gd name="T12" fmla="*/ 2147483647 w 341"/>
              <a:gd name="T13" fmla="*/ 2147483647 h 306"/>
              <a:gd name="T14" fmla="*/ 2147483647 w 341"/>
              <a:gd name="T15" fmla="*/ 2147483647 h 306"/>
              <a:gd name="T16" fmla="*/ 2147483647 w 341"/>
              <a:gd name="T17" fmla="*/ 2147483647 h 306"/>
              <a:gd name="T18" fmla="*/ 2147483647 w 341"/>
              <a:gd name="T19" fmla="*/ 2147483647 h 306"/>
              <a:gd name="T20" fmla="*/ 2147483647 w 341"/>
              <a:gd name="T21" fmla="*/ 2147483647 h 306"/>
              <a:gd name="T22" fmla="*/ 2147483647 w 341"/>
              <a:gd name="T23" fmla="*/ 2147483647 h 306"/>
              <a:gd name="T24" fmla="*/ 2147483647 w 341"/>
              <a:gd name="T25" fmla="*/ 2147483647 h 306"/>
              <a:gd name="T26" fmla="*/ 2147483647 w 341"/>
              <a:gd name="T27" fmla="*/ 0 h 306"/>
              <a:gd name="T28" fmla="*/ 2147483647 w 341"/>
              <a:gd name="T29" fmla="*/ 2147483647 h 306"/>
              <a:gd name="T30" fmla="*/ 2147483647 w 341"/>
              <a:gd name="T31" fmla="*/ 2147483647 h 306"/>
              <a:gd name="T32" fmla="*/ 2147483647 w 341"/>
              <a:gd name="T33" fmla="*/ 2147483647 h 306"/>
              <a:gd name="T34" fmla="*/ 2147483647 w 341"/>
              <a:gd name="T35" fmla="*/ 2147483647 h 306"/>
              <a:gd name="T36" fmla="*/ 2147483647 w 341"/>
              <a:gd name="T37" fmla="*/ 2147483647 h 306"/>
              <a:gd name="T38" fmla="*/ 2147483647 w 341"/>
              <a:gd name="T39" fmla="*/ 2147483647 h 306"/>
              <a:gd name="T40" fmla="*/ 2147483647 w 341"/>
              <a:gd name="T41" fmla="*/ 2147483647 h 306"/>
              <a:gd name="T42" fmla="*/ 0 w 341"/>
              <a:gd name="T43" fmla="*/ 2147483647 h 30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341"/>
              <a:gd name="T67" fmla="*/ 0 h 306"/>
              <a:gd name="T68" fmla="*/ 341 w 341"/>
              <a:gd name="T69" fmla="*/ 306 h 30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341" h="306">
                <a:moveTo>
                  <a:pt x="0" y="161"/>
                </a:moveTo>
                <a:lnTo>
                  <a:pt x="0" y="168"/>
                </a:lnTo>
                <a:lnTo>
                  <a:pt x="62" y="206"/>
                </a:lnTo>
                <a:lnTo>
                  <a:pt x="197" y="291"/>
                </a:lnTo>
                <a:lnTo>
                  <a:pt x="198" y="305"/>
                </a:lnTo>
                <a:lnTo>
                  <a:pt x="213" y="303"/>
                </a:lnTo>
                <a:lnTo>
                  <a:pt x="239" y="296"/>
                </a:lnTo>
                <a:lnTo>
                  <a:pt x="340" y="231"/>
                </a:lnTo>
                <a:lnTo>
                  <a:pt x="300" y="187"/>
                </a:lnTo>
                <a:lnTo>
                  <a:pt x="300" y="117"/>
                </a:lnTo>
                <a:lnTo>
                  <a:pt x="295" y="86"/>
                </a:lnTo>
                <a:lnTo>
                  <a:pt x="268" y="53"/>
                </a:lnTo>
                <a:lnTo>
                  <a:pt x="282" y="42"/>
                </a:lnTo>
                <a:lnTo>
                  <a:pt x="291" y="0"/>
                </a:lnTo>
                <a:lnTo>
                  <a:pt x="169" y="7"/>
                </a:lnTo>
                <a:lnTo>
                  <a:pt x="108" y="32"/>
                </a:lnTo>
                <a:lnTo>
                  <a:pt x="125" y="83"/>
                </a:lnTo>
                <a:lnTo>
                  <a:pt x="96" y="85"/>
                </a:lnTo>
                <a:lnTo>
                  <a:pt x="82" y="92"/>
                </a:lnTo>
                <a:lnTo>
                  <a:pt x="84" y="104"/>
                </a:lnTo>
                <a:lnTo>
                  <a:pt x="7" y="136"/>
                </a:lnTo>
                <a:lnTo>
                  <a:pt x="0" y="16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" name="Freeform 8"/>
          <p:cNvSpPr>
            <a:spLocks/>
          </p:cNvSpPr>
          <p:nvPr/>
        </p:nvSpPr>
        <p:spPr bwMode="auto">
          <a:xfrm>
            <a:off x="4510088" y="4578350"/>
            <a:ext cx="288925" cy="287338"/>
          </a:xfrm>
          <a:custGeom>
            <a:avLst/>
            <a:gdLst>
              <a:gd name="T0" fmla="*/ 0 w 210"/>
              <a:gd name="T1" fmla="*/ 2147483647 h 196"/>
              <a:gd name="T2" fmla="*/ 2147483647 w 210"/>
              <a:gd name="T3" fmla="*/ 2147483647 h 196"/>
              <a:gd name="T4" fmla="*/ 2147483647 w 210"/>
              <a:gd name="T5" fmla="*/ 2147483647 h 196"/>
              <a:gd name="T6" fmla="*/ 2147483647 w 210"/>
              <a:gd name="T7" fmla="*/ 2147483647 h 196"/>
              <a:gd name="T8" fmla="*/ 2147483647 w 210"/>
              <a:gd name="T9" fmla="*/ 2147483647 h 196"/>
              <a:gd name="T10" fmla="*/ 2147483647 w 210"/>
              <a:gd name="T11" fmla="*/ 2147483647 h 196"/>
              <a:gd name="T12" fmla="*/ 2147483647 w 210"/>
              <a:gd name="T13" fmla="*/ 2147483647 h 196"/>
              <a:gd name="T14" fmla="*/ 2147483647 w 210"/>
              <a:gd name="T15" fmla="*/ 2147483647 h 196"/>
              <a:gd name="T16" fmla="*/ 2147483647 w 210"/>
              <a:gd name="T17" fmla="*/ 2147483647 h 196"/>
              <a:gd name="T18" fmla="*/ 2147483647 w 210"/>
              <a:gd name="T19" fmla="*/ 2147483647 h 196"/>
              <a:gd name="T20" fmla="*/ 2147483647 w 210"/>
              <a:gd name="T21" fmla="*/ 2147483647 h 196"/>
              <a:gd name="T22" fmla="*/ 2147483647 w 210"/>
              <a:gd name="T23" fmla="*/ 2147483647 h 196"/>
              <a:gd name="T24" fmla="*/ 2147483647 w 210"/>
              <a:gd name="T25" fmla="*/ 2147483647 h 196"/>
              <a:gd name="T26" fmla="*/ 2147483647 w 210"/>
              <a:gd name="T27" fmla="*/ 2147483647 h 196"/>
              <a:gd name="T28" fmla="*/ 2147483647 w 210"/>
              <a:gd name="T29" fmla="*/ 0 h 196"/>
              <a:gd name="T30" fmla="*/ 2147483647 w 210"/>
              <a:gd name="T31" fmla="*/ 2147483647 h 196"/>
              <a:gd name="T32" fmla="*/ 2147483647 w 210"/>
              <a:gd name="T33" fmla="*/ 2147483647 h 196"/>
              <a:gd name="T34" fmla="*/ 0 w 210"/>
              <a:gd name="T35" fmla="*/ 2147483647 h 19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10"/>
              <a:gd name="T55" fmla="*/ 0 h 196"/>
              <a:gd name="T56" fmla="*/ 210 w 210"/>
              <a:gd name="T57" fmla="*/ 196 h 19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10" h="196">
                <a:moveTo>
                  <a:pt x="0" y="182"/>
                </a:moveTo>
                <a:lnTo>
                  <a:pt x="24" y="175"/>
                </a:lnTo>
                <a:lnTo>
                  <a:pt x="164" y="195"/>
                </a:lnTo>
                <a:lnTo>
                  <a:pt x="193" y="188"/>
                </a:lnTo>
                <a:lnTo>
                  <a:pt x="174" y="172"/>
                </a:lnTo>
                <a:lnTo>
                  <a:pt x="174" y="113"/>
                </a:lnTo>
                <a:lnTo>
                  <a:pt x="209" y="113"/>
                </a:lnTo>
                <a:lnTo>
                  <a:pt x="207" y="79"/>
                </a:lnTo>
                <a:lnTo>
                  <a:pt x="171" y="84"/>
                </a:lnTo>
                <a:lnTo>
                  <a:pt x="169" y="27"/>
                </a:lnTo>
                <a:lnTo>
                  <a:pt x="153" y="17"/>
                </a:lnTo>
                <a:lnTo>
                  <a:pt x="132" y="19"/>
                </a:lnTo>
                <a:lnTo>
                  <a:pt x="127" y="35"/>
                </a:lnTo>
                <a:lnTo>
                  <a:pt x="103" y="36"/>
                </a:lnTo>
                <a:lnTo>
                  <a:pt x="77" y="0"/>
                </a:lnTo>
                <a:lnTo>
                  <a:pt x="10" y="7"/>
                </a:lnTo>
                <a:lnTo>
                  <a:pt x="37" y="80"/>
                </a:lnTo>
                <a:lnTo>
                  <a:pt x="0" y="18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" name="Freeform 9"/>
          <p:cNvSpPr>
            <a:spLocks/>
          </p:cNvSpPr>
          <p:nvPr/>
        </p:nvSpPr>
        <p:spPr bwMode="auto">
          <a:xfrm>
            <a:off x="4516438" y="4551363"/>
            <a:ext cx="22225" cy="28575"/>
          </a:xfrm>
          <a:custGeom>
            <a:avLst/>
            <a:gdLst>
              <a:gd name="T0" fmla="*/ 0 w 16"/>
              <a:gd name="T1" fmla="*/ 2147483647 h 20"/>
              <a:gd name="T2" fmla="*/ 2147483647 w 16"/>
              <a:gd name="T3" fmla="*/ 2147483647 h 20"/>
              <a:gd name="T4" fmla="*/ 2147483647 w 16"/>
              <a:gd name="T5" fmla="*/ 0 h 20"/>
              <a:gd name="T6" fmla="*/ 0 w 16"/>
              <a:gd name="T7" fmla="*/ 2147483647 h 20"/>
              <a:gd name="T8" fmla="*/ 0 60000 65536"/>
              <a:gd name="T9" fmla="*/ 0 60000 65536"/>
              <a:gd name="T10" fmla="*/ 0 60000 65536"/>
              <a:gd name="T11" fmla="*/ 0 60000 65536"/>
              <a:gd name="T12" fmla="*/ 0 w 16"/>
              <a:gd name="T13" fmla="*/ 0 h 20"/>
              <a:gd name="T14" fmla="*/ 16 w 16"/>
              <a:gd name="T15" fmla="*/ 20 h 2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" h="20">
                <a:moveTo>
                  <a:pt x="0" y="6"/>
                </a:moveTo>
                <a:lnTo>
                  <a:pt x="3" y="19"/>
                </a:lnTo>
                <a:lnTo>
                  <a:pt x="15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" name="Freeform 10"/>
          <p:cNvSpPr>
            <a:spLocks/>
          </p:cNvSpPr>
          <p:nvPr/>
        </p:nvSpPr>
        <p:spPr bwMode="auto">
          <a:xfrm>
            <a:off x="2543175" y="4951413"/>
            <a:ext cx="452438" cy="819150"/>
          </a:xfrm>
          <a:custGeom>
            <a:avLst/>
            <a:gdLst>
              <a:gd name="T0" fmla="*/ 0 w 329"/>
              <a:gd name="T1" fmla="*/ 2147483647 h 560"/>
              <a:gd name="T2" fmla="*/ 2147483647 w 329"/>
              <a:gd name="T3" fmla="*/ 2147483647 h 560"/>
              <a:gd name="T4" fmla="*/ 2147483647 w 329"/>
              <a:gd name="T5" fmla="*/ 2147483647 h 560"/>
              <a:gd name="T6" fmla="*/ 2147483647 w 329"/>
              <a:gd name="T7" fmla="*/ 2147483647 h 560"/>
              <a:gd name="T8" fmla="*/ 2147483647 w 329"/>
              <a:gd name="T9" fmla="*/ 2147483647 h 560"/>
              <a:gd name="T10" fmla="*/ 2147483647 w 329"/>
              <a:gd name="T11" fmla="*/ 2147483647 h 560"/>
              <a:gd name="T12" fmla="*/ 2147483647 w 329"/>
              <a:gd name="T13" fmla="*/ 2147483647 h 560"/>
              <a:gd name="T14" fmla="*/ 2147483647 w 329"/>
              <a:gd name="T15" fmla="*/ 2147483647 h 560"/>
              <a:gd name="T16" fmla="*/ 2147483647 w 329"/>
              <a:gd name="T17" fmla="*/ 2147483647 h 560"/>
              <a:gd name="T18" fmla="*/ 2147483647 w 329"/>
              <a:gd name="T19" fmla="*/ 2147483647 h 560"/>
              <a:gd name="T20" fmla="*/ 2147483647 w 329"/>
              <a:gd name="T21" fmla="*/ 2147483647 h 560"/>
              <a:gd name="T22" fmla="*/ 2147483647 w 329"/>
              <a:gd name="T23" fmla="*/ 2147483647 h 560"/>
              <a:gd name="T24" fmla="*/ 2147483647 w 329"/>
              <a:gd name="T25" fmla="*/ 2147483647 h 560"/>
              <a:gd name="T26" fmla="*/ 2147483647 w 329"/>
              <a:gd name="T27" fmla="*/ 2147483647 h 560"/>
              <a:gd name="T28" fmla="*/ 2147483647 w 329"/>
              <a:gd name="T29" fmla="*/ 2147483647 h 560"/>
              <a:gd name="T30" fmla="*/ 2147483647 w 329"/>
              <a:gd name="T31" fmla="*/ 2147483647 h 560"/>
              <a:gd name="T32" fmla="*/ 2147483647 w 329"/>
              <a:gd name="T33" fmla="*/ 2147483647 h 560"/>
              <a:gd name="T34" fmla="*/ 2147483647 w 329"/>
              <a:gd name="T35" fmla="*/ 2147483647 h 560"/>
              <a:gd name="T36" fmla="*/ 2147483647 w 329"/>
              <a:gd name="T37" fmla="*/ 2147483647 h 560"/>
              <a:gd name="T38" fmla="*/ 2147483647 w 329"/>
              <a:gd name="T39" fmla="*/ 2147483647 h 560"/>
              <a:gd name="T40" fmla="*/ 2147483647 w 329"/>
              <a:gd name="T41" fmla="*/ 2147483647 h 560"/>
              <a:gd name="T42" fmla="*/ 2147483647 w 329"/>
              <a:gd name="T43" fmla="*/ 2147483647 h 560"/>
              <a:gd name="T44" fmla="*/ 2147483647 w 329"/>
              <a:gd name="T45" fmla="*/ 2147483647 h 560"/>
              <a:gd name="T46" fmla="*/ 2147483647 w 329"/>
              <a:gd name="T47" fmla="*/ 2147483647 h 560"/>
              <a:gd name="T48" fmla="*/ 2147483647 w 329"/>
              <a:gd name="T49" fmla="*/ 2147483647 h 560"/>
              <a:gd name="T50" fmla="*/ 2147483647 w 329"/>
              <a:gd name="T51" fmla="*/ 2147483647 h 560"/>
              <a:gd name="T52" fmla="*/ 2147483647 w 329"/>
              <a:gd name="T53" fmla="*/ 2147483647 h 560"/>
              <a:gd name="T54" fmla="*/ 2147483647 w 329"/>
              <a:gd name="T55" fmla="*/ 2147483647 h 560"/>
              <a:gd name="T56" fmla="*/ 2147483647 w 329"/>
              <a:gd name="T57" fmla="*/ 2147483647 h 560"/>
              <a:gd name="T58" fmla="*/ 2147483647 w 329"/>
              <a:gd name="T59" fmla="*/ 2147483647 h 560"/>
              <a:gd name="T60" fmla="*/ 2147483647 w 329"/>
              <a:gd name="T61" fmla="*/ 2147483647 h 560"/>
              <a:gd name="T62" fmla="*/ 2147483647 w 329"/>
              <a:gd name="T63" fmla="*/ 2147483647 h 560"/>
              <a:gd name="T64" fmla="*/ 2147483647 w 329"/>
              <a:gd name="T65" fmla="*/ 2147483647 h 560"/>
              <a:gd name="T66" fmla="*/ 2147483647 w 329"/>
              <a:gd name="T67" fmla="*/ 2147483647 h 560"/>
              <a:gd name="T68" fmla="*/ 2147483647 w 329"/>
              <a:gd name="T69" fmla="*/ 0 h 560"/>
              <a:gd name="T70" fmla="*/ 2147483647 w 329"/>
              <a:gd name="T71" fmla="*/ 2147483647 h 560"/>
              <a:gd name="T72" fmla="*/ 2147483647 w 329"/>
              <a:gd name="T73" fmla="*/ 2147483647 h 560"/>
              <a:gd name="T74" fmla="*/ 2147483647 w 329"/>
              <a:gd name="T75" fmla="*/ 2147483647 h 560"/>
              <a:gd name="T76" fmla="*/ 2147483647 w 329"/>
              <a:gd name="T77" fmla="*/ 2147483647 h 560"/>
              <a:gd name="T78" fmla="*/ 2147483647 w 329"/>
              <a:gd name="T79" fmla="*/ 2147483647 h 560"/>
              <a:gd name="T80" fmla="*/ 2147483647 w 329"/>
              <a:gd name="T81" fmla="*/ 2147483647 h 560"/>
              <a:gd name="T82" fmla="*/ 2147483647 w 329"/>
              <a:gd name="T83" fmla="*/ 2147483647 h 560"/>
              <a:gd name="T84" fmla="*/ 2147483647 w 329"/>
              <a:gd name="T85" fmla="*/ 2147483647 h 560"/>
              <a:gd name="T86" fmla="*/ 2147483647 w 329"/>
              <a:gd name="T87" fmla="*/ 2147483647 h 560"/>
              <a:gd name="T88" fmla="*/ 2147483647 w 329"/>
              <a:gd name="T89" fmla="*/ 2147483647 h 560"/>
              <a:gd name="T90" fmla="*/ 2147483647 w 329"/>
              <a:gd name="T91" fmla="*/ 2147483647 h 560"/>
              <a:gd name="T92" fmla="*/ 2147483647 w 329"/>
              <a:gd name="T93" fmla="*/ 2147483647 h 560"/>
              <a:gd name="T94" fmla="*/ 0 w 329"/>
              <a:gd name="T95" fmla="*/ 2147483647 h 56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29"/>
              <a:gd name="T145" fmla="*/ 0 h 560"/>
              <a:gd name="T146" fmla="*/ 329 w 329"/>
              <a:gd name="T147" fmla="*/ 560 h 56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29" h="560">
                <a:moveTo>
                  <a:pt x="0" y="516"/>
                </a:moveTo>
                <a:lnTo>
                  <a:pt x="1" y="529"/>
                </a:lnTo>
                <a:lnTo>
                  <a:pt x="17" y="526"/>
                </a:lnTo>
                <a:lnTo>
                  <a:pt x="22" y="553"/>
                </a:lnTo>
                <a:lnTo>
                  <a:pt x="84" y="559"/>
                </a:lnTo>
                <a:lnTo>
                  <a:pt x="68" y="545"/>
                </a:lnTo>
                <a:lnTo>
                  <a:pt x="78" y="506"/>
                </a:lnTo>
                <a:lnTo>
                  <a:pt x="90" y="513"/>
                </a:lnTo>
                <a:lnTo>
                  <a:pt x="129" y="461"/>
                </a:lnTo>
                <a:lnTo>
                  <a:pt x="97" y="431"/>
                </a:lnTo>
                <a:lnTo>
                  <a:pt x="132" y="414"/>
                </a:lnTo>
                <a:lnTo>
                  <a:pt x="137" y="386"/>
                </a:lnTo>
                <a:lnTo>
                  <a:pt x="152" y="373"/>
                </a:lnTo>
                <a:lnTo>
                  <a:pt x="139" y="368"/>
                </a:lnTo>
                <a:lnTo>
                  <a:pt x="163" y="368"/>
                </a:lnTo>
                <a:lnTo>
                  <a:pt x="160" y="357"/>
                </a:lnTo>
                <a:lnTo>
                  <a:pt x="148" y="363"/>
                </a:lnTo>
                <a:lnTo>
                  <a:pt x="139" y="356"/>
                </a:lnTo>
                <a:lnTo>
                  <a:pt x="138" y="334"/>
                </a:lnTo>
                <a:lnTo>
                  <a:pt x="182" y="334"/>
                </a:lnTo>
                <a:lnTo>
                  <a:pt x="185" y="294"/>
                </a:lnTo>
                <a:lnTo>
                  <a:pt x="258" y="288"/>
                </a:lnTo>
                <a:lnTo>
                  <a:pt x="280" y="259"/>
                </a:lnTo>
                <a:lnTo>
                  <a:pt x="249" y="208"/>
                </a:lnTo>
                <a:lnTo>
                  <a:pt x="264" y="143"/>
                </a:lnTo>
                <a:lnTo>
                  <a:pt x="328" y="89"/>
                </a:lnTo>
                <a:lnTo>
                  <a:pt x="326" y="65"/>
                </a:lnTo>
                <a:lnTo>
                  <a:pt x="316" y="64"/>
                </a:lnTo>
                <a:lnTo>
                  <a:pt x="297" y="93"/>
                </a:lnTo>
                <a:lnTo>
                  <a:pt x="250" y="91"/>
                </a:lnTo>
                <a:lnTo>
                  <a:pt x="260" y="59"/>
                </a:lnTo>
                <a:lnTo>
                  <a:pt x="179" y="9"/>
                </a:lnTo>
                <a:lnTo>
                  <a:pt x="155" y="6"/>
                </a:lnTo>
                <a:lnTo>
                  <a:pt x="150" y="15"/>
                </a:lnTo>
                <a:lnTo>
                  <a:pt x="120" y="0"/>
                </a:lnTo>
                <a:lnTo>
                  <a:pt x="102" y="19"/>
                </a:lnTo>
                <a:lnTo>
                  <a:pt x="102" y="37"/>
                </a:lnTo>
                <a:lnTo>
                  <a:pt x="83" y="46"/>
                </a:lnTo>
                <a:lnTo>
                  <a:pt x="84" y="86"/>
                </a:lnTo>
                <a:lnTo>
                  <a:pt x="64" y="107"/>
                </a:lnTo>
                <a:lnTo>
                  <a:pt x="48" y="162"/>
                </a:lnTo>
                <a:lnTo>
                  <a:pt x="58" y="210"/>
                </a:lnTo>
                <a:lnTo>
                  <a:pt x="37" y="257"/>
                </a:lnTo>
                <a:lnTo>
                  <a:pt x="22" y="364"/>
                </a:lnTo>
                <a:lnTo>
                  <a:pt x="35" y="406"/>
                </a:lnTo>
                <a:lnTo>
                  <a:pt x="22" y="408"/>
                </a:lnTo>
                <a:lnTo>
                  <a:pt x="28" y="444"/>
                </a:lnTo>
                <a:lnTo>
                  <a:pt x="0" y="51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" name="Freeform 11"/>
          <p:cNvSpPr>
            <a:spLocks/>
          </p:cNvSpPr>
          <p:nvPr/>
        </p:nvSpPr>
        <p:spPr bwMode="auto">
          <a:xfrm>
            <a:off x="2652713" y="5780088"/>
            <a:ext cx="82550" cy="69850"/>
          </a:xfrm>
          <a:custGeom>
            <a:avLst/>
            <a:gdLst>
              <a:gd name="T0" fmla="*/ 0 w 61"/>
              <a:gd name="T1" fmla="*/ 0 h 48"/>
              <a:gd name="T2" fmla="*/ 2147483647 w 61"/>
              <a:gd name="T3" fmla="*/ 2147483647 h 48"/>
              <a:gd name="T4" fmla="*/ 2147483647 w 61"/>
              <a:gd name="T5" fmla="*/ 2147483647 h 48"/>
              <a:gd name="T6" fmla="*/ 2147483647 w 61"/>
              <a:gd name="T7" fmla="*/ 2147483647 h 48"/>
              <a:gd name="T8" fmla="*/ 0 w 61"/>
              <a:gd name="T9" fmla="*/ 0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1"/>
              <a:gd name="T16" fmla="*/ 0 h 48"/>
              <a:gd name="T17" fmla="*/ 61 w 61"/>
              <a:gd name="T18" fmla="*/ 48 h 4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1" h="48">
                <a:moveTo>
                  <a:pt x="0" y="0"/>
                </a:moveTo>
                <a:lnTo>
                  <a:pt x="2" y="47"/>
                </a:lnTo>
                <a:lnTo>
                  <a:pt x="60" y="44"/>
                </a:lnTo>
                <a:lnTo>
                  <a:pt x="15" y="2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" name="Freeform 12"/>
          <p:cNvSpPr>
            <a:spLocks/>
          </p:cNvSpPr>
          <p:nvPr/>
        </p:nvSpPr>
        <p:spPr bwMode="auto">
          <a:xfrm>
            <a:off x="6856413" y="4691063"/>
            <a:ext cx="935037" cy="701675"/>
          </a:xfrm>
          <a:custGeom>
            <a:avLst/>
            <a:gdLst>
              <a:gd name="T0" fmla="*/ 2147483647 w 680"/>
              <a:gd name="T1" fmla="*/ 2147483647 h 480"/>
              <a:gd name="T2" fmla="*/ 2147483647 w 680"/>
              <a:gd name="T3" fmla="*/ 2147483647 h 480"/>
              <a:gd name="T4" fmla="*/ 2147483647 w 680"/>
              <a:gd name="T5" fmla="*/ 2147483647 h 480"/>
              <a:gd name="T6" fmla="*/ 2147483647 w 680"/>
              <a:gd name="T7" fmla="*/ 2147483647 h 480"/>
              <a:gd name="T8" fmla="*/ 2147483647 w 680"/>
              <a:gd name="T9" fmla="*/ 2147483647 h 480"/>
              <a:gd name="T10" fmla="*/ 2147483647 w 680"/>
              <a:gd name="T11" fmla="*/ 2147483647 h 480"/>
              <a:gd name="T12" fmla="*/ 2147483647 w 680"/>
              <a:gd name="T13" fmla="*/ 2147483647 h 480"/>
              <a:gd name="T14" fmla="*/ 2147483647 w 680"/>
              <a:gd name="T15" fmla="*/ 2147483647 h 480"/>
              <a:gd name="T16" fmla="*/ 2147483647 w 680"/>
              <a:gd name="T17" fmla="*/ 2147483647 h 480"/>
              <a:gd name="T18" fmla="*/ 2147483647 w 680"/>
              <a:gd name="T19" fmla="*/ 2147483647 h 480"/>
              <a:gd name="T20" fmla="*/ 2147483647 w 680"/>
              <a:gd name="T21" fmla="*/ 2147483647 h 480"/>
              <a:gd name="T22" fmla="*/ 2147483647 w 680"/>
              <a:gd name="T23" fmla="*/ 2147483647 h 480"/>
              <a:gd name="T24" fmla="*/ 2147483647 w 680"/>
              <a:gd name="T25" fmla="*/ 2147483647 h 480"/>
              <a:gd name="T26" fmla="*/ 2147483647 w 680"/>
              <a:gd name="T27" fmla="*/ 2147483647 h 480"/>
              <a:gd name="T28" fmla="*/ 2147483647 w 680"/>
              <a:gd name="T29" fmla="*/ 2147483647 h 480"/>
              <a:gd name="T30" fmla="*/ 2147483647 w 680"/>
              <a:gd name="T31" fmla="*/ 2147483647 h 480"/>
              <a:gd name="T32" fmla="*/ 2147483647 w 680"/>
              <a:gd name="T33" fmla="*/ 2147483647 h 480"/>
              <a:gd name="T34" fmla="*/ 2147483647 w 680"/>
              <a:gd name="T35" fmla="*/ 2147483647 h 480"/>
              <a:gd name="T36" fmla="*/ 2147483647 w 680"/>
              <a:gd name="T37" fmla="*/ 2147483647 h 480"/>
              <a:gd name="T38" fmla="*/ 2147483647 w 680"/>
              <a:gd name="T39" fmla="*/ 2147483647 h 480"/>
              <a:gd name="T40" fmla="*/ 2147483647 w 680"/>
              <a:gd name="T41" fmla="*/ 2147483647 h 480"/>
              <a:gd name="T42" fmla="*/ 2147483647 w 680"/>
              <a:gd name="T43" fmla="*/ 2147483647 h 480"/>
              <a:gd name="T44" fmla="*/ 2147483647 w 680"/>
              <a:gd name="T45" fmla="*/ 2147483647 h 480"/>
              <a:gd name="T46" fmla="*/ 2147483647 w 680"/>
              <a:gd name="T47" fmla="*/ 2147483647 h 480"/>
              <a:gd name="T48" fmla="*/ 2147483647 w 680"/>
              <a:gd name="T49" fmla="*/ 2147483647 h 480"/>
              <a:gd name="T50" fmla="*/ 2147483647 w 680"/>
              <a:gd name="T51" fmla="*/ 2147483647 h 480"/>
              <a:gd name="T52" fmla="*/ 2147483647 w 680"/>
              <a:gd name="T53" fmla="*/ 2147483647 h 480"/>
              <a:gd name="T54" fmla="*/ 2147483647 w 680"/>
              <a:gd name="T55" fmla="*/ 2147483647 h 480"/>
              <a:gd name="T56" fmla="*/ 2147483647 w 680"/>
              <a:gd name="T57" fmla="*/ 2147483647 h 480"/>
              <a:gd name="T58" fmla="*/ 2147483647 w 680"/>
              <a:gd name="T59" fmla="*/ 2147483647 h 480"/>
              <a:gd name="T60" fmla="*/ 2147483647 w 680"/>
              <a:gd name="T61" fmla="*/ 2147483647 h 480"/>
              <a:gd name="T62" fmla="*/ 2147483647 w 680"/>
              <a:gd name="T63" fmla="*/ 2147483647 h 480"/>
              <a:gd name="T64" fmla="*/ 2147483647 w 680"/>
              <a:gd name="T65" fmla="*/ 2147483647 h 4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80"/>
              <a:gd name="T100" fmla="*/ 0 h 480"/>
              <a:gd name="T101" fmla="*/ 680 w 680"/>
              <a:gd name="T102" fmla="*/ 480 h 48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80" h="480">
                <a:moveTo>
                  <a:pt x="0" y="252"/>
                </a:moveTo>
                <a:lnTo>
                  <a:pt x="11" y="258"/>
                </a:lnTo>
                <a:lnTo>
                  <a:pt x="4" y="242"/>
                </a:lnTo>
                <a:lnTo>
                  <a:pt x="16" y="250"/>
                </a:lnTo>
                <a:lnTo>
                  <a:pt x="4" y="222"/>
                </a:lnTo>
                <a:lnTo>
                  <a:pt x="12" y="180"/>
                </a:lnTo>
                <a:lnTo>
                  <a:pt x="16" y="191"/>
                </a:lnTo>
                <a:lnTo>
                  <a:pt x="60" y="158"/>
                </a:lnTo>
                <a:lnTo>
                  <a:pt x="131" y="143"/>
                </a:lnTo>
                <a:lnTo>
                  <a:pt x="153" y="117"/>
                </a:lnTo>
                <a:lnTo>
                  <a:pt x="153" y="101"/>
                </a:lnTo>
                <a:lnTo>
                  <a:pt x="163" y="91"/>
                </a:lnTo>
                <a:lnTo>
                  <a:pt x="173" y="110"/>
                </a:lnTo>
                <a:lnTo>
                  <a:pt x="173" y="88"/>
                </a:lnTo>
                <a:lnTo>
                  <a:pt x="189" y="93"/>
                </a:lnTo>
                <a:lnTo>
                  <a:pt x="189" y="77"/>
                </a:lnTo>
                <a:lnTo>
                  <a:pt x="215" y="52"/>
                </a:lnTo>
                <a:lnTo>
                  <a:pt x="242" y="55"/>
                </a:lnTo>
                <a:lnTo>
                  <a:pt x="247" y="79"/>
                </a:lnTo>
                <a:lnTo>
                  <a:pt x="258" y="66"/>
                </a:lnTo>
                <a:lnTo>
                  <a:pt x="277" y="72"/>
                </a:lnTo>
                <a:lnTo>
                  <a:pt x="270" y="58"/>
                </a:lnTo>
                <a:lnTo>
                  <a:pt x="286" y="33"/>
                </a:lnTo>
                <a:lnTo>
                  <a:pt x="325" y="21"/>
                </a:lnTo>
                <a:lnTo>
                  <a:pt x="315" y="6"/>
                </a:lnTo>
                <a:lnTo>
                  <a:pt x="391" y="26"/>
                </a:lnTo>
                <a:lnTo>
                  <a:pt x="377" y="69"/>
                </a:lnTo>
                <a:lnTo>
                  <a:pt x="452" y="113"/>
                </a:lnTo>
                <a:lnTo>
                  <a:pt x="470" y="95"/>
                </a:lnTo>
                <a:lnTo>
                  <a:pt x="479" y="21"/>
                </a:lnTo>
                <a:lnTo>
                  <a:pt x="498" y="0"/>
                </a:lnTo>
                <a:lnTo>
                  <a:pt x="514" y="57"/>
                </a:lnTo>
                <a:lnTo>
                  <a:pt x="539" y="69"/>
                </a:lnTo>
                <a:lnTo>
                  <a:pt x="558" y="134"/>
                </a:lnTo>
                <a:lnTo>
                  <a:pt x="599" y="155"/>
                </a:lnTo>
                <a:lnTo>
                  <a:pt x="615" y="191"/>
                </a:lnTo>
                <a:lnTo>
                  <a:pt x="630" y="187"/>
                </a:lnTo>
                <a:lnTo>
                  <a:pt x="633" y="208"/>
                </a:lnTo>
                <a:lnTo>
                  <a:pt x="665" y="237"/>
                </a:lnTo>
                <a:lnTo>
                  <a:pt x="679" y="288"/>
                </a:lnTo>
                <a:lnTo>
                  <a:pt x="670" y="336"/>
                </a:lnTo>
                <a:lnTo>
                  <a:pt x="641" y="379"/>
                </a:lnTo>
                <a:lnTo>
                  <a:pt x="619" y="451"/>
                </a:lnTo>
                <a:lnTo>
                  <a:pt x="580" y="458"/>
                </a:lnTo>
                <a:lnTo>
                  <a:pt x="557" y="471"/>
                </a:lnTo>
                <a:lnTo>
                  <a:pt x="559" y="479"/>
                </a:lnTo>
                <a:lnTo>
                  <a:pt x="533" y="456"/>
                </a:lnTo>
                <a:lnTo>
                  <a:pt x="507" y="473"/>
                </a:lnTo>
                <a:lnTo>
                  <a:pt x="475" y="465"/>
                </a:lnTo>
                <a:lnTo>
                  <a:pt x="451" y="448"/>
                </a:lnTo>
                <a:lnTo>
                  <a:pt x="439" y="412"/>
                </a:lnTo>
                <a:lnTo>
                  <a:pt x="421" y="415"/>
                </a:lnTo>
                <a:lnTo>
                  <a:pt x="419" y="391"/>
                </a:lnTo>
                <a:lnTo>
                  <a:pt x="412" y="407"/>
                </a:lnTo>
                <a:lnTo>
                  <a:pt x="399" y="408"/>
                </a:lnTo>
                <a:lnTo>
                  <a:pt x="414" y="360"/>
                </a:lnTo>
                <a:lnTo>
                  <a:pt x="383" y="405"/>
                </a:lnTo>
                <a:lnTo>
                  <a:pt x="369" y="396"/>
                </a:lnTo>
                <a:lnTo>
                  <a:pt x="353" y="362"/>
                </a:lnTo>
                <a:lnTo>
                  <a:pt x="305" y="342"/>
                </a:lnTo>
                <a:lnTo>
                  <a:pt x="212" y="356"/>
                </a:lnTo>
                <a:lnTo>
                  <a:pt x="175" y="383"/>
                </a:lnTo>
                <a:lnTo>
                  <a:pt x="115" y="385"/>
                </a:lnTo>
                <a:lnTo>
                  <a:pt x="79" y="407"/>
                </a:lnTo>
                <a:lnTo>
                  <a:pt x="33" y="391"/>
                </a:lnTo>
                <a:lnTo>
                  <a:pt x="43" y="345"/>
                </a:lnTo>
                <a:lnTo>
                  <a:pt x="0" y="25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" name="Freeform 13"/>
          <p:cNvSpPr>
            <a:spLocks/>
          </p:cNvSpPr>
          <p:nvPr/>
        </p:nvSpPr>
        <p:spPr bwMode="auto">
          <a:xfrm>
            <a:off x="7585075" y="5434013"/>
            <a:ext cx="85725" cy="80962"/>
          </a:xfrm>
          <a:custGeom>
            <a:avLst/>
            <a:gdLst>
              <a:gd name="T0" fmla="*/ 0 w 62"/>
              <a:gd name="T1" fmla="*/ 2147483647 h 55"/>
              <a:gd name="T2" fmla="*/ 0 w 62"/>
              <a:gd name="T3" fmla="*/ 0 h 55"/>
              <a:gd name="T4" fmla="*/ 2147483647 w 62"/>
              <a:gd name="T5" fmla="*/ 2147483647 h 55"/>
              <a:gd name="T6" fmla="*/ 2147483647 w 62"/>
              <a:gd name="T7" fmla="*/ 0 h 55"/>
              <a:gd name="T8" fmla="*/ 2147483647 w 62"/>
              <a:gd name="T9" fmla="*/ 2147483647 h 55"/>
              <a:gd name="T10" fmla="*/ 2147483647 w 62"/>
              <a:gd name="T11" fmla="*/ 2147483647 h 55"/>
              <a:gd name="T12" fmla="*/ 2147483647 w 62"/>
              <a:gd name="T13" fmla="*/ 2147483647 h 55"/>
              <a:gd name="T14" fmla="*/ 2147483647 w 62"/>
              <a:gd name="T15" fmla="*/ 2147483647 h 55"/>
              <a:gd name="T16" fmla="*/ 0 w 62"/>
              <a:gd name="T17" fmla="*/ 2147483647 h 5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2"/>
              <a:gd name="T28" fmla="*/ 0 h 55"/>
              <a:gd name="T29" fmla="*/ 62 w 62"/>
              <a:gd name="T30" fmla="*/ 55 h 5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2" h="55">
                <a:moveTo>
                  <a:pt x="0" y="10"/>
                </a:moveTo>
                <a:lnTo>
                  <a:pt x="0" y="0"/>
                </a:lnTo>
                <a:lnTo>
                  <a:pt x="31" y="9"/>
                </a:lnTo>
                <a:lnTo>
                  <a:pt x="55" y="0"/>
                </a:lnTo>
                <a:lnTo>
                  <a:pt x="61" y="14"/>
                </a:lnTo>
                <a:lnTo>
                  <a:pt x="61" y="30"/>
                </a:lnTo>
                <a:lnTo>
                  <a:pt x="35" y="54"/>
                </a:lnTo>
                <a:lnTo>
                  <a:pt x="24" y="53"/>
                </a:lnTo>
                <a:lnTo>
                  <a:pt x="0" y="1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" name="Freeform 14"/>
          <p:cNvSpPr>
            <a:spLocks/>
          </p:cNvSpPr>
          <p:nvPr/>
        </p:nvSpPr>
        <p:spPr bwMode="auto">
          <a:xfrm>
            <a:off x="4459288" y="3224213"/>
            <a:ext cx="176212" cy="69850"/>
          </a:xfrm>
          <a:custGeom>
            <a:avLst/>
            <a:gdLst>
              <a:gd name="T0" fmla="*/ 0 w 129"/>
              <a:gd name="T1" fmla="*/ 2147483647 h 48"/>
              <a:gd name="T2" fmla="*/ 2147483647 w 129"/>
              <a:gd name="T3" fmla="*/ 2147483647 h 48"/>
              <a:gd name="T4" fmla="*/ 2147483647 w 129"/>
              <a:gd name="T5" fmla="*/ 2147483647 h 48"/>
              <a:gd name="T6" fmla="*/ 2147483647 w 129"/>
              <a:gd name="T7" fmla="*/ 2147483647 h 48"/>
              <a:gd name="T8" fmla="*/ 2147483647 w 129"/>
              <a:gd name="T9" fmla="*/ 2147483647 h 48"/>
              <a:gd name="T10" fmla="*/ 2147483647 w 129"/>
              <a:gd name="T11" fmla="*/ 2147483647 h 48"/>
              <a:gd name="T12" fmla="*/ 2147483647 w 129"/>
              <a:gd name="T13" fmla="*/ 2147483647 h 48"/>
              <a:gd name="T14" fmla="*/ 2147483647 w 129"/>
              <a:gd name="T15" fmla="*/ 2147483647 h 48"/>
              <a:gd name="T16" fmla="*/ 2147483647 w 129"/>
              <a:gd name="T17" fmla="*/ 0 h 48"/>
              <a:gd name="T18" fmla="*/ 2147483647 w 129"/>
              <a:gd name="T19" fmla="*/ 2147483647 h 48"/>
              <a:gd name="T20" fmla="*/ 2147483647 w 129"/>
              <a:gd name="T21" fmla="*/ 2147483647 h 48"/>
              <a:gd name="T22" fmla="*/ 0 w 129"/>
              <a:gd name="T23" fmla="*/ 2147483647 h 4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29"/>
              <a:gd name="T37" fmla="*/ 0 h 48"/>
              <a:gd name="T38" fmla="*/ 129 w 129"/>
              <a:gd name="T39" fmla="*/ 48 h 4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29" h="48">
                <a:moveTo>
                  <a:pt x="0" y="26"/>
                </a:moveTo>
                <a:lnTo>
                  <a:pt x="1" y="29"/>
                </a:lnTo>
                <a:lnTo>
                  <a:pt x="4" y="36"/>
                </a:lnTo>
                <a:lnTo>
                  <a:pt x="16" y="38"/>
                </a:lnTo>
                <a:lnTo>
                  <a:pt x="43" y="34"/>
                </a:lnTo>
                <a:lnTo>
                  <a:pt x="69" y="47"/>
                </a:lnTo>
                <a:lnTo>
                  <a:pt x="110" y="38"/>
                </a:lnTo>
                <a:lnTo>
                  <a:pt x="128" y="15"/>
                </a:lnTo>
                <a:lnTo>
                  <a:pt x="121" y="0"/>
                </a:lnTo>
                <a:lnTo>
                  <a:pt x="71" y="1"/>
                </a:lnTo>
                <a:lnTo>
                  <a:pt x="55" y="25"/>
                </a:lnTo>
                <a:lnTo>
                  <a:pt x="0" y="2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" name="Freeform 15"/>
          <p:cNvSpPr>
            <a:spLocks/>
          </p:cNvSpPr>
          <p:nvPr/>
        </p:nvSpPr>
        <p:spPr bwMode="auto">
          <a:xfrm>
            <a:off x="6270625" y="3819525"/>
            <a:ext cx="111125" cy="139700"/>
          </a:xfrm>
          <a:custGeom>
            <a:avLst/>
            <a:gdLst>
              <a:gd name="T0" fmla="*/ 0 w 81"/>
              <a:gd name="T1" fmla="*/ 2147483647 h 96"/>
              <a:gd name="T2" fmla="*/ 2147483647 w 81"/>
              <a:gd name="T3" fmla="*/ 2147483647 h 96"/>
              <a:gd name="T4" fmla="*/ 2147483647 w 81"/>
              <a:gd name="T5" fmla="*/ 2147483647 h 96"/>
              <a:gd name="T6" fmla="*/ 2147483647 w 81"/>
              <a:gd name="T7" fmla="*/ 2147483647 h 96"/>
              <a:gd name="T8" fmla="*/ 2147483647 w 81"/>
              <a:gd name="T9" fmla="*/ 2147483647 h 96"/>
              <a:gd name="T10" fmla="*/ 2147483647 w 81"/>
              <a:gd name="T11" fmla="*/ 2147483647 h 96"/>
              <a:gd name="T12" fmla="*/ 2147483647 w 81"/>
              <a:gd name="T13" fmla="*/ 2147483647 h 96"/>
              <a:gd name="T14" fmla="*/ 2147483647 w 81"/>
              <a:gd name="T15" fmla="*/ 2147483647 h 96"/>
              <a:gd name="T16" fmla="*/ 2147483647 w 81"/>
              <a:gd name="T17" fmla="*/ 2147483647 h 96"/>
              <a:gd name="T18" fmla="*/ 2147483647 w 81"/>
              <a:gd name="T19" fmla="*/ 2147483647 h 96"/>
              <a:gd name="T20" fmla="*/ 2147483647 w 81"/>
              <a:gd name="T21" fmla="*/ 2147483647 h 96"/>
              <a:gd name="T22" fmla="*/ 2147483647 w 81"/>
              <a:gd name="T23" fmla="*/ 2147483647 h 96"/>
              <a:gd name="T24" fmla="*/ 2147483647 w 81"/>
              <a:gd name="T25" fmla="*/ 2147483647 h 96"/>
              <a:gd name="T26" fmla="*/ 2147483647 w 81"/>
              <a:gd name="T27" fmla="*/ 0 h 96"/>
              <a:gd name="T28" fmla="*/ 2147483647 w 81"/>
              <a:gd name="T29" fmla="*/ 2147483647 h 96"/>
              <a:gd name="T30" fmla="*/ 2147483647 w 81"/>
              <a:gd name="T31" fmla="*/ 2147483647 h 96"/>
              <a:gd name="T32" fmla="*/ 0 w 81"/>
              <a:gd name="T33" fmla="*/ 2147483647 h 9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81"/>
              <a:gd name="T52" fmla="*/ 0 h 96"/>
              <a:gd name="T53" fmla="*/ 81 w 81"/>
              <a:gd name="T54" fmla="*/ 96 h 9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81" h="96">
                <a:moveTo>
                  <a:pt x="0" y="29"/>
                </a:moveTo>
                <a:lnTo>
                  <a:pt x="10" y="36"/>
                </a:lnTo>
                <a:lnTo>
                  <a:pt x="16" y="82"/>
                </a:lnTo>
                <a:lnTo>
                  <a:pt x="40" y="80"/>
                </a:lnTo>
                <a:lnTo>
                  <a:pt x="48" y="60"/>
                </a:lnTo>
                <a:lnTo>
                  <a:pt x="61" y="65"/>
                </a:lnTo>
                <a:lnTo>
                  <a:pt x="74" y="95"/>
                </a:lnTo>
                <a:lnTo>
                  <a:pt x="80" y="77"/>
                </a:lnTo>
                <a:lnTo>
                  <a:pt x="73" y="47"/>
                </a:lnTo>
                <a:lnTo>
                  <a:pt x="63" y="60"/>
                </a:lnTo>
                <a:lnTo>
                  <a:pt x="54" y="45"/>
                </a:lnTo>
                <a:lnTo>
                  <a:pt x="73" y="25"/>
                </a:lnTo>
                <a:lnTo>
                  <a:pt x="36" y="22"/>
                </a:lnTo>
                <a:lnTo>
                  <a:pt x="9" y="0"/>
                </a:lnTo>
                <a:lnTo>
                  <a:pt x="3" y="11"/>
                </a:lnTo>
                <a:lnTo>
                  <a:pt x="11" y="22"/>
                </a:lnTo>
                <a:lnTo>
                  <a:pt x="0" y="2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4" name="Freeform 16"/>
          <p:cNvSpPr>
            <a:spLocks/>
          </p:cNvSpPr>
          <p:nvPr/>
        </p:nvSpPr>
        <p:spPr bwMode="auto">
          <a:xfrm>
            <a:off x="4305300" y="3144838"/>
            <a:ext cx="76200" cy="55562"/>
          </a:xfrm>
          <a:custGeom>
            <a:avLst/>
            <a:gdLst>
              <a:gd name="T0" fmla="*/ 0 w 55"/>
              <a:gd name="T1" fmla="*/ 2147483647 h 38"/>
              <a:gd name="T2" fmla="*/ 2147483647 w 55"/>
              <a:gd name="T3" fmla="*/ 2147483647 h 38"/>
              <a:gd name="T4" fmla="*/ 2147483647 w 55"/>
              <a:gd name="T5" fmla="*/ 0 h 38"/>
              <a:gd name="T6" fmla="*/ 2147483647 w 55"/>
              <a:gd name="T7" fmla="*/ 2147483647 h 38"/>
              <a:gd name="T8" fmla="*/ 2147483647 w 55"/>
              <a:gd name="T9" fmla="*/ 2147483647 h 38"/>
              <a:gd name="T10" fmla="*/ 2147483647 w 55"/>
              <a:gd name="T11" fmla="*/ 2147483647 h 38"/>
              <a:gd name="T12" fmla="*/ 0 w 55"/>
              <a:gd name="T13" fmla="*/ 2147483647 h 3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5"/>
              <a:gd name="T22" fmla="*/ 0 h 38"/>
              <a:gd name="T23" fmla="*/ 55 w 55"/>
              <a:gd name="T24" fmla="*/ 38 h 3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5" h="38">
                <a:moveTo>
                  <a:pt x="0" y="6"/>
                </a:moveTo>
                <a:lnTo>
                  <a:pt x="14" y="2"/>
                </a:lnTo>
                <a:lnTo>
                  <a:pt x="37" y="0"/>
                </a:lnTo>
                <a:lnTo>
                  <a:pt x="53" y="15"/>
                </a:lnTo>
                <a:lnTo>
                  <a:pt x="54" y="27"/>
                </a:lnTo>
                <a:lnTo>
                  <a:pt x="49" y="37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5" name="Freeform 17"/>
          <p:cNvSpPr>
            <a:spLocks/>
          </p:cNvSpPr>
          <p:nvPr/>
        </p:nvSpPr>
        <p:spPr bwMode="auto">
          <a:xfrm>
            <a:off x="6296025" y="3775075"/>
            <a:ext cx="73025" cy="41275"/>
          </a:xfrm>
          <a:custGeom>
            <a:avLst/>
            <a:gdLst>
              <a:gd name="T0" fmla="*/ 0 w 53"/>
              <a:gd name="T1" fmla="*/ 2147483647 h 28"/>
              <a:gd name="T2" fmla="*/ 2147483647 w 53"/>
              <a:gd name="T3" fmla="*/ 2147483647 h 28"/>
              <a:gd name="T4" fmla="*/ 2147483647 w 53"/>
              <a:gd name="T5" fmla="*/ 2147483647 h 28"/>
              <a:gd name="T6" fmla="*/ 2147483647 w 53"/>
              <a:gd name="T7" fmla="*/ 2147483647 h 28"/>
              <a:gd name="T8" fmla="*/ 2147483647 w 53"/>
              <a:gd name="T9" fmla="*/ 0 h 28"/>
              <a:gd name="T10" fmla="*/ 0 w 53"/>
              <a:gd name="T11" fmla="*/ 2147483647 h 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3"/>
              <a:gd name="T19" fmla="*/ 0 h 28"/>
              <a:gd name="T20" fmla="*/ 53 w 53"/>
              <a:gd name="T21" fmla="*/ 28 h 2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3" h="28">
                <a:moveTo>
                  <a:pt x="0" y="16"/>
                </a:moveTo>
                <a:lnTo>
                  <a:pt x="5" y="27"/>
                </a:lnTo>
                <a:lnTo>
                  <a:pt x="52" y="25"/>
                </a:lnTo>
                <a:lnTo>
                  <a:pt x="48" y="9"/>
                </a:lnTo>
                <a:lnTo>
                  <a:pt x="18" y="0"/>
                </a:lnTo>
                <a:lnTo>
                  <a:pt x="0" y="1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6" name="Freeform 18"/>
          <p:cNvSpPr>
            <a:spLocks/>
          </p:cNvSpPr>
          <p:nvPr/>
        </p:nvSpPr>
        <p:spPr bwMode="auto">
          <a:xfrm>
            <a:off x="2627313" y="4667250"/>
            <a:ext cx="279400" cy="311150"/>
          </a:xfrm>
          <a:custGeom>
            <a:avLst/>
            <a:gdLst>
              <a:gd name="T0" fmla="*/ 0 w 203"/>
              <a:gd name="T1" fmla="*/ 2147483647 h 213"/>
              <a:gd name="T2" fmla="*/ 2147483647 w 203"/>
              <a:gd name="T3" fmla="*/ 2147483647 h 213"/>
              <a:gd name="T4" fmla="*/ 2147483647 w 203"/>
              <a:gd name="T5" fmla="*/ 2147483647 h 213"/>
              <a:gd name="T6" fmla="*/ 2147483647 w 203"/>
              <a:gd name="T7" fmla="*/ 2147483647 h 213"/>
              <a:gd name="T8" fmla="*/ 2147483647 w 203"/>
              <a:gd name="T9" fmla="*/ 2147483647 h 213"/>
              <a:gd name="T10" fmla="*/ 2147483647 w 203"/>
              <a:gd name="T11" fmla="*/ 2147483647 h 213"/>
              <a:gd name="T12" fmla="*/ 2147483647 w 203"/>
              <a:gd name="T13" fmla="*/ 2147483647 h 213"/>
              <a:gd name="T14" fmla="*/ 2147483647 w 203"/>
              <a:gd name="T15" fmla="*/ 2147483647 h 213"/>
              <a:gd name="T16" fmla="*/ 2147483647 w 203"/>
              <a:gd name="T17" fmla="*/ 2147483647 h 213"/>
              <a:gd name="T18" fmla="*/ 2147483647 w 203"/>
              <a:gd name="T19" fmla="*/ 2147483647 h 213"/>
              <a:gd name="T20" fmla="*/ 2147483647 w 203"/>
              <a:gd name="T21" fmla="*/ 2147483647 h 213"/>
              <a:gd name="T22" fmla="*/ 2147483647 w 203"/>
              <a:gd name="T23" fmla="*/ 2147483647 h 213"/>
              <a:gd name="T24" fmla="*/ 2147483647 w 203"/>
              <a:gd name="T25" fmla="*/ 2147483647 h 213"/>
              <a:gd name="T26" fmla="*/ 2147483647 w 203"/>
              <a:gd name="T27" fmla="*/ 2147483647 h 213"/>
              <a:gd name="T28" fmla="*/ 2147483647 w 203"/>
              <a:gd name="T29" fmla="*/ 2147483647 h 213"/>
              <a:gd name="T30" fmla="*/ 2147483647 w 203"/>
              <a:gd name="T31" fmla="*/ 2147483647 h 213"/>
              <a:gd name="T32" fmla="*/ 2147483647 w 203"/>
              <a:gd name="T33" fmla="*/ 2147483647 h 213"/>
              <a:gd name="T34" fmla="*/ 2147483647 w 203"/>
              <a:gd name="T35" fmla="*/ 2147483647 h 213"/>
              <a:gd name="T36" fmla="*/ 2147483647 w 203"/>
              <a:gd name="T37" fmla="*/ 2147483647 h 213"/>
              <a:gd name="T38" fmla="*/ 2147483647 w 203"/>
              <a:gd name="T39" fmla="*/ 2147483647 h 213"/>
              <a:gd name="T40" fmla="*/ 2147483647 w 203"/>
              <a:gd name="T41" fmla="*/ 2147483647 h 213"/>
              <a:gd name="T42" fmla="*/ 2147483647 w 203"/>
              <a:gd name="T43" fmla="*/ 0 h 213"/>
              <a:gd name="T44" fmla="*/ 2147483647 w 203"/>
              <a:gd name="T45" fmla="*/ 2147483647 h 213"/>
              <a:gd name="T46" fmla="*/ 0 w 203"/>
              <a:gd name="T47" fmla="*/ 2147483647 h 21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03"/>
              <a:gd name="T73" fmla="*/ 0 h 213"/>
              <a:gd name="T74" fmla="*/ 203 w 203"/>
              <a:gd name="T75" fmla="*/ 213 h 21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03" h="213">
                <a:moveTo>
                  <a:pt x="0" y="19"/>
                </a:moveTo>
                <a:lnTo>
                  <a:pt x="15" y="43"/>
                </a:lnTo>
                <a:lnTo>
                  <a:pt x="6" y="92"/>
                </a:lnTo>
                <a:lnTo>
                  <a:pt x="15" y="96"/>
                </a:lnTo>
                <a:lnTo>
                  <a:pt x="9" y="102"/>
                </a:lnTo>
                <a:lnTo>
                  <a:pt x="2" y="125"/>
                </a:lnTo>
                <a:lnTo>
                  <a:pt x="19" y="153"/>
                </a:lnTo>
                <a:lnTo>
                  <a:pt x="29" y="212"/>
                </a:lnTo>
                <a:lnTo>
                  <a:pt x="41" y="212"/>
                </a:lnTo>
                <a:lnTo>
                  <a:pt x="58" y="193"/>
                </a:lnTo>
                <a:lnTo>
                  <a:pt x="89" y="209"/>
                </a:lnTo>
                <a:lnTo>
                  <a:pt x="94" y="199"/>
                </a:lnTo>
                <a:lnTo>
                  <a:pt x="118" y="203"/>
                </a:lnTo>
                <a:lnTo>
                  <a:pt x="131" y="160"/>
                </a:lnTo>
                <a:lnTo>
                  <a:pt x="177" y="153"/>
                </a:lnTo>
                <a:lnTo>
                  <a:pt x="195" y="167"/>
                </a:lnTo>
                <a:lnTo>
                  <a:pt x="202" y="134"/>
                </a:lnTo>
                <a:lnTo>
                  <a:pt x="190" y="107"/>
                </a:lnTo>
                <a:lnTo>
                  <a:pt x="161" y="104"/>
                </a:lnTo>
                <a:lnTo>
                  <a:pt x="151" y="63"/>
                </a:lnTo>
                <a:lnTo>
                  <a:pt x="76" y="35"/>
                </a:lnTo>
                <a:lnTo>
                  <a:pt x="71" y="0"/>
                </a:lnTo>
                <a:lnTo>
                  <a:pt x="21" y="21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7" name="Freeform 19"/>
          <p:cNvSpPr>
            <a:spLocks/>
          </p:cNvSpPr>
          <p:nvPr/>
        </p:nvSpPr>
        <p:spPr bwMode="auto">
          <a:xfrm>
            <a:off x="4699000" y="4857750"/>
            <a:ext cx="219075" cy="214313"/>
          </a:xfrm>
          <a:custGeom>
            <a:avLst/>
            <a:gdLst>
              <a:gd name="T0" fmla="*/ 0 w 159"/>
              <a:gd name="T1" fmla="*/ 2147483647 h 147"/>
              <a:gd name="T2" fmla="*/ 0 w 159"/>
              <a:gd name="T3" fmla="*/ 2147483647 h 147"/>
              <a:gd name="T4" fmla="*/ 2147483647 w 159"/>
              <a:gd name="T5" fmla="*/ 2147483647 h 147"/>
              <a:gd name="T6" fmla="*/ 2147483647 w 159"/>
              <a:gd name="T7" fmla="*/ 2147483647 h 147"/>
              <a:gd name="T8" fmla="*/ 2147483647 w 159"/>
              <a:gd name="T9" fmla="*/ 2147483647 h 147"/>
              <a:gd name="T10" fmla="*/ 2147483647 w 159"/>
              <a:gd name="T11" fmla="*/ 2147483647 h 147"/>
              <a:gd name="T12" fmla="*/ 2147483647 w 159"/>
              <a:gd name="T13" fmla="*/ 0 h 147"/>
              <a:gd name="T14" fmla="*/ 2147483647 w 159"/>
              <a:gd name="T15" fmla="*/ 2147483647 h 147"/>
              <a:gd name="T16" fmla="*/ 2147483647 w 159"/>
              <a:gd name="T17" fmla="*/ 2147483647 h 147"/>
              <a:gd name="T18" fmla="*/ 2147483647 w 159"/>
              <a:gd name="T19" fmla="*/ 2147483647 h 147"/>
              <a:gd name="T20" fmla="*/ 2147483647 w 159"/>
              <a:gd name="T21" fmla="*/ 2147483647 h 147"/>
              <a:gd name="T22" fmla="*/ 2147483647 w 159"/>
              <a:gd name="T23" fmla="*/ 2147483647 h 147"/>
              <a:gd name="T24" fmla="*/ 2147483647 w 159"/>
              <a:gd name="T25" fmla="*/ 2147483647 h 147"/>
              <a:gd name="T26" fmla="*/ 2147483647 w 159"/>
              <a:gd name="T27" fmla="*/ 2147483647 h 147"/>
              <a:gd name="T28" fmla="*/ 0 w 159"/>
              <a:gd name="T29" fmla="*/ 2147483647 h 14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59"/>
              <a:gd name="T46" fmla="*/ 0 h 147"/>
              <a:gd name="T47" fmla="*/ 159 w 159"/>
              <a:gd name="T48" fmla="*/ 147 h 14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59" h="147">
                <a:moveTo>
                  <a:pt x="0" y="114"/>
                </a:moveTo>
                <a:lnTo>
                  <a:pt x="0" y="68"/>
                </a:lnTo>
                <a:lnTo>
                  <a:pt x="17" y="67"/>
                </a:lnTo>
                <a:lnTo>
                  <a:pt x="17" y="12"/>
                </a:lnTo>
                <a:lnTo>
                  <a:pt x="49" y="3"/>
                </a:lnTo>
                <a:lnTo>
                  <a:pt x="61" y="13"/>
                </a:lnTo>
                <a:lnTo>
                  <a:pt x="87" y="0"/>
                </a:lnTo>
                <a:lnTo>
                  <a:pt x="134" y="59"/>
                </a:lnTo>
                <a:lnTo>
                  <a:pt x="158" y="70"/>
                </a:lnTo>
                <a:lnTo>
                  <a:pt x="93" y="125"/>
                </a:lnTo>
                <a:lnTo>
                  <a:pt x="58" y="125"/>
                </a:lnTo>
                <a:lnTo>
                  <a:pt x="37" y="145"/>
                </a:lnTo>
                <a:lnTo>
                  <a:pt x="13" y="146"/>
                </a:lnTo>
                <a:lnTo>
                  <a:pt x="15" y="129"/>
                </a:lnTo>
                <a:lnTo>
                  <a:pt x="0" y="11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8" name="Freeform 20"/>
          <p:cNvSpPr>
            <a:spLocks/>
          </p:cNvSpPr>
          <p:nvPr/>
        </p:nvSpPr>
        <p:spPr bwMode="auto">
          <a:xfrm>
            <a:off x="2530475" y="4325938"/>
            <a:ext cx="904875" cy="923925"/>
          </a:xfrm>
          <a:custGeom>
            <a:avLst/>
            <a:gdLst>
              <a:gd name="T0" fmla="*/ 2147483647 w 657"/>
              <a:gd name="T1" fmla="*/ 2147483647 h 632"/>
              <a:gd name="T2" fmla="*/ 2147483647 w 657"/>
              <a:gd name="T3" fmla="*/ 2147483647 h 632"/>
              <a:gd name="T4" fmla="*/ 2147483647 w 657"/>
              <a:gd name="T5" fmla="*/ 2147483647 h 632"/>
              <a:gd name="T6" fmla="*/ 2147483647 w 657"/>
              <a:gd name="T7" fmla="*/ 2147483647 h 632"/>
              <a:gd name="T8" fmla="*/ 2147483647 w 657"/>
              <a:gd name="T9" fmla="*/ 2147483647 h 632"/>
              <a:gd name="T10" fmla="*/ 2147483647 w 657"/>
              <a:gd name="T11" fmla="*/ 2147483647 h 632"/>
              <a:gd name="T12" fmla="*/ 2147483647 w 657"/>
              <a:gd name="T13" fmla="*/ 2147483647 h 632"/>
              <a:gd name="T14" fmla="*/ 2147483647 w 657"/>
              <a:gd name="T15" fmla="*/ 2147483647 h 632"/>
              <a:gd name="T16" fmla="*/ 2147483647 w 657"/>
              <a:gd name="T17" fmla="*/ 2147483647 h 632"/>
              <a:gd name="T18" fmla="*/ 2147483647 w 657"/>
              <a:gd name="T19" fmla="*/ 2147483647 h 632"/>
              <a:gd name="T20" fmla="*/ 2147483647 w 657"/>
              <a:gd name="T21" fmla="*/ 2147483647 h 632"/>
              <a:gd name="T22" fmla="*/ 2147483647 w 657"/>
              <a:gd name="T23" fmla="*/ 2147483647 h 632"/>
              <a:gd name="T24" fmla="*/ 2147483647 w 657"/>
              <a:gd name="T25" fmla="*/ 2147483647 h 632"/>
              <a:gd name="T26" fmla="*/ 2147483647 w 657"/>
              <a:gd name="T27" fmla="*/ 2147483647 h 632"/>
              <a:gd name="T28" fmla="*/ 2147483647 w 657"/>
              <a:gd name="T29" fmla="*/ 2147483647 h 632"/>
              <a:gd name="T30" fmla="*/ 2147483647 w 657"/>
              <a:gd name="T31" fmla="*/ 2147483647 h 632"/>
              <a:gd name="T32" fmla="*/ 2147483647 w 657"/>
              <a:gd name="T33" fmla="*/ 2147483647 h 632"/>
              <a:gd name="T34" fmla="*/ 2147483647 w 657"/>
              <a:gd name="T35" fmla="*/ 2147483647 h 632"/>
              <a:gd name="T36" fmla="*/ 2147483647 w 657"/>
              <a:gd name="T37" fmla="*/ 2147483647 h 632"/>
              <a:gd name="T38" fmla="*/ 2147483647 w 657"/>
              <a:gd name="T39" fmla="*/ 2147483647 h 632"/>
              <a:gd name="T40" fmla="*/ 2147483647 w 657"/>
              <a:gd name="T41" fmla="*/ 2147483647 h 632"/>
              <a:gd name="T42" fmla="*/ 2147483647 w 657"/>
              <a:gd name="T43" fmla="*/ 2147483647 h 632"/>
              <a:gd name="T44" fmla="*/ 2147483647 w 657"/>
              <a:gd name="T45" fmla="*/ 2147483647 h 632"/>
              <a:gd name="T46" fmla="*/ 2147483647 w 657"/>
              <a:gd name="T47" fmla="*/ 2147483647 h 632"/>
              <a:gd name="T48" fmla="*/ 2147483647 w 657"/>
              <a:gd name="T49" fmla="*/ 2147483647 h 632"/>
              <a:gd name="T50" fmla="*/ 2147483647 w 657"/>
              <a:gd name="T51" fmla="*/ 2147483647 h 632"/>
              <a:gd name="T52" fmla="*/ 2147483647 w 657"/>
              <a:gd name="T53" fmla="*/ 2147483647 h 632"/>
              <a:gd name="T54" fmla="*/ 2147483647 w 657"/>
              <a:gd name="T55" fmla="*/ 0 h 632"/>
              <a:gd name="T56" fmla="*/ 2147483647 w 657"/>
              <a:gd name="T57" fmla="*/ 2147483647 h 632"/>
              <a:gd name="T58" fmla="*/ 2147483647 w 657"/>
              <a:gd name="T59" fmla="*/ 2147483647 h 632"/>
              <a:gd name="T60" fmla="*/ 2147483647 w 657"/>
              <a:gd name="T61" fmla="*/ 2147483647 h 632"/>
              <a:gd name="T62" fmla="*/ 2147483647 w 657"/>
              <a:gd name="T63" fmla="*/ 2147483647 h 632"/>
              <a:gd name="T64" fmla="*/ 2147483647 w 657"/>
              <a:gd name="T65" fmla="*/ 2147483647 h 632"/>
              <a:gd name="T66" fmla="*/ 2147483647 w 657"/>
              <a:gd name="T67" fmla="*/ 2147483647 h 632"/>
              <a:gd name="T68" fmla="*/ 0 w 657"/>
              <a:gd name="T69" fmla="*/ 2147483647 h 63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657"/>
              <a:gd name="T106" fmla="*/ 0 h 632"/>
              <a:gd name="T107" fmla="*/ 657 w 657"/>
              <a:gd name="T108" fmla="*/ 632 h 63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657" h="632">
                <a:moveTo>
                  <a:pt x="0" y="201"/>
                </a:moveTo>
                <a:lnTo>
                  <a:pt x="14" y="229"/>
                </a:lnTo>
                <a:lnTo>
                  <a:pt x="36" y="240"/>
                </a:lnTo>
                <a:lnTo>
                  <a:pt x="56" y="227"/>
                </a:lnTo>
                <a:lnTo>
                  <a:pt x="56" y="253"/>
                </a:lnTo>
                <a:lnTo>
                  <a:pt x="69" y="253"/>
                </a:lnTo>
                <a:lnTo>
                  <a:pt x="91" y="255"/>
                </a:lnTo>
                <a:lnTo>
                  <a:pt x="140" y="234"/>
                </a:lnTo>
                <a:lnTo>
                  <a:pt x="145" y="269"/>
                </a:lnTo>
                <a:lnTo>
                  <a:pt x="221" y="297"/>
                </a:lnTo>
                <a:lnTo>
                  <a:pt x="231" y="339"/>
                </a:lnTo>
                <a:lnTo>
                  <a:pt x="259" y="341"/>
                </a:lnTo>
                <a:lnTo>
                  <a:pt x="272" y="369"/>
                </a:lnTo>
                <a:lnTo>
                  <a:pt x="264" y="401"/>
                </a:lnTo>
                <a:lnTo>
                  <a:pt x="269" y="434"/>
                </a:lnTo>
                <a:lnTo>
                  <a:pt x="303" y="437"/>
                </a:lnTo>
                <a:lnTo>
                  <a:pt x="309" y="462"/>
                </a:lnTo>
                <a:lnTo>
                  <a:pt x="327" y="465"/>
                </a:lnTo>
                <a:lnTo>
                  <a:pt x="325" y="492"/>
                </a:lnTo>
                <a:lnTo>
                  <a:pt x="335" y="493"/>
                </a:lnTo>
                <a:lnTo>
                  <a:pt x="337" y="517"/>
                </a:lnTo>
                <a:lnTo>
                  <a:pt x="273" y="571"/>
                </a:lnTo>
                <a:lnTo>
                  <a:pt x="285" y="570"/>
                </a:lnTo>
                <a:lnTo>
                  <a:pt x="336" y="600"/>
                </a:lnTo>
                <a:lnTo>
                  <a:pt x="347" y="615"/>
                </a:lnTo>
                <a:lnTo>
                  <a:pt x="344" y="631"/>
                </a:lnTo>
                <a:lnTo>
                  <a:pt x="424" y="538"/>
                </a:lnTo>
                <a:lnTo>
                  <a:pt x="428" y="489"/>
                </a:lnTo>
                <a:lnTo>
                  <a:pt x="494" y="448"/>
                </a:lnTo>
                <a:lnTo>
                  <a:pt x="532" y="447"/>
                </a:lnTo>
                <a:lnTo>
                  <a:pt x="548" y="433"/>
                </a:lnTo>
                <a:lnTo>
                  <a:pt x="583" y="361"/>
                </a:lnTo>
                <a:lnTo>
                  <a:pt x="587" y="290"/>
                </a:lnTo>
                <a:lnTo>
                  <a:pt x="651" y="223"/>
                </a:lnTo>
                <a:lnTo>
                  <a:pt x="656" y="194"/>
                </a:lnTo>
                <a:lnTo>
                  <a:pt x="646" y="164"/>
                </a:lnTo>
                <a:lnTo>
                  <a:pt x="619" y="160"/>
                </a:lnTo>
                <a:lnTo>
                  <a:pt x="578" y="130"/>
                </a:lnTo>
                <a:lnTo>
                  <a:pt x="496" y="124"/>
                </a:lnTo>
                <a:lnTo>
                  <a:pt x="489" y="106"/>
                </a:lnTo>
                <a:lnTo>
                  <a:pt x="450" y="93"/>
                </a:lnTo>
                <a:lnTo>
                  <a:pt x="434" y="94"/>
                </a:lnTo>
                <a:lnTo>
                  <a:pt x="412" y="121"/>
                </a:lnTo>
                <a:lnTo>
                  <a:pt x="412" y="110"/>
                </a:lnTo>
                <a:lnTo>
                  <a:pt x="377" y="115"/>
                </a:lnTo>
                <a:lnTo>
                  <a:pt x="392" y="109"/>
                </a:lnTo>
                <a:lnTo>
                  <a:pt x="378" y="88"/>
                </a:lnTo>
                <a:lnTo>
                  <a:pt x="403" y="56"/>
                </a:lnTo>
                <a:lnTo>
                  <a:pt x="376" y="19"/>
                </a:lnTo>
                <a:lnTo>
                  <a:pt x="350" y="49"/>
                </a:lnTo>
                <a:lnTo>
                  <a:pt x="327" y="46"/>
                </a:lnTo>
                <a:lnTo>
                  <a:pt x="293" y="51"/>
                </a:lnTo>
                <a:lnTo>
                  <a:pt x="244" y="58"/>
                </a:lnTo>
                <a:lnTo>
                  <a:pt x="236" y="42"/>
                </a:lnTo>
                <a:lnTo>
                  <a:pt x="239" y="12"/>
                </a:lnTo>
                <a:lnTo>
                  <a:pt x="223" y="0"/>
                </a:lnTo>
                <a:lnTo>
                  <a:pt x="182" y="21"/>
                </a:lnTo>
                <a:lnTo>
                  <a:pt x="153" y="14"/>
                </a:lnTo>
                <a:lnTo>
                  <a:pt x="162" y="44"/>
                </a:lnTo>
                <a:lnTo>
                  <a:pt x="176" y="48"/>
                </a:lnTo>
                <a:lnTo>
                  <a:pt x="138" y="70"/>
                </a:lnTo>
                <a:lnTo>
                  <a:pt x="117" y="61"/>
                </a:lnTo>
                <a:lnTo>
                  <a:pt x="107" y="51"/>
                </a:lnTo>
                <a:lnTo>
                  <a:pt x="67" y="56"/>
                </a:lnTo>
                <a:lnTo>
                  <a:pt x="78" y="72"/>
                </a:lnTo>
                <a:lnTo>
                  <a:pt x="63" y="74"/>
                </a:lnTo>
                <a:lnTo>
                  <a:pt x="73" y="101"/>
                </a:lnTo>
                <a:lnTo>
                  <a:pt x="64" y="147"/>
                </a:lnTo>
                <a:lnTo>
                  <a:pt x="22" y="162"/>
                </a:lnTo>
                <a:lnTo>
                  <a:pt x="0" y="20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9" name="Freeform 21"/>
          <p:cNvSpPr>
            <a:spLocks/>
          </p:cNvSpPr>
          <p:nvPr/>
        </p:nvSpPr>
        <p:spPr bwMode="auto">
          <a:xfrm>
            <a:off x="2178050" y="4014788"/>
            <a:ext cx="19050" cy="61912"/>
          </a:xfrm>
          <a:custGeom>
            <a:avLst/>
            <a:gdLst>
              <a:gd name="T0" fmla="*/ 0 w 14"/>
              <a:gd name="T1" fmla="*/ 2147483647 h 42"/>
              <a:gd name="T2" fmla="*/ 2147483647 w 14"/>
              <a:gd name="T3" fmla="*/ 2147483647 h 42"/>
              <a:gd name="T4" fmla="*/ 2147483647 w 14"/>
              <a:gd name="T5" fmla="*/ 0 h 42"/>
              <a:gd name="T6" fmla="*/ 0 w 14"/>
              <a:gd name="T7" fmla="*/ 2147483647 h 42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42"/>
              <a:gd name="T14" fmla="*/ 14 w 14"/>
              <a:gd name="T15" fmla="*/ 42 h 4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42">
                <a:moveTo>
                  <a:pt x="0" y="9"/>
                </a:moveTo>
                <a:lnTo>
                  <a:pt x="4" y="41"/>
                </a:lnTo>
                <a:lnTo>
                  <a:pt x="13" y="0"/>
                </a:lnTo>
                <a:lnTo>
                  <a:pt x="0" y="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0" name="Freeform 22"/>
          <p:cNvSpPr>
            <a:spLocks/>
          </p:cNvSpPr>
          <p:nvPr/>
        </p:nvSpPr>
        <p:spPr bwMode="auto">
          <a:xfrm>
            <a:off x="6873875" y="4330700"/>
            <a:ext cx="31750" cy="22225"/>
          </a:xfrm>
          <a:custGeom>
            <a:avLst/>
            <a:gdLst>
              <a:gd name="T0" fmla="*/ 0 w 23"/>
              <a:gd name="T1" fmla="*/ 2147483647 h 16"/>
              <a:gd name="T2" fmla="*/ 2147483647 w 23"/>
              <a:gd name="T3" fmla="*/ 2147483647 h 16"/>
              <a:gd name="T4" fmla="*/ 2147483647 w 23"/>
              <a:gd name="T5" fmla="*/ 0 h 16"/>
              <a:gd name="T6" fmla="*/ 0 w 23"/>
              <a:gd name="T7" fmla="*/ 2147483647 h 16"/>
              <a:gd name="T8" fmla="*/ 0 60000 65536"/>
              <a:gd name="T9" fmla="*/ 0 60000 65536"/>
              <a:gd name="T10" fmla="*/ 0 60000 65536"/>
              <a:gd name="T11" fmla="*/ 0 60000 65536"/>
              <a:gd name="T12" fmla="*/ 0 w 23"/>
              <a:gd name="T13" fmla="*/ 0 h 16"/>
              <a:gd name="T14" fmla="*/ 23 w 23"/>
              <a:gd name="T15" fmla="*/ 16 h 1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3" h="16">
                <a:moveTo>
                  <a:pt x="0" y="6"/>
                </a:moveTo>
                <a:lnTo>
                  <a:pt x="12" y="15"/>
                </a:lnTo>
                <a:lnTo>
                  <a:pt x="22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2" name="Freeform 23"/>
          <p:cNvSpPr>
            <a:spLocks/>
          </p:cNvSpPr>
          <p:nvPr/>
        </p:nvSpPr>
        <p:spPr bwMode="auto">
          <a:xfrm>
            <a:off x="4757738" y="3359150"/>
            <a:ext cx="147637" cy="80963"/>
          </a:xfrm>
          <a:custGeom>
            <a:avLst/>
            <a:gdLst>
              <a:gd name="T0" fmla="*/ 0 w 108"/>
              <a:gd name="T1" fmla="*/ 2147483647 h 55"/>
              <a:gd name="T2" fmla="*/ 2147483647 w 108"/>
              <a:gd name="T3" fmla="*/ 0 h 55"/>
              <a:gd name="T4" fmla="*/ 2147483647 w 108"/>
              <a:gd name="T5" fmla="*/ 2147483647 h 55"/>
              <a:gd name="T6" fmla="*/ 2147483647 w 108"/>
              <a:gd name="T7" fmla="*/ 2147483647 h 55"/>
              <a:gd name="T8" fmla="*/ 2147483647 w 108"/>
              <a:gd name="T9" fmla="*/ 2147483647 h 55"/>
              <a:gd name="T10" fmla="*/ 2147483647 w 108"/>
              <a:gd name="T11" fmla="*/ 2147483647 h 55"/>
              <a:gd name="T12" fmla="*/ 2147483647 w 108"/>
              <a:gd name="T13" fmla="*/ 2147483647 h 55"/>
              <a:gd name="T14" fmla="*/ 2147483647 w 108"/>
              <a:gd name="T15" fmla="*/ 2147483647 h 55"/>
              <a:gd name="T16" fmla="*/ 0 w 108"/>
              <a:gd name="T17" fmla="*/ 2147483647 h 5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8"/>
              <a:gd name="T28" fmla="*/ 0 h 55"/>
              <a:gd name="T29" fmla="*/ 108 w 108"/>
              <a:gd name="T30" fmla="*/ 55 h 5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8" h="55">
                <a:moveTo>
                  <a:pt x="0" y="36"/>
                </a:moveTo>
                <a:lnTo>
                  <a:pt x="6" y="0"/>
                </a:lnTo>
                <a:lnTo>
                  <a:pt x="107" y="8"/>
                </a:lnTo>
                <a:lnTo>
                  <a:pt x="88" y="31"/>
                </a:lnTo>
                <a:lnTo>
                  <a:pt x="96" y="43"/>
                </a:lnTo>
                <a:lnTo>
                  <a:pt x="67" y="45"/>
                </a:lnTo>
                <a:lnTo>
                  <a:pt x="52" y="54"/>
                </a:lnTo>
                <a:lnTo>
                  <a:pt x="9" y="53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3" name="Freeform 24"/>
          <p:cNvSpPr>
            <a:spLocks/>
          </p:cNvSpPr>
          <p:nvPr/>
        </p:nvSpPr>
        <p:spPr bwMode="auto">
          <a:xfrm>
            <a:off x="6372225" y="3779838"/>
            <a:ext cx="207963" cy="430212"/>
          </a:xfrm>
          <a:custGeom>
            <a:avLst/>
            <a:gdLst>
              <a:gd name="T0" fmla="*/ 0 w 151"/>
              <a:gd name="T1" fmla="*/ 2147483647 h 294"/>
              <a:gd name="T2" fmla="*/ 2147483647 w 151"/>
              <a:gd name="T3" fmla="*/ 2147483647 h 294"/>
              <a:gd name="T4" fmla="*/ 2147483647 w 151"/>
              <a:gd name="T5" fmla="*/ 2147483647 h 294"/>
              <a:gd name="T6" fmla="*/ 2147483647 w 151"/>
              <a:gd name="T7" fmla="*/ 2147483647 h 294"/>
              <a:gd name="T8" fmla="*/ 2147483647 w 151"/>
              <a:gd name="T9" fmla="*/ 0 h 294"/>
              <a:gd name="T10" fmla="*/ 2147483647 w 151"/>
              <a:gd name="T11" fmla="*/ 2147483647 h 294"/>
              <a:gd name="T12" fmla="*/ 2147483647 w 151"/>
              <a:gd name="T13" fmla="*/ 2147483647 h 294"/>
              <a:gd name="T14" fmla="*/ 2147483647 w 151"/>
              <a:gd name="T15" fmla="*/ 2147483647 h 294"/>
              <a:gd name="T16" fmla="*/ 2147483647 w 151"/>
              <a:gd name="T17" fmla="*/ 2147483647 h 294"/>
              <a:gd name="T18" fmla="*/ 2147483647 w 151"/>
              <a:gd name="T19" fmla="*/ 2147483647 h 294"/>
              <a:gd name="T20" fmla="*/ 2147483647 w 151"/>
              <a:gd name="T21" fmla="*/ 2147483647 h 294"/>
              <a:gd name="T22" fmla="*/ 2147483647 w 151"/>
              <a:gd name="T23" fmla="*/ 2147483647 h 294"/>
              <a:gd name="T24" fmla="*/ 2147483647 w 151"/>
              <a:gd name="T25" fmla="*/ 2147483647 h 294"/>
              <a:gd name="T26" fmla="*/ 2147483647 w 151"/>
              <a:gd name="T27" fmla="*/ 2147483647 h 294"/>
              <a:gd name="T28" fmla="*/ 2147483647 w 151"/>
              <a:gd name="T29" fmla="*/ 2147483647 h 294"/>
              <a:gd name="T30" fmla="*/ 2147483647 w 151"/>
              <a:gd name="T31" fmla="*/ 2147483647 h 294"/>
              <a:gd name="T32" fmla="*/ 2147483647 w 151"/>
              <a:gd name="T33" fmla="*/ 2147483647 h 294"/>
              <a:gd name="T34" fmla="*/ 2147483647 w 151"/>
              <a:gd name="T35" fmla="*/ 2147483647 h 294"/>
              <a:gd name="T36" fmla="*/ 2147483647 w 151"/>
              <a:gd name="T37" fmla="*/ 2147483647 h 294"/>
              <a:gd name="T38" fmla="*/ 2147483647 w 151"/>
              <a:gd name="T39" fmla="*/ 2147483647 h 294"/>
              <a:gd name="T40" fmla="*/ 2147483647 w 151"/>
              <a:gd name="T41" fmla="*/ 2147483647 h 294"/>
              <a:gd name="T42" fmla="*/ 2147483647 w 151"/>
              <a:gd name="T43" fmla="*/ 2147483647 h 294"/>
              <a:gd name="T44" fmla="*/ 2147483647 w 151"/>
              <a:gd name="T45" fmla="*/ 2147483647 h 294"/>
              <a:gd name="T46" fmla="*/ 0 w 151"/>
              <a:gd name="T47" fmla="*/ 2147483647 h 29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51"/>
              <a:gd name="T73" fmla="*/ 0 h 294"/>
              <a:gd name="T74" fmla="*/ 151 w 151"/>
              <a:gd name="T75" fmla="*/ 294 h 294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51" h="294">
                <a:moveTo>
                  <a:pt x="0" y="121"/>
                </a:moveTo>
                <a:lnTo>
                  <a:pt x="6" y="103"/>
                </a:lnTo>
                <a:lnTo>
                  <a:pt x="52" y="28"/>
                </a:lnTo>
                <a:lnTo>
                  <a:pt x="79" y="16"/>
                </a:lnTo>
                <a:lnTo>
                  <a:pt x="86" y="0"/>
                </a:lnTo>
                <a:lnTo>
                  <a:pt x="106" y="9"/>
                </a:lnTo>
                <a:lnTo>
                  <a:pt x="108" y="24"/>
                </a:lnTo>
                <a:lnTo>
                  <a:pt x="90" y="72"/>
                </a:lnTo>
                <a:lnTo>
                  <a:pt x="111" y="67"/>
                </a:lnTo>
                <a:lnTo>
                  <a:pt x="118" y="99"/>
                </a:lnTo>
                <a:lnTo>
                  <a:pt x="150" y="107"/>
                </a:lnTo>
                <a:lnTo>
                  <a:pt x="133" y="123"/>
                </a:lnTo>
                <a:lnTo>
                  <a:pt x="98" y="142"/>
                </a:lnTo>
                <a:lnTo>
                  <a:pt x="90" y="160"/>
                </a:lnTo>
                <a:lnTo>
                  <a:pt x="111" y="198"/>
                </a:lnTo>
                <a:lnTo>
                  <a:pt x="101" y="219"/>
                </a:lnTo>
                <a:lnTo>
                  <a:pt x="124" y="265"/>
                </a:lnTo>
                <a:lnTo>
                  <a:pt x="108" y="293"/>
                </a:lnTo>
                <a:lnTo>
                  <a:pt x="91" y="192"/>
                </a:lnTo>
                <a:lnTo>
                  <a:pt x="75" y="178"/>
                </a:lnTo>
                <a:lnTo>
                  <a:pt x="53" y="203"/>
                </a:lnTo>
                <a:lnTo>
                  <a:pt x="33" y="199"/>
                </a:lnTo>
                <a:lnTo>
                  <a:pt x="37" y="163"/>
                </a:lnTo>
                <a:lnTo>
                  <a:pt x="0" y="12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4" name="Freeform 25"/>
          <p:cNvSpPr>
            <a:spLocks/>
          </p:cNvSpPr>
          <p:nvPr/>
        </p:nvSpPr>
        <p:spPr bwMode="auto">
          <a:xfrm>
            <a:off x="4914900" y="4497388"/>
            <a:ext cx="38100" cy="49212"/>
          </a:xfrm>
          <a:custGeom>
            <a:avLst/>
            <a:gdLst>
              <a:gd name="T0" fmla="*/ 0 w 28"/>
              <a:gd name="T1" fmla="*/ 2147483647 h 33"/>
              <a:gd name="T2" fmla="*/ 2147483647 w 28"/>
              <a:gd name="T3" fmla="*/ 2147483647 h 33"/>
              <a:gd name="T4" fmla="*/ 2147483647 w 28"/>
              <a:gd name="T5" fmla="*/ 2147483647 h 33"/>
              <a:gd name="T6" fmla="*/ 2147483647 w 28"/>
              <a:gd name="T7" fmla="*/ 2147483647 h 33"/>
              <a:gd name="T8" fmla="*/ 2147483647 w 28"/>
              <a:gd name="T9" fmla="*/ 0 h 33"/>
              <a:gd name="T10" fmla="*/ 0 w 28"/>
              <a:gd name="T11" fmla="*/ 2147483647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8"/>
              <a:gd name="T19" fmla="*/ 0 h 33"/>
              <a:gd name="T20" fmla="*/ 28 w 28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8" h="33">
                <a:moveTo>
                  <a:pt x="0" y="5"/>
                </a:moveTo>
                <a:lnTo>
                  <a:pt x="2" y="15"/>
                </a:lnTo>
                <a:lnTo>
                  <a:pt x="7" y="32"/>
                </a:lnTo>
                <a:lnTo>
                  <a:pt x="27" y="11"/>
                </a:lnTo>
                <a:lnTo>
                  <a:pt x="25" y="0"/>
                </a:lnTo>
                <a:lnTo>
                  <a:pt x="0" y="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5" name="Freeform 26"/>
          <p:cNvSpPr>
            <a:spLocks/>
          </p:cNvSpPr>
          <p:nvPr/>
        </p:nvSpPr>
        <p:spPr bwMode="auto">
          <a:xfrm>
            <a:off x="6611938" y="4103688"/>
            <a:ext cx="117475" cy="100012"/>
          </a:xfrm>
          <a:custGeom>
            <a:avLst/>
            <a:gdLst>
              <a:gd name="T0" fmla="*/ 0 w 85"/>
              <a:gd name="T1" fmla="*/ 2147483647 h 69"/>
              <a:gd name="T2" fmla="*/ 2147483647 w 85"/>
              <a:gd name="T3" fmla="*/ 2147483647 h 69"/>
              <a:gd name="T4" fmla="*/ 2147483647 w 85"/>
              <a:gd name="T5" fmla="*/ 2147483647 h 69"/>
              <a:gd name="T6" fmla="*/ 2147483647 w 85"/>
              <a:gd name="T7" fmla="*/ 2147483647 h 69"/>
              <a:gd name="T8" fmla="*/ 2147483647 w 85"/>
              <a:gd name="T9" fmla="*/ 2147483647 h 69"/>
              <a:gd name="T10" fmla="*/ 2147483647 w 85"/>
              <a:gd name="T11" fmla="*/ 0 h 69"/>
              <a:gd name="T12" fmla="*/ 2147483647 w 85"/>
              <a:gd name="T13" fmla="*/ 2147483647 h 69"/>
              <a:gd name="T14" fmla="*/ 2147483647 w 85"/>
              <a:gd name="T15" fmla="*/ 2147483647 h 69"/>
              <a:gd name="T16" fmla="*/ 0 w 85"/>
              <a:gd name="T17" fmla="*/ 2147483647 h 6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5"/>
              <a:gd name="T28" fmla="*/ 0 h 69"/>
              <a:gd name="T29" fmla="*/ 85 w 85"/>
              <a:gd name="T30" fmla="*/ 69 h 6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5" h="69">
                <a:moveTo>
                  <a:pt x="0" y="14"/>
                </a:moveTo>
                <a:lnTo>
                  <a:pt x="7" y="50"/>
                </a:lnTo>
                <a:lnTo>
                  <a:pt x="17" y="67"/>
                </a:lnTo>
                <a:lnTo>
                  <a:pt x="33" y="68"/>
                </a:lnTo>
                <a:lnTo>
                  <a:pt x="84" y="36"/>
                </a:lnTo>
                <a:lnTo>
                  <a:pt x="83" y="0"/>
                </a:lnTo>
                <a:lnTo>
                  <a:pt x="46" y="7"/>
                </a:lnTo>
                <a:lnTo>
                  <a:pt x="11" y="6"/>
                </a:lnTo>
                <a:lnTo>
                  <a:pt x="0" y="1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6" name="Freeform 27"/>
          <p:cNvSpPr>
            <a:spLocks/>
          </p:cNvSpPr>
          <p:nvPr/>
        </p:nvSpPr>
        <p:spPr bwMode="auto">
          <a:xfrm>
            <a:off x="4435475" y="4148138"/>
            <a:ext cx="176213" cy="258762"/>
          </a:xfrm>
          <a:custGeom>
            <a:avLst/>
            <a:gdLst>
              <a:gd name="T0" fmla="*/ 0 w 128"/>
              <a:gd name="T1" fmla="*/ 2147483647 h 177"/>
              <a:gd name="T2" fmla="*/ 2147483647 w 128"/>
              <a:gd name="T3" fmla="*/ 2147483647 h 177"/>
              <a:gd name="T4" fmla="*/ 2147483647 w 128"/>
              <a:gd name="T5" fmla="*/ 2147483647 h 177"/>
              <a:gd name="T6" fmla="*/ 2147483647 w 128"/>
              <a:gd name="T7" fmla="*/ 2147483647 h 177"/>
              <a:gd name="T8" fmla="*/ 2147483647 w 128"/>
              <a:gd name="T9" fmla="*/ 2147483647 h 177"/>
              <a:gd name="T10" fmla="*/ 2147483647 w 128"/>
              <a:gd name="T11" fmla="*/ 2147483647 h 177"/>
              <a:gd name="T12" fmla="*/ 2147483647 w 128"/>
              <a:gd name="T13" fmla="*/ 0 h 177"/>
              <a:gd name="T14" fmla="*/ 2147483647 w 128"/>
              <a:gd name="T15" fmla="*/ 2147483647 h 177"/>
              <a:gd name="T16" fmla="*/ 2147483647 w 128"/>
              <a:gd name="T17" fmla="*/ 2147483647 h 177"/>
              <a:gd name="T18" fmla="*/ 2147483647 w 128"/>
              <a:gd name="T19" fmla="*/ 2147483647 h 177"/>
              <a:gd name="T20" fmla="*/ 2147483647 w 128"/>
              <a:gd name="T21" fmla="*/ 2147483647 h 177"/>
              <a:gd name="T22" fmla="*/ 2147483647 w 128"/>
              <a:gd name="T23" fmla="*/ 2147483647 h 177"/>
              <a:gd name="T24" fmla="*/ 2147483647 w 128"/>
              <a:gd name="T25" fmla="*/ 2147483647 h 177"/>
              <a:gd name="T26" fmla="*/ 2147483647 w 128"/>
              <a:gd name="T27" fmla="*/ 2147483647 h 177"/>
              <a:gd name="T28" fmla="*/ 2147483647 w 128"/>
              <a:gd name="T29" fmla="*/ 2147483647 h 177"/>
              <a:gd name="T30" fmla="*/ 2147483647 w 128"/>
              <a:gd name="T31" fmla="*/ 2147483647 h 177"/>
              <a:gd name="T32" fmla="*/ 2147483647 w 128"/>
              <a:gd name="T33" fmla="*/ 2147483647 h 177"/>
              <a:gd name="T34" fmla="*/ 0 w 128"/>
              <a:gd name="T35" fmla="*/ 2147483647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28"/>
              <a:gd name="T55" fmla="*/ 0 h 177"/>
              <a:gd name="T56" fmla="*/ 128 w 128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28" h="177">
                <a:moveTo>
                  <a:pt x="0" y="127"/>
                </a:moveTo>
                <a:lnTo>
                  <a:pt x="19" y="94"/>
                </a:lnTo>
                <a:lnTo>
                  <a:pt x="48" y="100"/>
                </a:lnTo>
                <a:lnTo>
                  <a:pt x="82" y="29"/>
                </a:lnTo>
                <a:lnTo>
                  <a:pt x="100" y="20"/>
                </a:lnTo>
                <a:lnTo>
                  <a:pt x="93" y="5"/>
                </a:lnTo>
                <a:lnTo>
                  <a:pt x="102" y="0"/>
                </a:lnTo>
                <a:lnTo>
                  <a:pt x="114" y="44"/>
                </a:lnTo>
                <a:lnTo>
                  <a:pt x="93" y="51"/>
                </a:lnTo>
                <a:lnTo>
                  <a:pt x="115" y="86"/>
                </a:lnTo>
                <a:lnTo>
                  <a:pt x="100" y="126"/>
                </a:lnTo>
                <a:lnTo>
                  <a:pt x="127" y="157"/>
                </a:lnTo>
                <a:lnTo>
                  <a:pt x="123" y="176"/>
                </a:lnTo>
                <a:lnTo>
                  <a:pt x="80" y="167"/>
                </a:lnTo>
                <a:lnTo>
                  <a:pt x="46" y="167"/>
                </a:lnTo>
                <a:lnTo>
                  <a:pt x="22" y="168"/>
                </a:lnTo>
                <a:lnTo>
                  <a:pt x="22" y="139"/>
                </a:lnTo>
                <a:lnTo>
                  <a:pt x="0" y="12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7" name="Freeform 28"/>
          <p:cNvSpPr>
            <a:spLocks/>
          </p:cNvSpPr>
          <p:nvPr/>
        </p:nvSpPr>
        <p:spPr bwMode="auto">
          <a:xfrm>
            <a:off x="979488" y="2413000"/>
            <a:ext cx="1973262" cy="1009650"/>
          </a:xfrm>
          <a:custGeom>
            <a:avLst/>
            <a:gdLst>
              <a:gd name="T0" fmla="*/ 2147483647 w 1434"/>
              <a:gd name="T1" fmla="*/ 2147483647 h 690"/>
              <a:gd name="T2" fmla="*/ 2147483647 w 1434"/>
              <a:gd name="T3" fmla="*/ 2147483647 h 690"/>
              <a:gd name="T4" fmla="*/ 2147483647 w 1434"/>
              <a:gd name="T5" fmla="*/ 2147483647 h 690"/>
              <a:gd name="T6" fmla="*/ 2147483647 w 1434"/>
              <a:gd name="T7" fmla="*/ 2147483647 h 690"/>
              <a:gd name="T8" fmla="*/ 2147483647 w 1434"/>
              <a:gd name="T9" fmla="*/ 2147483647 h 690"/>
              <a:gd name="T10" fmla="*/ 2147483647 w 1434"/>
              <a:gd name="T11" fmla="*/ 2147483647 h 690"/>
              <a:gd name="T12" fmla="*/ 2147483647 w 1434"/>
              <a:gd name="T13" fmla="*/ 2147483647 h 690"/>
              <a:gd name="T14" fmla="*/ 2147483647 w 1434"/>
              <a:gd name="T15" fmla="*/ 2147483647 h 690"/>
              <a:gd name="T16" fmla="*/ 2147483647 w 1434"/>
              <a:gd name="T17" fmla="*/ 2147483647 h 690"/>
              <a:gd name="T18" fmla="*/ 2147483647 w 1434"/>
              <a:gd name="T19" fmla="*/ 2147483647 h 690"/>
              <a:gd name="T20" fmla="*/ 2147483647 w 1434"/>
              <a:gd name="T21" fmla="*/ 2147483647 h 690"/>
              <a:gd name="T22" fmla="*/ 2147483647 w 1434"/>
              <a:gd name="T23" fmla="*/ 2147483647 h 690"/>
              <a:gd name="T24" fmla="*/ 2147483647 w 1434"/>
              <a:gd name="T25" fmla="*/ 0 h 690"/>
              <a:gd name="T26" fmla="*/ 2147483647 w 1434"/>
              <a:gd name="T27" fmla="*/ 2147483647 h 690"/>
              <a:gd name="T28" fmla="*/ 2147483647 w 1434"/>
              <a:gd name="T29" fmla="*/ 2147483647 h 690"/>
              <a:gd name="T30" fmla="*/ 2147483647 w 1434"/>
              <a:gd name="T31" fmla="*/ 2147483647 h 690"/>
              <a:gd name="T32" fmla="*/ 2147483647 w 1434"/>
              <a:gd name="T33" fmla="*/ 2147483647 h 690"/>
              <a:gd name="T34" fmla="*/ 2147483647 w 1434"/>
              <a:gd name="T35" fmla="*/ 2147483647 h 690"/>
              <a:gd name="T36" fmla="*/ 2147483647 w 1434"/>
              <a:gd name="T37" fmla="*/ 2147483647 h 690"/>
              <a:gd name="T38" fmla="*/ 2147483647 w 1434"/>
              <a:gd name="T39" fmla="*/ 2147483647 h 690"/>
              <a:gd name="T40" fmla="*/ 2147483647 w 1434"/>
              <a:gd name="T41" fmla="*/ 2147483647 h 690"/>
              <a:gd name="T42" fmla="*/ 2147483647 w 1434"/>
              <a:gd name="T43" fmla="*/ 2147483647 h 690"/>
              <a:gd name="T44" fmla="*/ 2147483647 w 1434"/>
              <a:gd name="T45" fmla="*/ 2147483647 h 690"/>
              <a:gd name="T46" fmla="*/ 2147483647 w 1434"/>
              <a:gd name="T47" fmla="*/ 2147483647 h 690"/>
              <a:gd name="T48" fmla="*/ 2147483647 w 1434"/>
              <a:gd name="T49" fmla="*/ 2147483647 h 690"/>
              <a:gd name="T50" fmla="*/ 2147483647 w 1434"/>
              <a:gd name="T51" fmla="*/ 2147483647 h 690"/>
              <a:gd name="T52" fmla="*/ 2147483647 w 1434"/>
              <a:gd name="T53" fmla="*/ 2147483647 h 690"/>
              <a:gd name="T54" fmla="*/ 2147483647 w 1434"/>
              <a:gd name="T55" fmla="*/ 2147483647 h 690"/>
              <a:gd name="T56" fmla="*/ 2147483647 w 1434"/>
              <a:gd name="T57" fmla="*/ 2147483647 h 690"/>
              <a:gd name="T58" fmla="*/ 2147483647 w 1434"/>
              <a:gd name="T59" fmla="*/ 2147483647 h 690"/>
              <a:gd name="T60" fmla="*/ 2147483647 w 1434"/>
              <a:gd name="T61" fmla="*/ 2147483647 h 690"/>
              <a:gd name="T62" fmla="*/ 2147483647 w 1434"/>
              <a:gd name="T63" fmla="*/ 2147483647 h 690"/>
              <a:gd name="T64" fmla="*/ 2147483647 w 1434"/>
              <a:gd name="T65" fmla="*/ 2147483647 h 690"/>
              <a:gd name="T66" fmla="*/ 2147483647 w 1434"/>
              <a:gd name="T67" fmla="*/ 2147483647 h 690"/>
              <a:gd name="T68" fmla="*/ 2147483647 w 1434"/>
              <a:gd name="T69" fmla="*/ 2147483647 h 690"/>
              <a:gd name="T70" fmla="*/ 2147483647 w 1434"/>
              <a:gd name="T71" fmla="*/ 2147483647 h 690"/>
              <a:gd name="T72" fmla="*/ 2147483647 w 1434"/>
              <a:gd name="T73" fmla="*/ 2147483647 h 690"/>
              <a:gd name="T74" fmla="*/ 2147483647 w 1434"/>
              <a:gd name="T75" fmla="*/ 2147483647 h 690"/>
              <a:gd name="T76" fmla="*/ 2147483647 w 1434"/>
              <a:gd name="T77" fmla="*/ 2147483647 h 690"/>
              <a:gd name="T78" fmla="*/ 2147483647 w 1434"/>
              <a:gd name="T79" fmla="*/ 2147483647 h 690"/>
              <a:gd name="T80" fmla="*/ 2147483647 w 1434"/>
              <a:gd name="T81" fmla="*/ 2147483647 h 690"/>
              <a:gd name="T82" fmla="*/ 2147483647 w 1434"/>
              <a:gd name="T83" fmla="*/ 2147483647 h 690"/>
              <a:gd name="T84" fmla="*/ 2147483647 w 1434"/>
              <a:gd name="T85" fmla="*/ 2147483647 h 690"/>
              <a:gd name="T86" fmla="*/ 2147483647 w 1434"/>
              <a:gd name="T87" fmla="*/ 2147483647 h 690"/>
              <a:gd name="T88" fmla="*/ 2147483647 w 1434"/>
              <a:gd name="T89" fmla="*/ 2147483647 h 690"/>
              <a:gd name="T90" fmla="*/ 2147483647 w 1434"/>
              <a:gd name="T91" fmla="*/ 2147483647 h 690"/>
              <a:gd name="T92" fmla="*/ 2147483647 w 1434"/>
              <a:gd name="T93" fmla="*/ 2147483647 h 690"/>
              <a:gd name="T94" fmla="*/ 2147483647 w 1434"/>
              <a:gd name="T95" fmla="*/ 2147483647 h 690"/>
              <a:gd name="T96" fmla="*/ 2147483647 w 1434"/>
              <a:gd name="T97" fmla="*/ 2147483647 h 690"/>
              <a:gd name="T98" fmla="*/ 2147483647 w 1434"/>
              <a:gd name="T99" fmla="*/ 2147483647 h 690"/>
              <a:gd name="T100" fmla="*/ 2147483647 w 1434"/>
              <a:gd name="T101" fmla="*/ 2147483647 h 690"/>
              <a:gd name="T102" fmla="*/ 2147483647 w 1434"/>
              <a:gd name="T103" fmla="*/ 2147483647 h 690"/>
              <a:gd name="T104" fmla="*/ 2147483647 w 1434"/>
              <a:gd name="T105" fmla="*/ 2147483647 h 690"/>
              <a:gd name="T106" fmla="*/ 2147483647 w 1434"/>
              <a:gd name="T107" fmla="*/ 2147483647 h 690"/>
              <a:gd name="T108" fmla="*/ 2147483647 w 1434"/>
              <a:gd name="T109" fmla="*/ 2147483647 h 690"/>
              <a:gd name="T110" fmla="*/ 2147483647 w 1434"/>
              <a:gd name="T111" fmla="*/ 2147483647 h 690"/>
              <a:gd name="T112" fmla="*/ 2147483647 w 1434"/>
              <a:gd name="T113" fmla="*/ 2147483647 h 690"/>
              <a:gd name="T114" fmla="*/ 2147483647 w 1434"/>
              <a:gd name="T115" fmla="*/ 2147483647 h 690"/>
              <a:gd name="T116" fmla="*/ 2147483647 w 1434"/>
              <a:gd name="T117" fmla="*/ 2147483647 h 690"/>
              <a:gd name="T118" fmla="*/ 2147483647 w 1434"/>
              <a:gd name="T119" fmla="*/ 2147483647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434"/>
              <a:gd name="T181" fmla="*/ 0 h 690"/>
              <a:gd name="T182" fmla="*/ 1434 w 1434"/>
              <a:gd name="T183" fmla="*/ 690 h 69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434" h="690">
                <a:moveTo>
                  <a:pt x="0" y="307"/>
                </a:moveTo>
                <a:lnTo>
                  <a:pt x="0" y="64"/>
                </a:lnTo>
                <a:lnTo>
                  <a:pt x="112" y="96"/>
                </a:lnTo>
                <a:lnTo>
                  <a:pt x="107" y="82"/>
                </a:lnTo>
                <a:lnTo>
                  <a:pt x="119" y="76"/>
                </a:lnTo>
                <a:lnTo>
                  <a:pt x="188" y="49"/>
                </a:lnTo>
                <a:lnTo>
                  <a:pt x="135" y="81"/>
                </a:lnTo>
                <a:lnTo>
                  <a:pt x="166" y="71"/>
                </a:lnTo>
                <a:lnTo>
                  <a:pt x="166" y="79"/>
                </a:lnTo>
                <a:lnTo>
                  <a:pt x="224" y="50"/>
                </a:lnTo>
                <a:lnTo>
                  <a:pt x="216" y="40"/>
                </a:lnTo>
                <a:lnTo>
                  <a:pt x="253" y="74"/>
                </a:lnTo>
                <a:lnTo>
                  <a:pt x="278" y="53"/>
                </a:lnTo>
                <a:lnTo>
                  <a:pt x="275" y="74"/>
                </a:lnTo>
                <a:lnTo>
                  <a:pt x="306" y="60"/>
                </a:lnTo>
                <a:lnTo>
                  <a:pt x="392" y="86"/>
                </a:lnTo>
                <a:lnTo>
                  <a:pt x="432" y="86"/>
                </a:lnTo>
                <a:lnTo>
                  <a:pt x="452" y="98"/>
                </a:lnTo>
                <a:lnTo>
                  <a:pt x="426" y="112"/>
                </a:lnTo>
                <a:lnTo>
                  <a:pt x="440" y="116"/>
                </a:lnTo>
                <a:lnTo>
                  <a:pt x="518" y="110"/>
                </a:lnTo>
                <a:lnTo>
                  <a:pt x="552" y="129"/>
                </a:lnTo>
                <a:lnTo>
                  <a:pt x="556" y="144"/>
                </a:lnTo>
                <a:lnTo>
                  <a:pt x="565" y="135"/>
                </a:lnTo>
                <a:lnTo>
                  <a:pt x="552" y="116"/>
                </a:lnTo>
                <a:lnTo>
                  <a:pt x="588" y="93"/>
                </a:lnTo>
                <a:lnTo>
                  <a:pt x="552" y="108"/>
                </a:lnTo>
                <a:lnTo>
                  <a:pt x="540" y="100"/>
                </a:lnTo>
                <a:lnTo>
                  <a:pt x="584" y="85"/>
                </a:lnTo>
                <a:lnTo>
                  <a:pt x="608" y="108"/>
                </a:lnTo>
                <a:lnTo>
                  <a:pt x="631" y="108"/>
                </a:lnTo>
                <a:lnTo>
                  <a:pt x="649" y="120"/>
                </a:lnTo>
                <a:lnTo>
                  <a:pt x="714" y="116"/>
                </a:lnTo>
                <a:lnTo>
                  <a:pt x="713" y="108"/>
                </a:lnTo>
                <a:lnTo>
                  <a:pt x="733" y="122"/>
                </a:lnTo>
                <a:lnTo>
                  <a:pt x="735" y="113"/>
                </a:lnTo>
                <a:lnTo>
                  <a:pt x="720" y="115"/>
                </a:lnTo>
                <a:lnTo>
                  <a:pt x="710" y="100"/>
                </a:lnTo>
                <a:lnTo>
                  <a:pt x="734" y="98"/>
                </a:lnTo>
                <a:lnTo>
                  <a:pt x="742" y="110"/>
                </a:lnTo>
                <a:lnTo>
                  <a:pt x="755" y="105"/>
                </a:lnTo>
                <a:lnTo>
                  <a:pt x="749" y="122"/>
                </a:lnTo>
                <a:lnTo>
                  <a:pt x="766" y="132"/>
                </a:lnTo>
                <a:lnTo>
                  <a:pt x="761" y="108"/>
                </a:lnTo>
                <a:lnTo>
                  <a:pt x="796" y="95"/>
                </a:lnTo>
                <a:lnTo>
                  <a:pt x="788" y="84"/>
                </a:lnTo>
                <a:lnTo>
                  <a:pt x="777" y="92"/>
                </a:lnTo>
                <a:lnTo>
                  <a:pt x="793" y="70"/>
                </a:lnTo>
                <a:lnTo>
                  <a:pt x="745" y="55"/>
                </a:lnTo>
                <a:lnTo>
                  <a:pt x="750" y="21"/>
                </a:lnTo>
                <a:lnTo>
                  <a:pt x="761" y="22"/>
                </a:lnTo>
                <a:lnTo>
                  <a:pt x="768" y="0"/>
                </a:lnTo>
                <a:lnTo>
                  <a:pt x="804" y="21"/>
                </a:lnTo>
                <a:lnTo>
                  <a:pt x="805" y="34"/>
                </a:lnTo>
                <a:lnTo>
                  <a:pt x="830" y="52"/>
                </a:lnTo>
                <a:lnTo>
                  <a:pt x="813" y="51"/>
                </a:lnTo>
                <a:lnTo>
                  <a:pt x="823" y="58"/>
                </a:lnTo>
                <a:lnTo>
                  <a:pt x="810" y="66"/>
                </a:lnTo>
                <a:lnTo>
                  <a:pt x="841" y="70"/>
                </a:lnTo>
                <a:lnTo>
                  <a:pt x="833" y="74"/>
                </a:lnTo>
                <a:lnTo>
                  <a:pt x="850" y="103"/>
                </a:lnTo>
                <a:lnTo>
                  <a:pt x="864" y="78"/>
                </a:lnTo>
                <a:lnTo>
                  <a:pt x="886" y="87"/>
                </a:lnTo>
                <a:lnTo>
                  <a:pt x="892" y="105"/>
                </a:lnTo>
                <a:lnTo>
                  <a:pt x="882" y="113"/>
                </a:lnTo>
                <a:lnTo>
                  <a:pt x="901" y="132"/>
                </a:lnTo>
                <a:lnTo>
                  <a:pt x="913" y="128"/>
                </a:lnTo>
                <a:lnTo>
                  <a:pt x="927" y="94"/>
                </a:lnTo>
                <a:lnTo>
                  <a:pt x="945" y="91"/>
                </a:lnTo>
                <a:lnTo>
                  <a:pt x="933" y="63"/>
                </a:lnTo>
                <a:lnTo>
                  <a:pt x="980" y="65"/>
                </a:lnTo>
                <a:lnTo>
                  <a:pt x="999" y="81"/>
                </a:lnTo>
                <a:lnTo>
                  <a:pt x="991" y="88"/>
                </a:lnTo>
                <a:lnTo>
                  <a:pt x="1003" y="94"/>
                </a:lnTo>
                <a:lnTo>
                  <a:pt x="981" y="99"/>
                </a:lnTo>
                <a:lnTo>
                  <a:pt x="999" y="136"/>
                </a:lnTo>
                <a:lnTo>
                  <a:pt x="969" y="155"/>
                </a:lnTo>
                <a:lnTo>
                  <a:pt x="956" y="146"/>
                </a:lnTo>
                <a:lnTo>
                  <a:pt x="961" y="159"/>
                </a:lnTo>
                <a:lnTo>
                  <a:pt x="914" y="150"/>
                </a:lnTo>
                <a:lnTo>
                  <a:pt x="923" y="163"/>
                </a:lnTo>
                <a:lnTo>
                  <a:pt x="904" y="180"/>
                </a:lnTo>
                <a:lnTo>
                  <a:pt x="855" y="167"/>
                </a:lnTo>
                <a:lnTo>
                  <a:pt x="872" y="181"/>
                </a:lnTo>
                <a:lnTo>
                  <a:pt x="908" y="185"/>
                </a:lnTo>
                <a:lnTo>
                  <a:pt x="885" y="214"/>
                </a:lnTo>
                <a:lnTo>
                  <a:pt x="857" y="211"/>
                </a:lnTo>
                <a:lnTo>
                  <a:pt x="845" y="228"/>
                </a:lnTo>
                <a:lnTo>
                  <a:pt x="798" y="215"/>
                </a:lnTo>
                <a:lnTo>
                  <a:pt x="841" y="228"/>
                </a:lnTo>
                <a:lnTo>
                  <a:pt x="845" y="241"/>
                </a:lnTo>
                <a:lnTo>
                  <a:pt x="813" y="245"/>
                </a:lnTo>
                <a:lnTo>
                  <a:pt x="823" y="250"/>
                </a:lnTo>
                <a:lnTo>
                  <a:pt x="813" y="251"/>
                </a:lnTo>
                <a:lnTo>
                  <a:pt x="813" y="264"/>
                </a:lnTo>
                <a:lnTo>
                  <a:pt x="778" y="280"/>
                </a:lnTo>
                <a:lnTo>
                  <a:pt x="772" y="335"/>
                </a:lnTo>
                <a:lnTo>
                  <a:pt x="783" y="347"/>
                </a:lnTo>
                <a:lnTo>
                  <a:pt x="802" y="342"/>
                </a:lnTo>
                <a:lnTo>
                  <a:pt x="809" y="383"/>
                </a:lnTo>
                <a:lnTo>
                  <a:pt x="836" y="375"/>
                </a:lnTo>
                <a:lnTo>
                  <a:pt x="870" y="386"/>
                </a:lnTo>
                <a:lnTo>
                  <a:pt x="934" y="418"/>
                </a:lnTo>
                <a:lnTo>
                  <a:pt x="927" y="429"/>
                </a:lnTo>
                <a:lnTo>
                  <a:pt x="935" y="419"/>
                </a:lnTo>
                <a:lnTo>
                  <a:pt x="983" y="422"/>
                </a:lnTo>
                <a:lnTo>
                  <a:pt x="983" y="468"/>
                </a:lnTo>
                <a:lnTo>
                  <a:pt x="999" y="485"/>
                </a:lnTo>
                <a:lnTo>
                  <a:pt x="988" y="489"/>
                </a:lnTo>
                <a:lnTo>
                  <a:pt x="1012" y="495"/>
                </a:lnTo>
                <a:lnTo>
                  <a:pt x="1006" y="510"/>
                </a:lnTo>
                <a:lnTo>
                  <a:pt x="1028" y="510"/>
                </a:lnTo>
                <a:lnTo>
                  <a:pt x="1059" y="486"/>
                </a:lnTo>
                <a:lnTo>
                  <a:pt x="1044" y="479"/>
                </a:lnTo>
                <a:lnTo>
                  <a:pt x="1029" y="435"/>
                </a:lnTo>
                <a:lnTo>
                  <a:pt x="1087" y="397"/>
                </a:lnTo>
                <a:lnTo>
                  <a:pt x="1078" y="397"/>
                </a:lnTo>
                <a:lnTo>
                  <a:pt x="1065" y="353"/>
                </a:lnTo>
                <a:lnTo>
                  <a:pt x="1044" y="340"/>
                </a:lnTo>
                <a:lnTo>
                  <a:pt x="1074" y="322"/>
                </a:lnTo>
                <a:lnTo>
                  <a:pt x="1061" y="313"/>
                </a:lnTo>
                <a:lnTo>
                  <a:pt x="1066" y="295"/>
                </a:lnTo>
                <a:lnTo>
                  <a:pt x="1054" y="293"/>
                </a:lnTo>
                <a:lnTo>
                  <a:pt x="1066" y="275"/>
                </a:lnTo>
                <a:lnTo>
                  <a:pt x="1053" y="265"/>
                </a:lnTo>
                <a:lnTo>
                  <a:pt x="1060" y="252"/>
                </a:lnTo>
                <a:lnTo>
                  <a:pt x="1106" y="261"/>
                </a:lnTo>
                <a:lnTo>
                  <a:pt x="1127" y="253"/>
                </a:lnTo>
                <a:lnTo>
                  <a:pt x="1165" y="275"/>
                </a:lnTo>
                <a:lnTo>
                  <a:pt x="1165" y="286"/>
                </a:lnTo>
                <a:lnTo>
                  <a:pt x="1197" y="287"/>
                </a:lnTo>
                <a:lnTo>
                  <a:pt x="1202" y="310"/>
                </a:lnTo>
                <a:lnTo>
                  <a:pt x="1171" y="311"/>
                </a:lnTo>
                <a:lnTo>
                  <a:pt x="1197" y="316"/>
                </a:lnTo>
                <a:lnTo>
                  <a:pt x="1204" y="329"/>
                </a:lnTo>
                <a:lnTo>
                  <a:pt x="1177" y="349"/>
                </a:lnTo>
                <a:lnTo>
                  <a:pt x="1218" y="338"/>
                </a:lnTo>
                <a:lnTo>
                  <a:pt x="1219" y="354"/>
                </a:lnTo>
                <a:lnTo>
                  <a:pt x="1203" y="363"/>
                </a:lnTo>
                <a:lnTo>
                  <a:pt x="1227" y="345"/>
                </a:lnTo>
                <a:lnTo>
                  <a:pt x="1229" y="356"/>
                </a:lnTo>
                <a:lnTo>
                  <a:pt x="1251" y="339"/>
                </a:lnTo>
                <a:lnTo>
                  <a:pt x="1258" y="349"/>
                </a:lnTo>
                <a:lnTo>
                  <a:pt x="1271" y="324"/>
                </a:lnTo>
                <a:lnTo>
                  <a:pt x="1266" y="320"/>
                </a:lnTo>
                <a:lnTo>
                  <a:pt x="1284" y="307"/>
                </a:lnTo>
                <a:lnTo>
                  <a:pt x="1303" y="331"/>
                </a:lnTo>
                <a:lnTo>
                  <a:pt x="1290" y="336"/>
                </a:lnTo>
                <a:lnTo>
                  <a:pt x="1306" y="335"/>
                </a:lnTo>
                <a:lnTo>
                  <a:pt x="1312" y="344"/>
                </a:lnTo>
                <a:lnTo>
                  <a:pt x="1300" y="347"/>
                </a:lnTo>
                <a:lnTo>
                  <a:pt x="1317" y="350"/>
                </a:lnTo>
                <a:lnTo>
                  <a:pt x="1306" y="358"/>
                </a:lnTo>
                <a:lnTo>
                  <a:pt x="1317" y="354"/>
                </a:lnTo>
                <a:lnTo>
                  <a:pt x="1329" y="367"/>
                </a:lnTo>
                <a:lnTo>
                  <a:pt x="1319" y="372"/>
                </a:lnTo>
                <a:lnTo>
                  <a:pt x="1337" y="381"/>
                </a:lnTo>
                <a:lnTo>
                  <a:pt x="1312" y="390"/>
                </a:lnTo>
                <a:lnTo>
                  <a:pt x="1332" y="390"/>
                </a:lnTo>
                <a:lnTo>
                  <a:pt x="1328" y="400"/>
                </a:lnTo>
                <a:lnTo>
                  <a:pt x="1354" y="409"/>
                </a:lnTo>
                <a:lnTo>
                  <a:pt x="1365" y="428"/>
                </a:lnTo>
                <a:lnTo>
                  <a:pt x="1374" y="421"/>
                </a:lnTo>
                <a:lnTo>
                  <a:pt x="1403" y="435"/>
                </a:lnTo>
                <a:lnTo>
                  <a:pt x="1342" y="453"/>
                </a:lnTo>
                <a:lnTo>
                  <a:pt x="1354" y="462"/>
                </a:lnTo>
                <a:lnTo>
                  <a:pt x="1406" y="443"/>
                </a:lnTo>
                <a:lnTo>
                  <a:pt x="1406" y="460"/>
                </a:lnTo>
                <a:lnTo>
                  <a:pt x="1428" y="458"/>
                </a:lnTo>
                <a:lnTo>
                  <a:pt x="1433" y="465"/>
                </a:lnTo>
                <a:lnTo>
                  <a:pt x="1422" y="465"/>
                </a:lnTo>
                <a:lnTo>
                  <a:pt x="1433" y="487"/>
                </a:lnTo>
                <a:lnTo>
                  <a:pt x="1360" y="525"/>
                </a:lnTo>
                <a:lnTo>
                  <a:pt x="1254" y="525"/>
                </a:lnTo>
                <a:lnTo>
                  <a:pt x="1211" y="554"/>
                </a:lnTo>
                <a:lnTo>
                  <a:pt x="1174" y="595"/>
                </a:lnTo>
                <a:lnTo>
                  <a:pt x="1211" y="564"/>
                </a:lnTo>
                <a:lnTo>
                  <a:pt x="1267" y="546"/>
                </a:lnTo>
                <a:lnTo>
                  <a:pt x="1290" y="561"/>
                </a:lnTo>
                <a:lnTo>
                  <a:pt x="1250" y="570"/>
                </a:lnTo>
                <a:lnTo>
                  <a:pt x="1280" y="576"/>
                </a:lnTo>
                <a:lnTo>
                  <a:pt x="1271" y="590"/>
                </a:lnTo>
                <a:lnTo>
                  <a:pt x="1295" y="613"/>
                </a:lnTo>
                <a:lnTo>
                  <a:pt x="1339" y="622"/>
                </a:lnTo>
                <a:lnTo>
                  <a:pt x="1350" y="591"/>
                </a:lnTo>
                <a:lnTo>
                  <a:pt x="1350" y="609"/>
                </a:lnTo>
                <a:lnTo>
                  <a:pt x="1363" y="607"/>
                </a:lnTo>
                <a:lnTo>
                  <a:pt x="1342" y="626"/>
                </a:lnTo>
                <a:lnTo>
                  <a:pt x="1291" y="638"/>
                </a:lnTo>
                <a:lnTo>
                  <a:pt x="1270" y="660"/>
                </a:lnTo>
                <a:lnTo>
                  <a:pt x="1258" y="640"/>
                </a:lnTo>
                <a:lnTo>
                  <a:pt x="1305" y="623"/>
                </a:lnTo>
                <a:lnTo>
                  <a:pt x="1280" y="624"/>
                </a:lnTo>
                <a:lnTo>
                  <a:pt x="1284" y="613"/>
                </a:lnTo>
                <a:lnTo>
                  <a:pt x="1242" y="627"/>
                </a:lnTo>
                <a:lnTo>
                  <a:pt x="1229" y="618"/>
                </a:lnTo>
                <a:lnTo>
                  <a:pt x="1229" y="591"/>
                </a:lnTo>
                <a:lnTo>
                  <a:pt x="1203" y="584"/>
                </a:lnTo>
                <a:lnTo>
                  <a:pt x="1181" y="625"/>
                </a:lnTo>
                <a:lnTo>
                  <a:pt x="1095" y="641"/>
                </a:lnTo>
                <a:lnTo>
                  <a:pt x="1036" y="655"/>
                </a:lnTo>
                <a:lnTo>
                  <a:pt x="1027" y="665"/>
                </a:lnTo>
                <a:lnTo>
                  <a:pt x="1039" y="665"/>
                </a:lnTo>
                <a:lnTo>
                  <a:pt x="1043" y="672"/>
                </a:lnTo>
                <a:lnTo>
                  <a:pt x="972" y="689"/>
                </a:lnTo>
                <a:lnTo>
                  <a:pt x="975" y="681"/>
                </a:lnTo>
                <a:lnTo>
                  <a:pt x="981" y="676"/>
                </a:lnTo>
                <a:lnTo>
                  <a:pt x="983" y="668"/>
                </a:lnTo>
                <a:lnTo>
                  <a:pt x="993" y="662"/>
                </a:lnTo>
                <a:lnTo>
                  <a:pt x="996" y="626"/>
                </a:lnTo>
                <a:lnTo>
                  <a:pt x="1007" y="638"/>
                </a:lnTo>
                <a:lnTo>
                  <a:pt x="1029" y="634"/>
                </a:lnTo>
                <a:lnTo>
                  <a:pt x="1011" y="613"/>
                </a:lnTo>
                <a:lnTo>
                  <a:pt x="950" y="603"/>
                </a:lnTo>
                <a:lnTo>
                  <a:pt x="949" y="603"/>
                </a:lnTo>
                <a:lnTo>
                  <a:pt x="941" y="573"/>
                </a:lnTo>
                <a:lnTo>
                  <a:pt x="927" y="575"/>
                </a:lnTo>
                <a:lnTo>
                  <a:pt x="917" y="557"/>
                </a:lnTo>
                <a:lnTo>
                  <a:pt x="904" y="557"/>
                </a:lnTo>
                <a:lnTo>
                  <a:pt x="904" y="566"/>
                </a:lnTo>
                <a:lnTo>
                  <a:pt x="888" y="552"/>
                </a:lnTo>
                <a:lnTo>
                  <a:pt x="860" y="573"/>
                </a:lnTo>
                <a:lnTo>
                  <a:pt x="780" y="557"/>
                </a:lnTo>
                <a:lnTo>
                  <a:pt x="771" y="544"/>
                </a:lnTo>
                <a:lnTo>
                  <a:pt x="768" y="553"/>
                </a:lnTo>
                <a:lnTo>
                  <a:pt x="305" y="553"/>
                </a:lnTo>
                <a:lnTo>
                  <a:pt x="299" y="538"/>
                </a:lnTo>
                <a:lnTo>
                  <a:pt x="273" y="532"/>
                </a:lnTo>
                <a:lnTo>
                  <a:pt x="274" y="522"/>
                </a:lnTo>
                <a:lnTo>
                  <a:pt x="224" y="508"/>
                </a:lnTo>
                <a:lnTo>
                  <a:pt x="230" y="501"/>
                </a:lnTo>
                <a:lnTo>
                  <a:pt x="217" y="480"/>
                </a:lnTo>
                <a:lnTo>
                  <a:pt x="204" y="479"/>
                </a:lnTo>
                <a:lnTo>
                  <a:pt x="177" y="438"/>
                </a:lnTo>
                <a:lnTo>
                  <a:pt x="182" y="424"/>
                </a:lnTo>
                <a:lnTo>
                  <a:pt x="184" y="403"/>
                </a:lnTo>
                <a:lnTo>
                  <a:pt x="151" y="390"/>
                </a:lnTo>
                <a:lnTo>
                  <a:pt x="93" y="317"/>
                </a:lnTo>
                <a:lnTo>
                  <a:pt x="57" y="338"/>
                </a:lnTo>
                <a:lnTo>
                  <a:pt x="47" y="326"/>
                </a:lnTo>
                <a:lnTo>
                  <a:pt x="44" y="325"/>
                </a:lnTo>
                <a:lnTo>
                  <a:pt x="30" y="307"/>
                </a:lnTo>
                <a:lnTo>
                  <a:pt x="0" y="30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8" name="Freeform 29"/>
          <p:cNvSpPr>
            <a:spLocks/>
          </p:cNvSpPr>
          <p:nvPr/>
        </p:nvSpPr>
        <p:spPr bwMode="auto">
          <a:xfrm>
            <a:off x="1271588" y="3167063"/>
            <a:ext cx="119062" cy="68262"/>
          </a:xfrm>
          <a:custGeom>
            <a:avLst/>
            <a:gdLst>
              <a:gd name="T0" fmla="*/ 0 w 87"/>
              <a:gd name="T1" fmla="*/ 0 h 46"/>
              <a:gd name="T2" fmla="*/ 2147483647 w 87"/>
              <a:gd name="T3" fmla="*/ 2147483647 h 46"/>
              <a:gd name="T4" fmla="*/ 2147483647 w 87"/>
              <a:gd name="T5" fmla="*/ 2147483647 h 46"/>
              <a:gd name="T6" fmla="*/ 2147483647 w 87"/>
              <a:gd name="T7" fmla="*/ 2147483647 h 46"/>
              <a:gd name="T8" fmla="*/ 0 w 87"/>
              <a:gd name="T9" fmla="*/ 0 h 4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7"/>
              <a:gd name="T16" fmla="*/ 0 h 46"/>
              <a:gd name="T17" fmla="*/ 87 w 87"/>
              <a:gd name="T18" fmla="*/ 46 h 4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7" h="46">
                <a:moveTo>
                  <a:pt x="0" y="0"/>
                </a:moveTo>
                <a:lnTo>
                  <a:pt x="45" y="8"/>
                </a:lnTo>
                <a:lnTo>
                  <a:pt x="86" y="45"/>
                </a:lnTo>
                <a:lnTo>
                  <a:pt x="61" y="3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39" name="Freeform 30"/>
          <p:cNvSpPr>
            <a:spLocks/>
          </p:cNvSpPr>
          <p:nvPr/>
        </p:nvSpPr>
        <p:spPr bwMode="auto">
          <a:xfrm>
            <a:off x="1325563" y="2298700"/>
            <a:ext cx="247650" cy="152400"/>
          </a:xfrm>
          <a:custGeom>
            <a:avLst/>
            <a:gdLst>
              <a:gd name="T0" fmla="*/ 0 w 180"/>
              <a:gd name="T1" fmla="*/ 2147483647 h 104"/>
              <a:gd name="T2" fmla="*/ 2147483647 w 180"/>
              <a:gd name="T3" fmla="*/ 2147483647 h 104"/>
              <a:gd name="T4" fmla="*/ 2147483647 w 180"/>
              <a:gd name="T5" fmla="*/ 2147483647 h 104"/>
              <a:gd name="T6" fmla="*/ 2147483647 w 180"/>
              <a:gd name="T7" fmla="*/ 2147483647 h 104"/>
              <a:gd name="T8" fmla="*/ 2147483647 w 180"/>
              <a:gd name="T9" fmla="*/ 0 h 104"/>
              <a:gd name="T10" fmla="*/ 2147483647 w 180"/>
              <a:gd name="T11" fmla="*/ 2147483647 h 104"/>
              <a:gd name="T12" fmla="*/ 2147483647 w 180"/>
              <a:gd name="T13" fmla="*/ 2147483647 h 104"/>
              <a:gd name="T14" fmla="*/ 2147483647 w 180"/>
              <a:gd name="T15" fmla="*/ 2147483647 h 104"/>
              <a:gd name="T16" fmla="*/ 2147483647 w 180"/>
              <a:gd name="T17" fmla="*/ 2147483647 h 104"/>
              <a:gd name="T18" fmla="*/ 2147483647 w 180"/>
              <a:gd name="T19" fmla="*/ 2147483647 h 104"/>
              <a:gd name="T20" fmla="*/ 2147483647 w 180"/>
              <a:gd name="T21" fmla="*/ 2147483647 h 104"/>
              <a:gd name="T22" fmla="*/ 2147483647 w 180"/>
              <a:gd name="T23" fmla="*/ 2147483647 h 104"/>
              <a:gd name="T24" fmla="*/ 0 w 180"/>
              <a:gd name="T25" fmla="*/ 2147483647 h 10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80"/>
              <a:gd name="T40" fmla="*/ 0 h 104"/>
              <a:gd name="T41" fmla="*/ 180 w 180"/>
              <a:gd name="T42" fmla="*/ 104 h 10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80" h="104">
                <a:moveTo>
                  <a:pt x="0" y="78"/>
                </a:moveTo>
                <a:lnTo>
                  <a:pt x="7" y="64"/>
                </a:lnTo>
                <a:lnTo>
                  <a:pt x="35" y="21"/>
                </a:lnTo>
                <a:lnTo>
                  <a:pt x="21" y="5"/>
                </a:lnTo>
                <a:lnTo>
                  <a:pt x="75" y="0"/>
                </a:lnTo>
                <a:lnTo>
                  <a:pt x="114" y="16"/>
                </a:lnTo>
                <a:lnTo>
                  <a:pt x="138" y="8"/>
                </a:lnTo>
                <a:lnTo>
                  <a:pt x="179" y="29"/>
                </a:lnTo>
                <a:lnTo>
                  <a:pt x="97" y="68"/>
                </a:lnTo>
                <a:lnTo>
                  <a:pt x="88" y="90"/>
                </a:lnTo>
                <a:lnTo>
                  <a:pt x="50" y="103"/>
                </a:lnTo>
                <a:lnTo>
                  <a:pt x="30" y="84"/>
                </a:lnTo>
                <a:lnTo>
                  <a:pt x="0" y="7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0" name="Freeform 31"/>
          <p:cNvSpPr>
            <a:spLocks/>
          </p:cNvSpPr>
          <p:nvPr/>
        </p:nvSpPr>
        <p:spPr bwMode="auto">
          <a:xfrm>
            <a:off x="1398588" y="2157413"/>
            <a:ext cx="166687" cy="84137"/>
          </a:xfrm>
          <a:custGeom>
            <a:avLst/>
            <a:gdLst>
              <a:gd name="T0" fmla="*/ 0 w 121"/>
              <a:gd name="T1" fmla="*/ 2147483647 h 58"/>
              <a:gd name="T2" fmla="*/ 2147483647 w 121"/>
              <a:gd name="T3" fmla="*/ 2147483647 h 58"/>
              <a:gd name="T4" fmla="*/ 2147483647 w 121"/>
              <a:gd name="T5" fmla="*/ 2147483647 h 58"/>
              <a:gd name="T6" fmla="*/ 2147483647 w 121"/>
              <a:gd name="T7" fmla="*/ 2147483647 h 58"/>
              <a:gd name="T8" fmla="*/ 2147483647 w 121"/>
              <a:gd name="T9" fmla="*/ 2147483647 h 58"/>
              <a:gd name="T10" fmla="*/ 2147483647 w 121"/>
              <a:gd name="T11" fmla="*/ 2147483647 h 58"/>
              <a:gd name="T12" fmla="*/ 2147483647 w 121"/>
              <a:gd name="T13" fmla="*/ 2147483647 h 58"/>
              <a:gd name="T14" fmla="*/ 2147483647 w 121"/>
              <a:gd name="T15" fmla="*/ 2147483647 h 58"/>
              <a:gd name="T16" fmla="*/ 2147483647 w 121"/>
              <a:gd name="T17" fmla="*/ 2147483647 h 58"/>
              <a:gd name="T18" fmla="*/ 2147483647 w 121"/>
              <a:gd name="T19" fmla="*/ 2147483647 h 58"/>
              <a:gd name="T20" fmla="*/ 2147483647 w 121"/>
              <a:gd name="T21" fmla="*/ 2147483647 h 58"/>
              <a:gd name="T22" fmla="*/ 2147483647 w 121"/>
              <a:gd name="T23" fmla="*/ 2147483647 h 58"/>
              <a:gd name="T24" fmla="*/ 2147483647 w 121"/>
              <a:gd name="T25" fmla="*/ 2147483647 h 58"/>
              <a:gd name="T26" fmla="*/ 2147483647 w 121"/>
              <a:gd name="T27" fmla="*/ 0 h 58"/>
              <a:gd name="T28" fmla="*/ 2147483647 w 121"/>
              <a:gd name="T29" fmla="*/ 2147483647 h 58"/>
              <a:gd name="T30" fmla="*/ 0 w 121"/>
              <a:gd name="T31" fmla="*/ 2147483647 h 5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21"/>
              <a:gd name="T49" fmla="*/ 0 h 58"/>
              <a:gd name="T50" fmla="*/ 121 w 121"/>
              <a:gd name="T51" fmla="*/ 58 h 5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21" h="58">
                <a:moveTo>
                  <a:pt x="0" y="44"/>
                </a:moveTo>
                <a:lnTo>
                  <a:pt x="27" y="52"/>
                </a:lnTo>
                <a:lnTo>
                  <a:pt x="33" y="44"/>
                </a:lnTo>
                <a:lnTo>
                  <a:pt x="42" y="57"/>
                </a:lnTo>
                <a:lnTo>
                  <a:pt x="54" y="50"/>
                </a:lnTo>
                <a:lnTo>
                  <a:pt x="51" y="40"/>
                </a:lnTo>
                <a:lnTo>
                  <a:pt x="64" y="47"/>
                </a:lnTo>
                <a:lnTo>
                  <a:pt x="73" y="26"/>
                </a:lnTo>
                <a:lnTo>
                  <a:pt x="83" y="24"/>
                </a:lnTo>
                <a:lnTo>
                  <a:pt x="87" y="42"/>
                </a:lnTo>
                <a:lnTo>
                  <a:pt x="113" y="30"/>
                </a:lnTo>
                <a:lnTo>
                  <a:pt x="105" y="14"/>
                </a:lnTo>
                <a:lnTo>
                  <a:pt x="120" y="8"/>
                </a:lnTo>
                <a:lnTo>
                  <a:pt x="103" y="0"/>
                </a:lnTo>
                <a:lnTo>
                  <a:pt x="59" y="8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1" name="Freeform 32"/>
          <p:cNvSpPr>
            <a:spLocks/>
          </p:cNvSpPr>
          <p:nvPr/>
        </p:nvSpPr>
        <p:spPr bwMode="auto">
          <a:xfrm>
            <a:off x="1487488" y="2351088"/>
            <a:ext cx="417512" cy="204787"/>
          </a:xfrm>
          <a:custGeom>
            <a:avLst/>
            <a:gdLst>
              <a:gd name="T0" fmla="*/ 0 w 303"/>
              <a:gd name="T1" fmla="*/ 2147483647 h 140"/>
              <a:gd name="T2" fmla="*/ 2147483647 w 303"/>
              <a:gd name="T3" fmla="*/ 2147483647 h 140"/>
              <a:gd name="T4" fmla="*/ 2147483647 w 303"/>
              <a:gd name="T5" fmla="*/ 2147483647 h 140"/>
              <a:gd name="T6" fmla="*/ 2147483647 w 303"/>
              <a:gd name="T7" fmla="*/ 2147483647 h 140"/>
              <a:gd name="T8" fmla="*/ 2147483647 w 303"/>
              <a:gd name="T9" fmla="*/ 0 h 140"/>
              <a:gd name="T10" fmla="*/ 2147483647 w 303"/>
              <a:gd name="T11" fmla="*/ 2147483647 h 140"/>
              <a:gd name="T12" fmla="*/ 2147483647 w 303"/>
              <a:gd name="T13" fmla="*/ 2147483647 h 140"/>
              <a:gd name="T14" fmla="*/ 2147483647 w 303"/>
              <a:gd name="T15" fmla="*/ 2147483647 h 140"/>
              <a:gd name="T16" fmla="*/ 2147483647 w 303"/>
              <a:gd name="T17" fmla="*/ 2147483647 h 140"/>
              <a:gd name="T18" fmla="*/ 2147483647 w 303"/>
              <a:gd name="T19" fmla="*/ 2147483647 h 140"/>
              <a:gd name="T20" fmla="*/ 2147483647 w 303"/>
              <a:gd name="T21" fmla="*/ 2147483647 h 140"/>
              <a:gd name="T22" fmla="*/ 2147483647 w 303"/>
              <a:gd name="T23" fmla="*/ 2147483647 h 140"/>
              <a:gd name="T24" fmla="*/ 2147483647 w 303"/>
              <a:gd name="T25" fmla="*/ 2147483647 h 140"/>
              <a:gd name="T26" fmla="*/ 2147483647 w 303"/>
              <a:gd name="T27" fmla="*/ 2147483647 h 140"/>
              <a:gd name="T28" fmla="*/ 2147483647 w 303"/>
              <a:gd name="T29" fmla="*/ 2147483647 h 140"/>
              <a:gd name="T30" fmla="*/ 2147483647 w 303"/>
              <a:gd name="T31" fmla="*/ 2147483647 h 140"/>
              <a:gd name="T32" fmla="*/ 2147483647 w 303"/>
              <a:gd name="T33" fmla="*/ 2147483647 h 140"/>
              <a:gd name="T34" fmla="*/ 2147483647 w 303"/>
              <a:gd name="T35" fmla="*/ 2147483647 h 140"/>
              <a:gd name="T36" fmla="*/ 2147483647 w 303"/>
              <a:gd name="T37" fmla="*/ 2147483647 h 140"/>
              <a:gd name="T38" fmla="*/ 2147483647 w 303"/>
              <a:gd name="T39" fmla="*/ 2147483647 h 140"/>
              <a:gd name="T40" fmla="*/ 2147483647 w 303"/>
              <a:gd name="T41" fmla="*/ 2147483647 h 140"/>
              <a:gd name="T42" fmla="*/ 2147483647 w 303"/>
              <a:gd name="T43" fmla="*/ 2147483647 h 140"/>
              <a:gd name="T44" fmla="*/ 2147483647 w 303"/>
              <a:gd name="T45" fmla="*/ 2147483647 h 140"/>
              <a:gd name="T46" fmla="*/ 2147483647 w 303"/>
              <a:gd name="T47" fmla="*/ 2147483647 h 140"/>
              <a:gd name="T48" fmla="*/ 2147483647 w 303"/>
              <a:gd name="T49" fmla="*/ 2147483647 h 140"/>
              <a:gd name="T50" fmla="*/ 2147483647 w 303"/>
              <a:gd name="T51" fmla="*/ 2147483647 h 140"/>
              <a:gd name="T52" fmla="*/ 2147483647 w 303"/>
              <a:gd name="T53" fmla="*/ 2147483647 h 140"/>
              <a:gd name="T54" fmla="*/ 2147483647 w 303"/>
              <a:gd name="T55" fmla="*/ 2147483647 h 140"/>
              <a:gd name="T56" fmla="*/ 2147483647 w 303"/>
              <a:gd name="T57" fmla="*/ 2147483647 h 140"/>
              <a:gd name="T58" fmla="*/ 2147483647 w 303"/>
              <a:gd name="T59" fmla="*/ 2147483647 h 140"/>
              <a:gd name="T60" fmla="*/ 2147483647 w 303"/>
              <a:gd name="T61" fmla="*/ 2147483647 h 140"/>
              <a:gd name="T62" fmla="*/ 2147483647 w 303"/>
              <a:gd name="T63" fmla="*/ 2147483647 h 140"/>
              <a:gd name="T64" fmla="*/ 2147483647 w 303"/>
              <a:gd name="T65" fmla="*/ 2147483647 h 140"/>
              <a:gd name="T66" fmla="*/ 2147483647 w 303"/>
              <a:gd name="T67" fmla="*/ 2147483647 h 140"/>
              <a:gd name="T68" fmla="*/ 2147483647 w 303"/>
              <a:gd name="T69" fmla="*/ 2147483647 h 140"/>
              <a:gd name="T70" fmla="*/ 2147483647 w 303"/>
              <a:gd name="T71" fmla="*/ 2147483647 h 140"/>
              <a:gd name="T72" fmla="*/ 2147483647 w 303"/>
              <a:gd name="T73" fmla="*/ 2147483647 h 140"/>
              <a:gd name="T74" fmla="*/ 2147483647 w 303"/>
              <a:gd name="T75" fmla="*/ 2147483647 h 140"/>
              <a:gd name="T76" fmla="*/ 0 w 303"/>
              <a:gd name="T77" fmla="*/ 2147483647 h 14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03"/>
              <a:gd name="T118" fmla="*/ 0 h 140"/>
              <a:gd name="T119" fmla="*/ 303 w 303"/>
              <a:gd name="T120" fmla="*/ 140 h 14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03" h="140">
                <a:moveTo>
                  <a:pt x="0" y="45"/>
                </a:moveTo>
                <a:lnTo>
                  <a:pt x="16" y="35"/>
                </a:lnTo>
                <a:lnTo>
                  <a:pt x="9" y="27"/>
                </a:lnTo>
                <a:lnTo>
                  <a:pt x="44" y="8"/>
                </a:lnTo>
                <a:lnTo>
                  <a:pt x="74" y="0"/>
                </a:lnTo>
                <a:lnTo>
                  <a:pt x="84" y="15"/>
                </a:lnTo>
                <a:lnTo>
                  <a:pt x="71" y="23"/>
                </a:lnTo>
                <a:lnTo>
                  <a:pt x="100" y="10"/>
                </a:lnTo>
                <a:lnTo>
                  <a:pt x="129" y="22"/>
                </a:lnTo>
                <a:lnTo>
                  <a:pt x="118" y="31"/>
                </a:lnTo>
                <a:lnTo>
                  <a:pt x="152" y="23"/>
                </a:lnTo>
                <a:lnTo>
                  <a:pt x="143" y="13"/>
                </a:lnTo>
                <a:lnTo>
                  <a:pt x="158" y="14"/>
                </a:lnTo>
                <a:lnTo>
                  <a:pt x="184" y="52"/>
                </a:lnTo>
                <a:lnTo>
                  <a:pt x="194" y="44"/>
                </a:lnTo>
                <a:lnTo>
                  <a:pt x="182" y="1"/>
                </a:lnTo>
                <a:lnTo>
                  <a:pt x="205" y="2"/>
                </a:lnTo>
                <a:lnTo>
                  <a:pt x="228" y="17"/>
                </a:lnTo>
                <a:lnTo>
                  <a:pt x="243" y="68"/>
                </a:lnTo>
                <a:lnTo>
                  <a:pt x="302" y="93"/>
                </a:lnTo>
                <a:lnTo>
                  <a:pt x="302" y="107"/>
                </a:lnTo>
                <a:lnTo>
                  <a:pt x="286" y="100"/>
                </a:lnTo>
                <a:lnTo>
                  <a:pt x="266" y="110"/>
                </a:lnTo>
                <a:lnTo>
                  <a:pt x="293" y="120"/>
                </a:lnTo>
                <a:lnTo>
                  <a:pt x="270" y="132"/>
                </a:lnTo>
                <a:lnTo>
                  <a:pt x="231" y="127"/>
                </a:lnTo>
                <a:lnTo>
                  <a:pt x="207" y="111"/>
                </a:lnTo>
                <a:lnTo>
                  <a:pt x="159" y="136"/>
                </a:lnTo>
                <a:lnTo>
                  <a:pt x="96" y="139"/>
                </a:lnTo>
                <a:lnTo>
                  <a:pt x="84" y="118"/>
                </a:lnTo>
                <a:lnTo>
                  <a:pt x="49" y="117"/>
                </a:lnTo>
                <a:lnTo>
                  <a:pt x="27" y="96"/>
                </a:lnTo>
                <a:lnTo>
                  <a:pt x="116" y="86"/>
                </a:lnTo>
                <a:lnTo>
                  <a:pt x="23" y="80"/>
                </a:lnTo>
                <a:lnTo>
                  <a:pt x="12" y="68"/>
                </a:lnTo>
                <a:lnTo>
                  <a:pt x="58" y="54"/>
                </a:lnTo>
                <a:lnTo>
                  <a:pt x="16" y="59"/>
                </a:lnTo>
                <a:lnTo>
                  <a:pt x="20" y="52"/>
                </a:lnTo>
                <a:lnTo>
                  <a:pt x="0" y="4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2" name="Freeform 33"/>
          <p:cNvSpPr>
            <a:spLocks/>
          </p:cNvSpPr>
          <p:nvPr/>
        </p:nvSpPr>
        <p:spPr bwMode="auto">
          <a:xfrm>
            <a:off x="1519238" y="2189163"/>
            <a:ext cx="284162" cy="117475"/>
          </a:xfrm>
          <a:custGeom>
            <a:avLst/>
            <a:gdLst>
              <a:gd name="T0" fmla="*/ 0 w 207"/>
              <a:gd name="T1" fmla="*/ 2147483647 h 80"/>
              <a:gd name="T2" fmla="*/ 2147483647 w 207"/>
              <a:gd name="T3" fmla="*/ 2147483647 h 80"/>
              <a:gd name="T4" fmla="*/ 2147483647 w 207"/>
              <a:gd name="T5" fmla="*/ 2147483647 h 80"/>
              <a:gd name="T6" fmla="*/ 2147483647 w 207"/>
              <a:gd name="T7" fmla="*/ 2147483647 h 80"/>
              <a:gd name="T8" fmla="*/ 2147483647 w 207"/>
              <a:gd name="T9" fmla="*/ 2147483647 h 80"/>
              <a:gd name="T10" fmla="*/ 2147483647 w 207"/>
              <a:gd name="T11" fmla="*/ 2147483647 h 80"/>
              <a:gd name="T12" fmla="*/ 2147483647 w 207"/>
              <a:gd name="T13" fmla="*/ 2147483647 h 80"/>
              <a:gd name="T14" fmla="*/ 2147483647 w 207"/>
              <a:gd name="T15" fmla="*/ 2147483647 h 80"/>
              <a:gd name="T16" fmla="*/ 2147483647 w 207"/>
              <a:gd name="T17" fmla="*/ 2147483647 h 80"/>
              <a:gd name="T18" fmla="*/ 2147483647 w 207"/>
              <a:gd name="T19" fmla="*/ 2147483647 h 80"/>
              <a:gd name="T20" fmla="*/ 2147483647 w 207"/>
              <a:gd name="T21" fmla="*/ 2147483647 h 80"/>
              <a:gd name="T22" fmla="*/ 2147483647 w 207"/>
              <a:gd name="T23" fmla="*/ 2147483647 h 80"/>
              <a:gd name="T24" fmla="*/ 2147483647 w 207"/>
              <a:gd name="T25" fmla="*/ 2147483647 h 80"/>
              <a:gd name="T26" fmla="*/ 2147483647 w 207"/>
              <a:gd name="T27" fmla="*/ 2147483647 h 80"/>
              <a:gd name="T28" fmla="*/ 2147483647 w 207"/>
              <a:gd name="T29" fmla="*/ 2147483647 h 80"/>
              <a:gd name="T30" fmla="*/ 2147483647 w 207"/>
              <a:gd name="T31" fmla="*/ 2147483647 h 80"/>
              <a:gd name="T32" fmla="*/ 2147483647 w 207"/>
              <a:gd name="T33" fmla="*/ 0 h 80"/>
              <a:gd name="T34" fmla="*/ 2147483647 w 207"/>
              <a:gd name="T35" fmla="*/ 2147483647 h 80"/>
              <a:gd name="T36" fmla="*/ 2147483647 w 207"/>
              <a:gd name="T37" fmla="*/ 2147483647 h 80"/>
              <a:gd name="T38" fmla="*/ 2147483647 w 207"/>
              <a:gd name="T39" fmla="*/ 2147483647 h 80"/>
              <a:gd name="T40" fmla="*/ 2147483647 w 207"/>
              <a:gd name="T41" fmla="*/ 2147483647 h 80"/>
              <a:gd name="T42" fmla="*/ 2147483647 w 207"/>
              <a:gd name="T43" fmla="*/ 2147483647 h 80"/>
              <a:gd name="T44" fmla="*/ 2147483647 w 207"/>
              <a:gd name="T45" fmla="*/ 2147483647 h 80"/>
              <a:gd name="T46" fmla="*/ 2147483647 w 207"/>
              <a:gd name="T47" fmla="*/ 2147483647 h 80"/>
              <a:gd name="T48" fmla="*/ 2147483647 w 207"/>
              <a:gd name="T49" fmla="*/ 2147483647 h 80"/>
              <a:gd name="T50" fmla="*/ 2147483647 w 207"/>
              <a:gd name="T51" fmla="*/ 2147483647 h 80"/>
              <a:gd name="T52" fmla="*/ 2147483647 w 207"/>
              <a:gd name="T53" fmla="*/ 2147483647 h 80"/>
              <a:gd name="T54" fmla="*/ 2147483647 w 207"/>
              <a:gd name="T55" fmla="*/ 2147483647 h 80"/>
              <a:gd name="T56" fmla="*/ 2147483647 w 207"/>
              <a:gd name="T57" fmla="*/ 2147483647 h 80"/>
              <a:gd name="T58" fmla="*/ 2147483647 w 207"/>
              <a:gd name="T59" fmla="*/ 2147483647 h 80"/>
              <a:gd name="T60" fmla="*/ 2147483647 w 207"/>
              <a:gd name="T61" fmla="*/ 2147483647 h 80"/>
              <a:gd name="T62" fmla="*/ 2147483647 w 207"/>
              <a:gd name="T63" fmla="*/ 2147483647 h 80"/>
              <a:gd name="T64" fmla="*/ 2147483647 w 207"/>
              <a:gd name="T65" fmla="*/ 2147483647 h 80"/>
              <a:gd name="T66" fmla="*/ 0 w 207"/>
              <a:gd name="T67" fmla="*/ 2147483647 h 8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07"/>
              <a:gd name="T103" fmla="*/ 0 h 80"/>
              <a:gd name="T104" fmla="*/ 207 w 207"/>
              <a:gd name="T105" fmla="*/ 80 h 8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07" h="80">
                <a:moveTo>
                  <a:pt x="0" y="52"/>
                </a:moveTo>
                <a:lnTo>
                  <a:pt x="6" y="45"/>
                </a:lnTo>
                <a:lnTo>
                  <a:pt x="42" y="38"/>
                </a:lnTo>
                <a:lnTo>
                  <a:pt x="6" y="39"/>
                </a:lnTo>
                <a:lnTo>
                  <a:pt x="48" y="32"/>
                </a:lnTo>
                <a:lnTo>
                  <a:pt x="14" y="32"/>
                </a:lnTo>
                <a:lnTo>
                  <a:pt x="19" y="22"/>
                </a:lnTo>
                <a:lnTo>
                  <a:pt x="48" y="22"/>
                </a:lnTo>
                <a:lnTo>
                  <a:pt x="27" y="20"/>
                </a:lnTo>
                <a:lnTo>
                  <a:pt x="45" y="13"/>
                </a:lnTo>
                <a:lnTo>
                  <a:pt x="84" y="22"/>
                </a:lnTo>
                <a:lnTo>
                  <a:pt x="107" y="44"/>
                </a:lnTo>
                <a:lnTo>
                  <a:pt x="145" y="44"/>
                </a:lnTo>
                <a:lnTo>
                  <a:pt x="129" y="32"/>
                </a:lnTo>
                <a:lnTo>
                  <a:pt x="139" y="24"/>
                </a:lnTo>
                <a:lnTo>
                  <a:pt x="120" y="13"/>
                </a:lnTo>
                <a:lnTo>
                  <a:pt x="149" y="0"/>
                </a:lnTo>
                <a:lnTo>
                  <a:pt x="161" y="19"/>
                </a:lnTo>
                <a:lnTo>
                  <a:pt x="153" y="26"/>
                </a:lnTo>
                <a:lnTo>
                  <a:pt x="169" y="28"/>
                </a:lnTo>
                <a:lnTo>
                  <a:pt x="163" y="35"/>
                </a:lnTo>
                <a:lnTo>
                  <a:pt x="181" y="38"/>
                </a:lnTo>
                <a:lnTo>
                  <a:pt x="191" y="27"/>
                </a:lnTo>
                <a:lnTo>
                  <a:pt x="206" y="40"/>
                </a:lnTo>
                <a:lnTo>
                  <a:pt x="194" y="59"/>
                </a:lnTo>
                <a:lnTo>
                  <a:pt x="151" y="57"/>
                </a:lnTo>
                <a:lnTo>
                  <a:pt x="83" y="79"/>
                </a:lnTo>
                <a:lnTo>
                  <a:pt x="55" y="67"/>
                </a:lnTo>
                <a:lnTo>
                  <a:pt x="112" y="52"/>
                </a:lnTo>
                <a:lnTo>
                  <a:pt x="62" y="59"/>
                </a:lnTo>
                <a:lnTo>
                  <a:pt x="72" y="46"/>
                </a:lnTo>
                <a:lnTo>
                  <a:pt x="47" y="60"/>
                </a:lnTo>
                <a:lnTo>
                  <a:pt x="16" y="57"/>
                </a:lnTo>
                <a:lnTo>
                  <a:pt x="0" y="5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3" name="Freeform 34"/>
          <p:cNvSpPr>
            <a:spLocks/>
          </p:cNvSpPr>
          <p:nvPr/>
        </p:nvSpPr>
        <p:spPr bwMode="auto">
          <a:xfrm>
            <a:off x="1797050" y="2070100"/>
            <a:ext cx="149225" cy="71438"/>
          </a:xfrm>
          <a:custGeom>
            <a:avLst/>
            <a:gdLst>
              <a:gd name="T0" fmla="*/ 0 w 108"/>
              <a:gd name="T1" fmla="*/ 0 h 49"/>
              <a:gd name="T2" fmla="*/ 2147483647 w 108"/>
              <a:gd name="T3" fmla="*/ 2147483647 h 49"/>
              <a:gd name="T4" fmla="*/ 2147483647 w 108"/>
              <a:gd name="T5" fmla="*/ 2147483647 h 49"/>
              <a:gd name="T6" fmla="*/ 2147483647 w 108"/>
              <a:gd name="T7" fmla="*/ 2147483647 h 49"/>
              <a:gd name="T8" fmla="*/ 2147483647 w 108"/>
              <a:gd name="T9" fmla="*/ 2147483647 h 49"/>
              <a:gd name="T10" fmla="*/ 2147483647 w 108"/>
              <a:gd name="T11" fmla="*/ 2147483647 h 49"/>
              <a:gd name="T12" fmla="*/ 2147483647 w 108"/>
              <a:gd name="T13" fmla="*/ 2147483647 h 49"/>
              <a:gd name="T14" fmla="*/ 2147483647 w 108"/>
              <a:gd name="T15" fmla="*/ 2147483647 h 49"/>
              <a:gd name="T16" fmla="*/ 2147483647 w 108"/>
              <a:gd name="T17" fmla="*/ 2147483647 h 49"/>
              <a:gd name="T18" fmla="*/ 2147483647 w 108"/>
              <a:gd name="T19" fmla="*/ 2147483647 h 49"/>
              <a:gd name="T20" fmla="*/ 2147483647 w 108"/>
              <a:gd name="T21" fmla="*/ 2147483647 h 49"/>
              <a:gd name="T22" fmla="*/ 2147483647 w 108"/>
              <a:gd name="T23" fmla="*/ 0 h 49"/>
              <a:gd name="T24" fmla="*/ 0 w 108"/>
              <a:gd name="T25" fmla="*/ 0 h 4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8"/>
              <a:gd name="T40" fmla="*/ 0 h 49"/>
              <a:gd name="T41" fmla="*/ 108 w 108"/>
              <a:gd name="T42" fmla="*/ 49 h 4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8" h="49">
                <a:moveTo>
                  <a:pt x="0" y="0"/>
                </a:moveTo>
                <a:lnTo>
                  <a:pt x="10" y="18"/>
                </a:lnTo>
                <a:lnTo>
                  <a:pt x="36" y="18"/>
                </a:lnTo>
                <a:lnTo>
                  <a:pt x="26" y="23"/>
                </a:lnTo>
                <a:lnTo>
                  <a:pt x="34" y="27"/>
                </a:lnTo>
                <a:lnTo>
                  <a:pt x="11" y="31"/>
                </a:lnTo>
                <a:lnTo>
                  <a:pt x="50" y="35"/>
                </a:lnTo>
                <a:lnTo>
                  <a:pt x="107" y="48"/>
                </a:lnTo>
                <a:lnTo>
                  <a:pt x="100" y="22"/>
                </a:lnTo>
                <a:lnTo>
                  <a:pt x="57" y="5"/>
                </a:lnTo>
                <a:lnTo>
                  <a:pt x="41" y="11"/>
                </a:lnTo>
                <a:lnTo>
                  <a:pt x="3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4" name="Freeform 35"/>
          <p:cNvSpPr>
            <a:spLocks/>
          </p:cNvSpPr>
          <p:nvPr/>
        </p:nvSpPr>
        <p:spPr bwMode="auto">
          <a:xfrm>
            <a:off x="1868488" y="2205038"/>
            <a:ext cx="117475" cy="69850"/>
          </a:xfrm>
          <a:custGeom>
            <a:avLst/>
            <a:gdLst>
              <a:gd name="T0" fmla="*/ 0 w 85"/>
              <a:gd name="T1" fmla="*/ 2147483647 h 48"/>
              <a:gd name="T2" fmla="*/ 2147483647 w 85"/>
              <a:gd name="T3" fmla="*/ 2147483647 h 48"/>
              <a:gd name="T4" fmla="*/ 2147483647 w 85"/>
              <a:gd name="T5" fmla="*/ 2147483647 h 48"/>
              <a:gd name="T6" fmla="*/ 2147483647 w 85"/>
              <a:gd name="T7" fmla="*/ 2147483647 h 48"/>
              <a:gd name="T8" fmla="*/ 2147483647 w 85"/>
              <a:gd name="T9" fmla="*/ 2147483647 h 48"/>
              <a:gd name="T10" fmla="*/ 2147483647 w 85"/>
              <a:gd name="T11" fmla="*/ 2147483647 h 48"/>
              <a:gd name="T12" fmla="*/ 2147483647 w 85"/>
              <a:gd name="T13" fmla="*/ 2147483647 h 48"/>
              <a:gd name="T14" fmla="*/ 2147483647 w 85"/>
              <a:gd name="T15" fmla="*/ 0 h 48"/>
              <a:gd name="T16" fmla="*/ 2147483647 w 85"/>
              <a:gd name="T17" fmla="*/ 2147483647 h 48"/>
              <a:gd name="T18" fmla="*/ 2147483647 w 85"/>
              <a:gd name="T19" fmla="*/ 2147483647 h 48"/>
              <a:gd name="T20" fmla="*/ 2147483647 w 85"/>
              <a:gd name="T21" fmla="*/ 2147483647 h 48"/>
              <a:gd name="T22" fmla="*/ 2147483647 w 85"/>
              <a:gd name="T23" fmla="*/ 2147483647 h 48"/>
              <a:gd name="T24" fmla="*/ 2147483647 w 85"/>
              <a:gd name="T25" fmla="*/ 2147483647 h 48"/>
              <a:gd name="T26" fmla="*/ 2147483647 w 85"/>
              <a:gd name="T27" fmla="*/ 2147483647 h 48"/>
              <a:gd name="T28" fmla="*/ 2147483647 w 85"/>
              <a:gd name="T29" fmla="*/ 2147483647 h 48"/>
              <a:gd name="T30" fmla="*/ 0 w 85"/>
              <a:gd name="T31" fmla="*/ 2147483647 h 4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5"/>
              <a:gd name="T49" fmla="*/ 0 h 48"/>
              <a:gd name="T50" fmla="*/ 85 w 85"/>
              <a:gd name="T51" fmla="*/ 48 h 4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5" h="48">
                <a:moveTo>
                  <a:pt x="0" y="32"/>
                </a:moveTo>
                <a:lnTo>
                  <a:pt x="7" y="21"/>
                </a:lnTo>
                <a:lnTo>
                  <a:pt x="25" y="24"/>
                </a:lnTo>
                <a:lnTo>
                  <a:pt x="5" y="11"/>
                </a:lnTo>
                <a:lnTo>
                  <a:pt x="9" y="2"/>
                </a:lnTo>
                <a:lnTo>
                  <a:pt x="44" y="17"/>
                </a:lnTo>
                <a:lnTo>
                  <a:pt x="25" y="2"/>
                </a:lnTo>
                <a:lnTo>
                  <a:pt x="75" y="0"/>
                </a:lnTo>
                <a:lnTo>
                  <a:pt x="84" y="36"/>
                </a:lnTo>
                <a:lnTo>
                  <a:pt x="74" y="31"/>
                </a:lnTo>
                <a:lnTo>
                  <a:pt x="73" y="47"/>
                </a:lnTo>
                <a:lnTo>
                  <a:pt x="32" y="47"/>
                </a:lnTo>
                <a:lnTo>
                  <a:pt x="40" y="41"/>
                </a:lnTo>
                <a:lnTo>
                  <a:pt x="30" y="34"/>
                </a:lnTo>
                <a:lnTo>
                  <a:pt x="59" y="24"/>
                </a:lnTo>
                <a:lnTo>
                  <a:pt x="0" y="3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5" name="Freeform 36"/>
          <p:cNvSpPr>
            <a:spLocks/>
          </p:cNvSpPr>
          <p:nvPr/>
        </p:nvSpPr>
        <p:spPr bwMode="auto">
          <a:xfrm>
            <a:off x="1868488" y="2328863"/>
            <a:ext cx="139700" cy="112712"/>
          </a:xfrm>
          <a:custGeom>
            <a:avLst/>
            <a:gdLst>
              <a:gd name="T0" fmla="*/ 0 w 102"/>
              <a:gd name="T1" fmla="*/ 2147483647 h 78"/>
              <a:gd name="T2" fmla="*/ 2147483647 w 102"/>
              <a:gd name="T3" fmla="*/ 2147483647 h 78"/>
              <a:gd name="T4" fmla="*/ 2147483647 w 102"/>
              <a:gd name="T5" fmla="*/ 2147483647 h 78"/>
              <a:gd name="T6" fmla="*/ 2147483647 w 102"/>
              <a:gd name="T7" fmla="*/ 2147483647 h 78"/>
              <a:gd name="T8" fmla="*/ 2147483647 w 102"/>
              <a:gd name="T9" fmla="*/ 2147483647 h 78"/>
              <a:gd name="T10" fmla="*/ 2147483647 w 102"/>
              <a:gd name="T11" fmla="*/ 2147483647 h 78"/>
              <a:gd name="T12" fmla="*/ 2147483647 w 102"/>
              <a:gd name="T13" fmla="*/ 2147483647 h 78"/>
              <a:gd name="T14" fmla="*/ 2147483647 w 102"/>
              <a:gd name="T15" fmla="*/ 2147483647 h 78"/>
              <a:gd name="T16" fmla="*/ 2147483647 w 102"/>
              <a:gd name="T17" fmla="*/ 0 h 78"/>
              <a:gd name="T18" fmla="*/ 2147483647 w 102"/>
              <a:gd name="T19" fmla="*/ 2147483647 h 78"/>
              <a:gd name="T20" fmla="*/ 2147483647 w 102"/>
              <a:gd name="T21" fmla="*/ 2147483647 h 78"/>
              <a:gd name="T22" fmla="*/ 2147483647 w 102"/>
              <a:gd name="T23" fmla="*/ 2147483647 h 78"/>
              <a:gd name="T24" fmla="*/ 2147483647 w 102"/>
              <a:gd name="T25" fmla="*/ 2147483647 h 78"/>
              <a:gd name="T26" fmla="*/ 2147483647 w 102"/>
              <a:gd name="T27" fmla="*/ 2147483647 h 78"/>
              <a:gd name="T28" fmla="*/ 2147483647 w 102"/>
              <a:gd name="T29" fmla="*/ 2147483647 h 78"/>
              <a:gd name="T30" fmla="*/ 0 w 102"/>
              <a:gd name="T31" fmla="*/ 2147483647 h 7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2"/>
              <a:gd name="T49" fmla="*/ 0 h 78"/>
              <a:gd name="T50" fmla="*/ 102 w 102"/>
              <a:gd name="T51" fmla="*/ 78 h 7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2" h="78">
                <a:moveTo>
                  <a:pt x="0" y="39"/>
                </a:moveTo>
                <a:lnTo>
                  <a:pt x="5" y="28"/>
                </a:lnTo>
                <a:lnTo>
                  <a:pt x="39" y="36"/>
                </a:lnTo>
                <a:lnTo>
                  <a:pt x="35" y="23"/>
                </a:lnTo>
                <a:lnTo>
                  <a:pt x="45" y="24"/>
                </a:lnTo>
                <a:lnTo>
                  <a:pt x="20" y="17"/>
                </a:lnTo>
                <a:lnTo>
                  <a:pt x="32" y="14"/>
                </a:lnTo>
                <a:lnTo>
                  <a:pt x="21" y="7"/>
                </a:lnTo>
                <a:lnTo>
                  <a:pt x="86" y="0"/>
                </a:lnTo>
                <a:lnTo>
                  <a:pt x="89" y="17"/>
                </a:lnTo>
                <a:lnTo>
                  <a:pt x="69" y="31"/>
                </a:lnTo>
                <a:lnTo>
                  <a:pt x="97" y="36"/>
                </a:lnTo>
                <a:lnTo>
                  <a:pt x="101" y="62"/>
                </a:lnTo>
                <a:lnTo>
                  <a:pt x="59" y="77"/>
                </a:lnTo>
                <a:lnTo>
                  <a:pt x="39" y="54"/>
                </a:lnTo>
                <a:lnTo>
                  <a:pt x="0" y="3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6" name="Freeform 37"/>
          <p:cNvSpPr>
            <a:spLocks/>
          </p:cNvSpPr>
          <p:nvPr/>
        </p:nvSpPr>
        <p:spPr bwMode="auto">
          <a:xfrm>
            <a:off x="1966913" y="2090738"/>
            <a:ext cx="80962" cy="55562"/>
          </a:xfrm>
          <a:custGeom>
            <a:avLst/>
            <a:gdLst>
              <a:gd name="T0" fmla="*/ 0 w 59"/>
              <a:gd name="T1" fmla="*/ 0 h 38"/>
              <a:gd name="T2" fmla="*/ 2147483647 w 59"/>
              <a:gd name="T3" fmla="*/ 2147483647 h 38"/>
              <a:gd name="T4" fmla="*/ 2147483647 w 59"/>
              <a:gd name="T5" fmla="*/ 2147483647 h 38"/>
              <a:gd name="T6" fmla="*/ 2147483647 w 59"/>
              <a:gd name="T7" fmla="*/ 2147483647 h 38"/>
              <a:gd name="T8" fmla="*/ 2147483647 w 59"/>
              <a:gd name="T9" fmla="*/ 2147483647 h 38"/>
              <a:gd name="T10" fmla="*/ 2147483647 w 59"/>
              <a:gd name="T11" fmla="*/ 2147483647 h 38"/>
              <a:gd name="T12" fmla="*/ 2147483647 w 59"/>
              <a:gd name="T13" fmla="*/ 2147483647 h 38"/>
              <a:gd name="T14" fmla="*/ 0 w 59"/>
              <a:gd name="T15" fmla="*/ 0 h 3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9"/>
              <a:gd name="T25" fmla="*/ 0 h 38"/>
              <a:gd name="T26" fmla="*/ 59 w 59"/>
              <a:gd name="T27" fmla="*/ 38 h 3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9" h="38">
                <a:moveTo>
                  <a:pt x="0" y="0"/>
                </a:moveTo>
                <a:lnTo>
                  <a:pt x="6" y="21"/>
                </a:lnTo>
                <a:lnTo>
                  <a:pt x="26" y="24"/>
                </a:lnTo>
                <a:lnTo>
                  <a:pt x="9" y="28"/>
                </a:lnTo>
                <a:lnTo>
                  <a:pt x="19" y="37"/>
                </a:lnTo>
                <a:lnTo>
                  <a:pt x="57" y="31"/>
                </a:lnTo>
                <a:lnTo>
                  <a:pt x="58" y="17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7" name="Freeform 38"/>
          <p:cNvSpPr>
            <a:spLocks/>
          </p:cNvSpPr>
          <p:nvPr/>
        </p:nvSpPr>
        <p:spPr bwMode="auto">
          <a:xfrm>
            <a:off x="1998663" y="2178050"/>
            <a:ext cx="400050" cy="128588"/>
          </a:xfrm>
          <a:custGeom>
            <a:avLst/>
            <a:gdLst>
              <a:gd name="T0" fmla="*/ 0 w 291"/>
              <a:gd name="T1" fmla="*/ 2147483647 h 88"/>
              <a:gd name="T2" fmla="*/ 2147483647 w 291"/>
              <a:gd name="T3" fmla="*/ 0 h 88"/>
              <a:gd name="T4" fmla="*/ 2147483647 w 291"/>
              <a:gd name="T5" fmla="*/ 2147483647 h 88"/>
              <a:gd name="T6" fmla="*/ 2147483647 w 291"/>
              <a:gd name="T7" fmla="*/ 2147483647 h 88"/>
              <a:gd name="T8" fmla="*/ 2147483647 w 291"/>
              <a:gd name="T9" fmla="*/ 2147483647 h 88"/>
              <a:gd name="T10" fmla="*/ 2147483647 w 291"/>
              <a:gd name="T11" fmla="*/ 2147483647 h 88"/>
              <a:gd name="T12" fmla="*/ 2147483647 w 291"/>
              <a:gd name="T13" fmla="*/ 2147483647 h 88"/>
              <a:gd name="T14" fmla="*/ 2147483647 w 291"/>
              <a:gd name="T15" fmla="*/ 2147483647 h 88"/>
              <a:gd name="T16" fmla="*/ 2147483647 w 291"/>
              <a:gd name="T17" fmla="*/ 2147483647 h 88"/>
              <a:gd name="T18" fmla="*/ 2147483647 w 291"/>
              <a:gd name="T19" fmla="*/ 2147483647 h 88"/>
              <a:gd name="T20" fmla="*/ 2147483647 w 291"/>
              <a:gd name="T21" fmla="*/ 2147483647 h 88"/>
              <a:gd name="T22" fmla="*/ 2147483647 w 291"/>
              <a:gd name="T23" fmla="*/ 2147483647 h 88"/>
              <a:gd name="T24" fmla="*/ 2147483647 w 291"/>
              <a:gd name="T25" fmla="*/ 2147483647 h 88"/>
              <a:gd name="T26" fmla="*/ 2147483647 w 291"/>
              <a:gd name="T27" fmla="*/ 2147483647 h 88"/>
              <a:gd name="T28" fmla="*/ 2147483647 w 291"/>
              <a:gd name="T29" fmla="*/ 2147483647 h 88"/>
              <a:gd name="T30" fmla="*/ 2147483647 w 291"/>
              <a:gd name="T31" fmla="*/ 2147483647 h 88"/>
              <a:gd name="T32" fmla="*/ 2147483647 w 291"/>
              <a:gd name="T33" fmla="*/ 2147483647 h 88"/>
              <a:gd name="T34" fmla="*/ 2147483647 w 291"/>
              <a:gd name="T35" fmla="*/ 2147483647 h 88"/>
              <a:gd name="T36" fmla="*/ 2147483647 w 291"/>
              <a:gd name="T37" fmla="*/ 2147483647 h 88"/>
              <a:gd name="T38" fmla="*/ 2147483647 w 291"/>
              <a:gd name="T39" fmla="*/ 2147483647 h 88"/>
              <a:gd name="T40" fmla="*/ 2147483647 w 291"/>
              <a:gd name="T41" fmla="*/ 2147483647 h 88"/>
              <a:gd name="T42" fmla="*/ 2147483647 w 291"/>
              <a:gd name="T43" fmla="*/ 2147483647 h 88"/>
              <a:gd name="T44" fmla="*/ 2147483647 w 291"/>
              <a:gd name="T45" fmla="*/ 2147483647 h 88"/>
              <a:gd name="T46" fmla="*/ 2147483647 w 291"/>
              <a:gd name="T47" fmla="*/ 2147483647 h 88"/>
              <a:gd name="T48" fmla="*/ 2147483647 w 291"/>
              <a:gd name="T49" fmla="*/ 2147483647 h 88"/>
              <a:gd name="T50" fmla="*/ 2147483647 w 291"/>
              <a:gd name="T51" fmla="*/ 2147483647 h 88"/>
              <a:gd name="T52" fmla="*/ 2147483647 w 291"/>
              <a:gd name="T53" fmla="*/ 2147483647 h 88"/>
              <a:gd name="T54" fmla="*/ 2147483647 w 291"/>
              <a:gd name="T55" fmla="*/ 2147483647 h 88"/>
              <a:gd name="T56" fmla="*/ 2147483647 w 291"/>
              <a:gd name="T57" fmla="*/ 2147483647 h 88"/>
              <a:gd name="T58" fmla="*/ 2147483647 w 291"/>
              <a:gd name="T59" fmla="*/ 2147483647 h 88"/>
              <a:gd name="T60" fmla="*/ 2147483647 w 291"/>
              <a:gd name="T61" fmla="*/ 2147483647 h 88"/>
              <a:gd name="T62" fmla="*/ 0 w 291"/>
              <a:gd name="T63" fmla="*/ 2147483647 h 8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1"/>
              <a:gd name="T97" fmla="*/ 0 h 88"/>
              <a:gd name="T98" fmla="*/ 291 w 291"/>
              <a:gd name="T99" fmla="*/ 88 h 8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1" h="88">
                <a:moveTo>
                  <a:pt x="0" y="13"/>
                </a:moveTo>
                <a:lnTo>
                  <a:pt x="17" y="0"/>
                </a:lnTo>
                <a:lnTo>
                  <a:pt x="43" y="7"/>
                </a:lnTo>
                <a:lnTo>
                  <a:pt x="59" y="13"/>
                </a:lnTo>
                <a:lnTo>
                  <a:pt x="54" y="24"/>
                </a:lnTo>
                <a:lnTo>
                  <a:pt x="89" y="15"/>
                </a:lnTo>
                <a:lnTo>
                  <a:pt x="107" y="21"/>
                </a:lnTo>
                <a:lnTo>
                  <a:pt x="91" y="21"/>
                </a:lnTo>
                <a:lnTo>
                  <a:pt x="128" y="31"/>
                </a:lnTo>
                <a:lnTo>
                  <a:pt x="89" y="33"/>
                </a:lnTo>
                <a:lnTo>
                  <a:pt x="107" y="36"/>
                </a:lnTo>
                <a:lnTo>
                  <a:pt x="94" y="46"/>
                </a:lnTo>
                <a:lnTo>
                  <a:pt x="114" y="40"/>
                </a:lnTo>
                <a:lnTo>
                  <a:pt x="132" y="58"/>
                </a:lnTo>
                <a:lnTo>
                  <a:pt x="136" y="48"/>
                </a:lnTo>
                <a:lnTo>
                  <a:pt x="188" y="58"/>
                </a:lnTo>
                <a:lnTo>
                  <a:pt x="244" y="42"/>
                </a:lnTo>
                <a:lnTo>
                  <a:pt x="290" y="60"/>
                </a:lnTo>
                <a:lnTo>
                  <a:pt x="273" y="67"/>
                </a:lnTo>
                <a:lnTo>
                  <a:pt x="280" y="83"/>
                </a:lnTo>
                <a:lnTo>
                  <a:pt x="252" y="87"/>
                </a:lnTo>
                <a:lnTo>
                  <a:pt x="222" y="73"/>
                </a:lnTo>
                <a:lnTo>
                  <a:pt x="222" y="83"/>
                </a:lnTo>
                <a:lnTo>
                  <a:pt x="209" y="85"/>
                </a:lnTo>
                <a:lnTo>
                  <a:pt x="142" y="87"/>
                </a:lnTo>
                <a:lnTo>
                  <a:pt x="135" y="75"/>
                </a:lnTo>
                <a:lnTo>
                  <a:pt x="121" y="85"/>
                </a:lnTo>
                <a:lnTo>
                  <a:pt x="100" y="75"/>
                </a:lnTo>
                <a:lnTo>
                  <a:pt x="88" y="82"/>
                </a:lnTo>
                <a:lnTo>
                  <a:pt x="62" y="27"/>
                </a:lnTo>
                <a:lnTo>
                  <a:pt x="33" y="31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8" name="Freeform 39"/>
          <p:cNvSpPr>
            <a:spLocks/>
          </p:cNvSpPr>
          <p:nvPr/>
        </p:nvSpPr>
        <p:spPr bwMode="auto">
          <a:xfrm>
            <a:off x="2012950" y="1962150"/>
            <a:ext cx="261938" cy="169863"/>
          </a:xfrm>
          <a:custGeom>
            <a:avLst/>
            <a:gdLst>
              <a:gd name="T0" fmla="*/ 0 w 190"/>
              <a:gd name="T1" fmla="*/ 2147483647 h 116"/>
              <a:gd name="T2" fmla="*/ 2147483647 w 190"/>
              <a:gd name="T3" fmla="*/ 2147483647 h 116"/>
              <a:gd name="T4" fmla="*/ 2147483647 w 190"/>
              <a:gd name="T5" fmla="*/ 2147483647 h 116"/>
              <a:gd name="T6" fmla="*/ 2147483647 w 190"/>
              <a:gd name="T7" fmla="*/ 2147483647 h 116"/>
              <a:gd name="T8" fmla="*/ 2147483647 w 190"/>
              <a:gd name="T9" fmla="*/ 0 h 116"/>
              <a:gd name="T10" fmla="*/ 2147483647 w 190"/>
              <a:gd name="T11" fmla="*/ 2147483647 h 116"/>
              <a:gd name="T12" fmla="*/ 2147483647 w 190"/>
              <a:gd name="T13" fmla="*/ 2147483647 h 116"/>
              <a:gd name="T14" fmla="*/ 2147483647 w 190"/>
              <a:gd name="T15" fmla="*/ 2147483647 h 116"/>
              <a:gd name="T16" fmla="*/ 2147483647 w 190"/>
              <a:gd name="T17" fmla="*/ 2147483647 h 116"/>
              <a:gd name="T18" fmla="*/ 2147483647 w 190"/>
              <a:gd name="T19" fmla="*/ 2147483647 h 116"/>
              <a:gd name="T20" fmla="*/ 2147483647 w 190"/>
              <a:gd name="T21" fmla="*/ 2147483647 h 116"/>
              <a:gd name="T22" fmla="*/ 2147483647 w 190"/>
              <a:gd name="T23" fmla="*/ 2147483647 h 116"/>
              <a:gd name="T24" fmla="*/ 2147483647 w 190"/>
              <a:gd name="T25" fmla="*/ 2147483647 h 116"/>
              <a:gd name="T26" fmla="*/ 2147483647 w 190"/>
              <a:gd name="T27" fmla="*/ 2147483647 h 116"/>
              <a:gd name="T28" fmla="*/ 2147483647 w 190"/>
              <a:gd name="T29" fmla="*/ 2147483647 h 116"/>
              <a:gd name="T30" fmla="*/ 2147483647 w 190"/>
              <a:gd name="T31" fmla="*/ 2147483647 h 116"/>
              <a:gd name="T32" fmla="*/ 2147483647 w 190"/>
              <a:gd name="T33" fmla="*/ 2147483647 h 116"/>
              <a:gd name="T34" fmla="*/ 2147483647 w 190"/>
              <a:gd name="T35" fmla="*/ 2147483647 h 116"/>
              <a:gd name="T36" fmla="*/ 2147483647 w 190"/>
              <a:gd name="T37" fmla="*/ 2147483647 h 116"/>
              <a:gd name="T38" fmla="*/ 2147483647 w 190"/>
              <a:gd name="T39" fmla="*/ 2147483647 h 116"/>
              <a:gd name="T40" fmla="*/ 2147483647 w 190"/>
              <a:gd name="T41" fmla="*/ 2147483647 h 116"/>
              <a:gd name="T42" fmla="*/ 2147483647 w 190"/>
              <a:gd name="T43" fmla="*/ 2147483647 h 116"/>
              <a:gd name="T44" fmla="*/ 2147483647 w 190"/>
              <a:gd name="T45" fmla="*/ 2147483647 h 116"/>
              <a:gd name="T46" fmla="*/ 2147483647 w 190"/>
              <a:gd name="T47" fmla="*/ 2147483647 h 116"/>
              <a:gd name="T48" fmla="*/ 2147483647 w 190"/>
              <a:gd name="T49" fmla="*/ 2147483647 h 116"/>
              <a:gd name="T50" fmla="*/ 2147483647 w 190"/>
              <a:gd name="T51" fmla="*/ 2147483647 h 116"/>
              <a:gd name="T52" fmla="*/ 2147483647 w 190"/>
              <a:gd name="T53" fmla="*/ 2147483647 h 116"/>
              <a:gd name="T54" fmla="*/ 2147483647 w 190"/>
              <a:gd name="T55" fmla="*/ 2147483647 h 116"/>
              <a:gd name="T56" fmla="*/ 2147483647 w 190"/>
              <a:gd name="T57" fmla="*/ 2147483647 h 116"/>
              <a:gd name="T58" fmla="*/ 2147483647 w 190"/>
              <a:gd name="T59" fmla="*/ 2147483647 h 116"/>
              <a:gd name="T60" fmla="*/ 2147483647 w 190"/>
              <a:gd name="T61" fmla="*/ 2147483647 h 116"/>
              <a:gd name="T62" fmla="*/ 2147483647 w 190"/>
              <a:gd name="T63" fmla="*/ 2147483647 h 116"/>
              <a:gd name="T64" fmla="*/ 2147483647 w 190"/>
              <a:gd name="T65" fmla="*/ 2147483647 h 116"/>
              <a:gd name="T66" fmla="*/ 2147483647 w 190"/>
              <a:gd name="T67" fmla="*/ 2147483647 h 116"/>
              <a:gd name="T68" fmla="*/ 2147483647 w 190"/>
              <a:gd name="T69" fmla="*/ 2147483647 h 116"/>
              <a:gd name="T70" fmla="*/ 2147483647 w 190"/>
              <a:gd name="T71" fmla="*/ 2147483647 h 116"/>
              <a:gd name="T72" fmla="*/ 2147483647 w 190"/>
              <a:gd name="T73" fmla="*/ 2147483647 h 116"/>
              <a:gd name="T74" fmla="*/ 0 w 190"/>
              <a:gd name="T75" fmla="*/ 2147483647 h 11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90"/>
              <a:gd name="T115" fmla="*/ 0 h 116"/>
              <a:gd name="T116" fmla="*/ 190 w 190"/>
              <a:gd name="T117" fmla="*/ 116 h 11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90" h="116">
                <a:moveTo>
                  <a:pt x="0" y="36"/>
                </a:moveTo>
                <a:lnTo>
                  <a:pt x="46" y="29"/>
                </a:lnTo>
                <a:lnTo>
                  <a:pt x="23" y="14"/>
                </a:lnTo>
                <a:lnTo>
                  <a:pt x="61" y="7"/>
                </a:lnTo>
                <a:lnTo>
                  <a:pt x="31" y="0"/>
                </a:lnTo>
                <a:lnTo>
                  <a:pt x="80" y="8"/>
                </a:lnTo>
                <a:lnTo>
                  <a:pt x="95" y="30"/>
                </a:lnTo>
                <a:lnTo>
                  <a:pt x="121" y="30"/>
                </a:lnTo>
                <a:lnTo>
                  <a:pt x="130" y="45"/>
                </a:lnTo>
                <a:lnTo>
                  <a:pt x="133" y="35"/>
                </a:lnTo>
                <a:lnTo>
                  <a:pt x="147" y="36"/>
                </a:lnTo>
                <a:lnTo>
                  <a:pt x="140" y="45"/>
                </a:lnTo>
                <a:lnTo>
                  <a:pt x="156" y="52"/>
                </a:lnTo>
                <a:lnTo>
                  <a:pt x="146" y="64"/>
                </a:lnTo>
                <a:lnTo>
                  <a:pt x="175" y="63"/>
                </a:lnTo>
                <a:lnTo>
                  <a:pt x="189" y="76"/>
                </a:lnTo>
                <a:lnTo>
                  <a:pt x="153" y="82"/>
                </a:lnTo>
                <a:lnTo>
                  <a:pt x="143" y="96"/>
                </a:lnTo>
                <a:lnTo>
                  <a:pt x="136" y="81"/>
                </a:lnTo>
                <a:lnTo>
                  <a:pt x="127" y="114"/>
                </a:lnTo>
                <a:lnTo>
                  <a:pt x="104" y="98"/>
                </a:lnTo>
                <a:lnTo>
                  <a:pt x="115" y="115"/>
                </a:lnTo>
                <a:lnTo>
                  <a:pt x="73" y="113"/>
                </a:lnTo>
                <a:lnTo>
                  <a:pt x="58" y="103"/>
                </a:lnTo>
                <a:lnTo>
                  <a:pt x="78" y="101"/>
                </a:lnTo>
                <a:lnTo>
                  <a:pt x="56" y="99"/>
                </a:lnTo>
                <a:lnTo>
                  <a:pt x="49" y="94"/>
                </a:lnTo>
                <a:lnTo>
                  <a:pt x="61" y="92"/>
                </a:lnTo>
                <a:lnTo>
                  <a:pt x="42" y="85"/>
                </a:lnTo>
                <a:lnTo>
                  <a:pt x="103" y="73"/>
                </a:lnTo>
                <a:lnTo>
                  <a:pt x="31" y="76"/>
                </a:lnTo>
                <a:lnTo>
                  <a:pt x="16" y="66"/>
                </a:lnTo>
                <a:lnTo>
                  <a:pt x="42" y="60"/>
                </a:lnTo>
                <a:lnTo>
                  <a:pt x="5" y="52"/>
                </a:lnTo>
                <a:lnTo>
                  <a:pt x="11" y="51"/>
                </a:lnTo>
                <a:lnTo>
                  <a:pt x="1" y="43"/>
                </a:lnTo>
                <a:lnTo>
                  <a:pt x="46" y="43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49" name="Freeform 40"/>
          <p:cNvSpPr>
            <a:spLocks/>
          </p:cNvSpPr>
          <p:nvPr/>
        </p:nvSpPr>
        <p:spPr bwMode="auto">
          <a:xfrm>
            <a:off x="2012950" y="2254250"/>
            <a:ext cx="65088" cy="38100"/>
          </a:xfrm>
          <a:custGeom>
            <a:avLst/>
            <a:gdLst>
              <a:gd name="T0" fmla="*/ 0 w 47"/>
              <a:gd name="T1" fmla="*/ 2147483647 h 27"/>
              <a:gd name="T2" fmla="*/ 2147483647 w 47"/>
              <a:gd name="T3" fmla="*/ 0 h 27"/>
              <a:gd name="T4" fmla="*/ 2147483647 w 47"/>
              <a:gd name="T5" fmla="*/ 2147483647 h 27"/>
              <a:gd name="T6" fmla="*/ 2147483647 w 47"/>
              <a:gd name="T7" fmla="*/ 2147483647 h 27"/>
              <a:gd name="T8" fmla="*/ 0 w 47"/>
              <a:gd name="T9" fmla="*/ 2147483647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"/>
              <a:gd name="T16" fmla="*/ 0 h 27"/>
              <a:gd name="T17" fmla="*/ 47 w 47"/>
              <a:gd name="T18" fmla="*/ 27 h 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" h="27">
                <a:moveTo>
                  <a:pt x="0" y="18"/>
                </a:moveTo>
                <a:lnTo>
                  <a:pt x="9" y="0"/>
                </a:lnTo>
                <a:lnTo>
                  <a:pt x="40" y="5"/>
                </a:lnTo>
                <a:lnTo>
                  <a:pt x="46" y="26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0" name="Freeform 41"/>
          <p:cNvSpPr>
            <a:spLocks/>
          </p:cNvSpPr>
          <p:nvPr/>
        </p:nvSpPr>
        <p:spPr bwMode="auto">
          <a:xfrm>
            <a:off x="2014538" y="2144713"/>
            <a:ext cx="69850" cy="19050"/>
          </a:xfrm>
          <a:custGeom>
            <a:avLst/>
            <a:gdLst>
              <a:gd name="T0" fmla="*/ 0 w 51"/>
              <a:gd name="T1" fmla="*/ 2147483647 h 13"/>
              <a:gd name="T2" fmla="*/ 2147483647 w 51"/>
              <a:gd name="T3" fmla="*/ 2147483647 h 13"/>
              <a:gd name="T4" fmla="*/ 2147483647 w 51"/>
              <a:gd name="T5" fmla="*/ 2147483647 h 13"/>
              <a:gd name="T6" fmla="*/ 2147483647 w 51"/>
              <a:gd name="T7" fmla="*/ 0 h 13"/>
              <a:gd name="T8" fmla="*/ 0 w 51"/>
              <a:gd name="T9" fmla="*/ 2147483647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"/>
              <a:gd name="T16" fmla="*/ 0 h 13"/>
              <a:gd name="T17" fmla="*/ 51 w 51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" h="13">
                <a:moveTo>
                  <a:pt x="0" y="6"/>
                </a:moveTo>
                <a:lnTo>
                  <a:pt x="11" y="12"/>
                </a:lnTo>
                <a:lnTo>
                  <a:pt x="50" y="6"/>
                </a:lnTo>
                <a:lnTo>
                  <a:pt x="13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1" name="Freeform 42"/>
          <p:cNvSpPr>
            <a:spLocks/>
          </p:cNvSpPr>
          <p:nvPr/>
        </p:nvSpPr>
        <p:spPr bwMode="auto">
          <a:xfrm>
            <a:off x="2025650" y="2322513"/>
            <a:ext cx="127000" cy="90487"/>
          </a:xfrm>
          <a:custGeom>
            <a:avLst/>
            <a:gdLst>
              <a:gd name="T0" fmla="*/ 0 w 92"/>
              <a:gd name="T1" fmla="*/ 2147483647 h 62"/>
              <a:gd name="T2" fmla="*/ 2147483647 w 92"/>
              <a:gd name="T3" fmla="*/ 2147483647 h 62"/>
              <a:gd name="T4" fmla="*/ 2147483647 w 92"/>
              <a:gd name="T5" fmla="*/ 2147483647 h 62"/>
              <a:gd name="T6" fmla="*/ 2147483647 w 92"/>
              <a:gd name="T7" fmla="*/ 2147483647 h 62"/>
              <a:gd name="T8" fmla="*/ 2147483647 w 92"/>
              <a:gd name="T9" fmla="*/ 2147483647 h 62"/>
              <a:gd name="T10" fmla="*/ 2147483647 w 92"/>
              <a:gd name="T11" fmla="*/ 2147483647 h 62"/>
              <a:gd name="T12" fmla="*/ 2147483647 w 92"/>
              <a:gd name="T13" fmla="*/ 2147483647 h 62"/>
              <a:gd name="T14" fmla="*/ 2147483647 w 92"/>
              <a:gd name="T15" fmla="*/ 2147483647 h 62"/>
              <a:gd name="T16" fmla="*/ 2147483647 w 92"/>
              <a:gd name="T17" fmla="*/ 2147483647 h 62"/>
              <a:gd name="T18" fmla="*/ 2147483647 w 92"/>
              <a:gd name="T19" fmla="*/ 0 h 62"/>
              <a:gd name="T20" fmla="*/ 2147483647 w 92"/>
              <a:gd name="T21" fmla="*/ 2147483647 h 62"/>
              <a:gd name="T22" fmla="*/ 0 w 92"/>
              <a:gd name="T23" fmla="*/ 2147483647 h 6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2"/>
              <a:gd name="T37" fmla="*/ 0 h 62"/>
              <a:gd name="T38" fmla="*/ 92 w 92"/>
              <a:gd name="T39" fmla="*/ 62 h 6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2" h="62">
                <a:moveTo>
                  <a:pt x="0" y="12"/>
                </a:moveTo>
                <a:lnTo>
                  <a:pt x="1" y="40"/>
                </a:lnTo>
                <a:lnTo>
                  <a:pt x="14" y="43"/>
                </a:lnTo>
                <a:lnTo>
                  <a:pt x="9" y="61"/>
                </a:lnTo>
                <a:lnTo>
                  <a:pt x="22" y="61"/>
                </a:lnTo>
                <a:lnTo>
                  <a:pt x="37" y="47"/>
                </a:lnTo>
                <a:lnTo>
                  <a:pt x="22" y="40"/>
                </a:lnTo>
                <a:lnTo>
                  <a:pt x="60" y="40"/>
                </a:lnTo>
                <a:lnTo>
                  <a:pt x="91" y="5"/>
                </a:lnTo>
                <a:lnTo>
                  <a:pt x="6" y="0"/>
                </a:lnTo>
                <a:lnTo>
                  <a:pt x="19" y="13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2" name="Freeform 43"/>
          <p:cNvSpPr>
            <a:spLocks/>
          </p:cNvSpPr>
          <p:nvPr/>
        </p:nvSpPr>
        <p:spPr bwMode="auto">
          <a:xfrm>
            <a:off x="2114550" y="1863725"/>
            <a:ext cx="709613" cy="363538"/>
          </a:xfrm>
          <a:custGeom>
            <a:avLst/>
            <a:gdLst>
              <a:gd name="T0" fmla="*/ 2147483647 w 515"/>
              <a:gd name="T1" fmla="*/ 2147483647 h 249"/>
              <a:gd name="T2" fmla="*/ 2147483647 w 515"/>
              <a:gd name="T3" fmla="*/ 2147483647 h 249"/>
              <a:gd name="T4" fmla="*/ 2147483647 w 515"/>
              <a:gd name="T5" fmla="*/ 2147483647 h 249"/>
              <a:gd name="T6" fmla="*/ 2147483647 w 515"/>
              <a:gd name="T7" fmla="*/ 2147483647 h 249"/>
              <a:gd name="T8" fmla="*/ 2147483647 w 515"/>
              <a:gd name="T9" fmla="*/ 2147483647 h 249"/>
              <a:gd name="T10" fmla="*/ 2147483647 w 515"/>
              <a:gd name="T11" fmla="*/ 2147483647 h 249"/>
              <a:gd name="T12" fmla="*/ 2147483647 w 515"/>
              <a:gd name="T13" fmla="*/ 2147483647 h 249"/>
              <a:gd name="T14" fmla="*/ 2147483647 w 515"/>
              <a:gd name="T15" fmla="*/ 2147483647 h 249"/>
              <a:gd name="T16" fmla="*/ 2147483647 w 515"/>
              <a:gd name="T17" fmla="*/ 2147483647 h 249"/>
              <a:gd name="T18" fmla="*/ 2147483647 w 515"/>
              <a:gd name="T19" fmla="*/ 2147483647 h 249"/>
              <a:gd name="T20" fmla="*/ 2147483647 w 515"/>
              <a:gd name="T21" fmla="*/ 2147483647 h 249"/>
              <a:gd name="T22" fmla="*/ 2147483647 w 515"/>
              <a:gd name="T23" fmla="*/ 2147483647 h 249"/>
              <a:gd name="T24" fmla="*/ 2147483647 w 515"/>
              <a:gd name="T25" fmla="*/ 2147483647 h 249"/>
              <a:gd name="T26" fmla="*/ 2147483647 w 515"/>
              <a:gd name="T27" fmla="*/ 2147483647 h 249"/>
              <a:gd name="T28" fmla="*/ 2147483647 w 515"/>
              <a:gd name="T29" fmla="*/ 2147483647 h 249"/>
              <a:gd name="T30" fmla="*/ 2147483647 w 515"/>
              <a:gd name="T31" fmla="*/ 2147483647 h 249"/>
              <a:gd name="T32" fmla="*/ 2147483647 w 515"/>
              <a:gd name="T33" fmla="*/ 2147483647 h 249"/>
              <a:gd name="T34" fmla="*/ 2147483647 w 515"/>
              <a:gd name="T35" fmla="*/ 2147483647 h 249"/>
              <a:gd name="T36" fmla="*/ 2147483647 w 515"/>
              <a:gd name="T37" fmla="*/ 2147483647 h 249"/>
              <a:gd name="T38" fmla="*/ 2147483647 w 515"/>
              <a:gd name="T39" fmla="*/ 2147483647 h 249"/>
              <a:gd name="T40" fmla="*/ 2147483647 w 515"/>
              <a:gd name="T41" fmla="*/ 2147483647 h 249"/>
              <a:gd name="T42" fmla="*/ 2147483647 w 515"/>
              <a:gd name="T43" fmla="*/ 2147483647 h 249"/>
              <a:gd name="T44" fmla="*/ 2147483647 w 515"/>
              <a:gd name="T45" fmla="*/ 2147483647 h 249"/>
              <a:gd name="T46" fmla="*/ 2147483647 w 515"/>
              <a:gd name="T47" fmla="*/ 2147483647 h 249"/>
              <a:gd name="T48" fmla="*/ 2147483647 w 515"/>
              <a:gd name="T49" fmla="*/ 2147483647 h 249"/>
              <a:gd name="T50" fmla="*/ 2147483647 w 515"/>
              <a:gd name="T51" fmla="*/ 2147483647 h 249"/>
              <a:gd name="T52" fmla="*/ 2147483647 w 515"/>
              <a:gd name="T53" fmla="*/ 2147483647 h 249"/>
              <a:gd name="T54" fmla="*/ 2147483647 w 515"/>
              <a:gd name="T55" fmla="*/ 2147483647 h 249"/>
              <a:gd name="T56" fmla="*/ 2147483647 w 515"/>
              <a:gd name="T57" fmla="*/ 2147483647 h 249"/>
              <a:gd name="T58" fmla="*/ 2147483647 w 515"/>
              <a:gd name="T59" fmla="*/ 2147483647 h 249"/>
              <a:gd name="T60" fmla="*/ 2147483647 w 515"/>
              <a:gd name="T61" fmla="*/ 2147483647 h 249"/>
              <a:gd name="T62" fmla="*/ 2147483647 w 515"/>
              <a:gd name="T63" fmla="*/ 2147483647 h 249"/>
              <a:gd name="T64" fmla="*/ 2147483647 w 515"/>
              <a:gd name="T65" fmla="*/ 2147483647 h 249"/>
              <a:gd name="T66" fmla="*/ 2147483647 w 515"/>
              <a:gd name="T67" fmla="*/ 2147483647 h 249"/>
              <a:gd name="T68" fmla="*/ 2147483647 w 515"/>
              <a:gd name="T69" fmla="*/ 2147483647 h 249"/>
              <a:gd name="T70" fmla="*/ 2147483647 w 515"/>
              <a:gd name="T71" fmla="*/ 2147483647 h 249"/>
              <a:gd name="T72" fmla="*/ 2147483647 w 515"/>
              <a:gd name="T73" fmla="*/ 2147483647 h 249"/>
              <a:gd name="T74" fmla="*/ 2147483647 w 515"/>
              <a:gd name="T75" fmla="*/ 0 h 249"/>
              <a:gd name="T76" fmla="*/ 2147483647 w 515"/>
              <a:gd name="T77" fmla="*/ 2147483647 h 249"/>
              <a:gd name="T78" fmla="*/ 2147483647 w 515"/>
              <a:gd name="T79" fmla="*/ 2147483647 h 249"/>
              <a:gd name="T80" fmla="*/ 2147483647 w 515"/>
              <a:gd name="T81" fmla="*/ 2147483647 h 249"/>
              <a:gd name="T82" fmla="*/ 2147483647 w 515"/>
              <a:gd name="T83" fmla="*/ 2147483647 h 249"/>
              <a:gd name="T84" fmla="*/ 2147483647 w 515"/>
              <a:gd name="T85" fmla="*/ 2147483647 h 249"/>
              <a:gd name="T86" fmla="*/ 2147483647 w 515"/>
              <a:gd name="T87" fmla="*/ 2147483647 h 24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15"/>
              <a:gd name="T133" fmla="*/ 0 h 249"/>
              <a:gd name="T134" fmla="*/ 515 w 515"/>
              <a:gd name="T135" fmla="*/ 249 h 249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15" h="249">
                <a:moveTo>
                  <a:pt x="0" y="58"/>
                </a:moveTo>
                <a:lnTo>
                  <a:pt x="44" y="58"/>
                </a:lnTo>
                <a:lnTo>
                  <a:pt x="28" y="67"/>
                </a:lnTo>
                <a:lnTo>
                  <a:pt x="92" y="61"/>
                </a:lnTo>
                <a:lnTo>
                  <a:pt x="37" y="68"/>
                </a:lnTo>
                <a:lnTo>
                  <a:pt x="54" y="71"/>
                </a:lnTo>
                <a:lnTo>
                  <a:pt x="35" y="74"/>
                </a:lnTo>
                <a:lnTo>
                  <a:pt x="41" y="80"/>
                </a:lnTo>
                <a:lnTo>
                  <a:pt x="126" y="71"/>
                </a:lnTo>
                <a:lnTo>
                  <a:pt x="44" y="85"/>
                </a:lnTo>
                <a:lnTo>
                  <a:pt x="79" y="97"/>
                </a:lnTo>
                <a:lnTo>
                  <a:pt x="111" y="80"/>
                </a:lnTo>
                <a:lnTo>
                  <a:pt x="165" y="76"/>
                </a:lnTo>
                <a:lnTo>
                  <a:pt x="108" y="82"/>
                </a:lnTo>
                <a:lnTo>
                  <a:pt x="94" y="97"/>
                </a:lnTo>
                <a:lnTo>
                  <a:pt x="128" y="99"/>
                </a:lnTo>
                <a:lnTo>
                  <a:pt x="164" y="83"/>
                </a:lnTo>
                <a:lnTo>
                  <a:pt x="141" y="97"/>
                </a:lnTo>
                <a:lnTo>
                  <a:pt x="165" y="97"/>
                </a:lnTo>
                <a:lnTo>
                  <a:pt x="202" y="87"/>
                </a:lnTo>
                <a:lnTo>
                  <a:pt x="197" y="75"/>
                </a:lnTo>
                <a:lnTo>
                  <a:pt x="239" y="64"/>
                </a:lnTo>
                <a:lnTo>
                  <a:pt x="210" y="87"/>
                </a:lnTo>
                <a:lnTo>
                  <a:pt x="274" y="82"/>
                </a:lnTo>
                <a:lnTo>
                  <a:pt x="143" y="105"/>
                </a:lnTo>
                <a:lnTo>
                  <a:pt x="173" y="129"/>
                </a:lnTo>
                <a:lnTo>
                  <a:pt x="198" y="129"/>
                </a:lnTo>
                <a:lnTo>
                  <a:pt x="184" y="134"/>
                </a:lnTo>
                <a:lnTo>
                  <a:pt x="133" y="109"/>
                </a:lnTo>
                <a:lnTo>
                  <a:pt x="91" y="105"/>
                </a:lnTo>
                <a:lnTo>
                  <a:pt x="89" y="116"/>
                </a:lnTo>
                <a:lnTo>
                  <a:pt x="110" y="119"/>
                </a:lnTo>
                <a:lnTo>
                  <a:pt x="90" y="123"/>
                </a:lnTo>
                <a:lnTo>
                  <a:pt x="143" y="151"/>
                </a:lnTo>
                <a:lnTo>
                  <a:pt x="120" y="152"/>
                </a:lnTo>
                <a:lnTo>
                  <a:pt x="174" y="153"/>
                </a:lnTo>
                <a:lnTo>
                  <a:pt x="144" y="160"/>
                </a:lnTo>
                <a:lnTo>
                  <a:pt x="160" y="169"/>
                </a:lnTo>
                <a:lnTo>
                  <a:pt x="112" y="156"/>
                </a:lnTo>
                <a:lnTo>
                  <a:pt x="85" y="160"/>
                </a:lnTo>
                <a:lnTo>
                  <a:pt x="74" y="183"/>
                </a:lnTo>
                <a:lnTo>
                  <a:pt x="101" y="175"/>
                </a:lnTo>
                <a:lnTo>
                  <a:pt x="96" y="184"/>
                </a:lnTo>
                <a:lnTo>
                  <a:pt x="107" y="184"/>
                </a:lnTo>
                <a:lnTo>
                  <a:pt x="122" y="167"/>
                </a:lnTo>
                <a:lnTo>
                  <a:pt x="118" y="181"/>
                </a:lnTo>
                <a:lnTo>
                  <a:pt x="131" y="182"/>
                </a:lnTo>
                <a:lnTo>
                  <a:pt x="102" y="190"/>
                </a:lnTo>
                <a:lnTo>
                  <a:pt x="120" y="190"/>
                </a:lnTo>
                <a:lnTo>
                  <a:pt x="107" y="192"/>
                </a:lnTo>
                <a:lnTo>
                  <a:pt x="118" y="202"/>
                </a:lnTo>
                <a:lnTo>
                  <a:pt x="141" y="202"/>
                </a:lnTo>
                <a:lnTo>
                  <a:pt x="160" y="187"/>
                </a:lnTo>
                <a:lnTo>
                  <a:pt x="126" y="209"/>
                </a:lnTo>
                <a:lnTo>
                  <a:pt x="90" y="191"/>
                </a:lnTo>
                <a:lnTo>
                  <a:pt x="60" y="194"/>
                </a:lnTo>
                <a:lnTo>
                  <a:pt x="86" y="216"/>
                </a:lnTo>
                <a:lnTo>
                  <a:pt x="41" y="225"/>
                </a:lnTo>
                <a:lnTo>
                  <a:pt x="48" y="240"/>
                </a:lnTo>
                <a:lnTo>
                  <a:pt x="54" y="227"/>
                </a:lnTo>
                <a:lnTo>
                  <a:pt x="55" y="240"/>
                </a:lnTo>
                <a:lnTo>
                  <a:pt x="86" y="233"/>
                </a:lnTo>
                <a:lnTo>
                  <a:pt x="108" y="246"/>
                </a:lnTo>
                <a:lnTo>
                  <a:pt x="122" y="245"/>
                </a:lnTo>
                <a:lnTo>
                  <a:pt x="112" y="234"/>
                </a:lnTo>
                <a:lnTo>
                  <a:pt x="143" y="239"/>
                </a:lnTo>
                <a:lnTo>
                  <a:pt x="141" y="229"/>
                </a:lnTo>
                <a:lnTo>
                  <a:pt x="153" y="241"/>
                </a:lnTo>
                <a:lnTo>
                  <a:pt x="161" y="236"/>
                </a:lnTo>
                <a:lnTo>
                  <a:pt x="157" y="231"/>
                </a:lnTo>
                <a:lnTo>
                  <a:pt x="181" y="236"/>
                </a:lnTo>
                <a:lnTo>
                  <a:pt x="182" y="248"/>
                </a:lnTo>
                <a:lnTo>
                  <a:pt x="226" y="236"/>
                </a:lnTo>
                <a:lnTo>
                  <a:pt x="232" y="224"/>
                </a:lnTo>
                <a:lnTo>
                  <a:pt x="213" y="227"/>
                </a:lnTo>
                <a:lnTo>
                  <a:pt x="213" y="214"/>
                </a:lnTo>
                <a:lnTo>
                  <a:pt x="165" y="213"/>
                </a:lnTo>
                <a:lnTo>
                  <a:pt x="229" y="209"/>
                </a:lnTo>
                <a:lnTo>
                  <a:pt x="238" y="200"/>
                </a:lnTo>
                <a:lnTo>
                  <a:pt x="229" y="188"/>
                </a:lnTo>
                <a:lnTo>
                  <a:pt x="266" y="190"/>
                </a:lnTo>
                <a:lnTo>
                  <a:pt x="274" y="184"/>
                </a:lnTo>
                <a:lnTo>
                  <a:pt x="250" y="181"/>
                </a:lnTo>
                <a:lnTo>
                  <a:pt x="281" y="177"/>
                </a:lnTo>
                <a:lnTo>
                  <a:pt x="260" y="172"/>
                </a:lnTo>
                <a:lnTo>
                  <a:pt x="290" y="166"/>
                </a:lnTo>
                <a:lnTo>
                  <a:pt x="287" y="159"/>
                </a:lnTo>
                <a:lnTo>
                  <a:pt x="235" y="156"/>
                </a:lnTo>
                <a:lnTo>
                  <a:pt x="264" y="148"/>
                </a:lnTo>
                <a:lnTo>
                  <a:pt x="235" y="147"/>
                </a:lnTo>
                <a:lnTo>
                  <a:pt x="290" y="152"/>
                </a:lnTo>
                <a:lnTo>
                  <a:pt x="290" y="145"/>
                </a:lnTo>
                <a:lnTo>
                  <a:pt x="234" y="141"/>
                </a:lnTo>
                <a:lnTo>
                  <a:pt x="307" y="134"/>
                </a:lnTo>
                <a:lnTo>
                  <a:pt x="287" y="125"/>
                </a:lnTo>
                <a:lnTo>
                  <a:pt x="338" y="127"/>
                </a:lnTo>
                <a:lnTo>
                  <a:pt x="354" y="116"/>
                </a:lnTo>
                <a:lnTo>
                  <a:pt x="328" y="114"/>
                </a:lnTo>
                <a:lnTo>
                  <a:pt x="361" y="111"/>
                </a:lnTo>
                <a:lnTo>
                  <a:pt x="356" y="102"/>
                </a:lnTo>
                <a:lnTo>
                  <a:pt x="372" y="104"/>
                </a:lnTo>
                <a:lnTo>
                  <a:pt x="459" y="65"/>
                </a:lnTo>
                <a:lnTo>
                  <a:pt x="364" y="79"/>
                </a:lnTo>
                <a:lnTo>
                  <a:pt x="418" y="61"/>
                </a:lnTo>
                <a:lnTo>
                  <a:pt x="383" y="63"/>
                </a:lnTo>
                <a:lnTo>
                  <a:pt x="377" y="54"/>
                </a:lnTo>
                <a:lnTo>
                  <a:pt x="436" y="58"/>
                </a:lnTo>
                <a:lnTo>
                  <a:pt x="514" y="37"/>
                </a:lnTo>
                <a:lnTo>
                  <a:pt x="512" y="27"/>
                </a:lnTo>
                <a:lnTo>
                  <a:pt x="479" y="27"/>
                </a:lnTo>
                <a:lnTo>
                  <a:pt x="472" y="9"/>
                </a:lnTo>
                <a:lnTo>
                  <a:pt x="383" y="20"/>
                </a:lnTo>
                <a:lnTo>
                  <a:pt x="422" y="6"/>
                </a:lnTo>
                <a:lnTo>
                  <a:pt x="306" y="0"/>
                </a:lnTo>
                <a:lnTo>
                  <a:pt x="295" y="8"/>
                </a:lnTo>
                <a:lnTo>
                  <a:pt x="304" y="15"/>
                </a:lnTo>
                <a:lnTo>
                  <a:pt x="281" y="3"/>
                </a:lnTo>
                <a:lnTo>
                  <a:pt x="229" y="6"/>
                </a:lnTo>
                <a:lnTo>
                  <a:pt x="267" y="22"/>
                </a:lnTo>
                <a:lnTo>
                  <a:pt x="255" y="27"/>
                </a:lnTo>
                <a:lnTo>
                  <a:pt x="235" y="9"/>
                </a:lnTo>
                <a:lnTo>
                  <a:pt x="186" y="7"/>
                </a:lnTo>
                <a:lnTo>
                  <a:pt x="197" y="16"/>
                </a:lnTo>
                <a:lnTo>
                  <a:pt x="160" y="14"/>
                </a:lnTo>
                <a:lnTo>
                  <a:pt x="180" y="24"/>
                </a:lnTo>
                <a:lnTo>
                  <a:pt x="150" y="20"/>
                </a:lnTo>
                <a:lnTo>
                  <a:pt x="158" y="24"/>
                </a:lnTo>
                <a:lnTo>
                  <a:pt x="142" y="28"/>
                </a:lnTo>
                <a:lnTo>
                  <a:pt x="180" y="45"/>
                </a:lnTo>
                <a:lnTo>
                  <a:pt x="97" y="25"/>
                </a:lnTo>
                <a:lnTo>
                  <a:pt x="78" y="37"/>
                </a:lnTo>
                <a:lnTo>
                  <a:pt x="111" y="45"/>
                </a:lnTo>
                <a:lnTo>
                  <a:pt x="55" y="39"/>
                </a:lnTo>
                <a:lnTo>
                  <a:pt x="0" y="5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3" name="Freeform 45"/>
          <p:cNvSpPr>
            <a:spLocks/>
          </p:cNvSpPr>
          <p:nvPr/>
        </p:nvSpPr>
        <p:spPr bwMode="auto">
          <a:xfrm>
            <a:off x="2220913" y="2657475"/>
            <a:ext cx="153987" cy="100013"/>
          </a:xfrm>
          <a:custGeom>
            <a:avLst/>
            <a:gdLst>
              <a:gd name="T0" fmla="*/ 0 w 112"/>
              <a:gd name="T1" fmla="*/ 2147483647 h 69"/>
              <a:gd name="T2" fmla="*/ 2147483647 w 112"/>
              <a:gd name="T3" fmla="*/ 2147483647 h 69"/>
              <a:gd name="T4" fmla="*/ 2147483647 w 112"/>
              <a:gd name="T5" fmla="*/ 0 h 69"/>
              <a:gd name="T6" fmla="*/ 2147483647 w 112"/>
              <a:gd name="T7" fmla="*/ 2147483647 h 69"/>
              <a:gd name="T8" fmla="*/ 2147483647 w 112"/>
              <a:gd name="T9" fmla="*/ 2147483647 h 69"/>
              <a:gd name="T10" fmla="*/ 2147483647 w 112"/>
              <a:gd name="T11" fmla="*/ 2147483647 h 69"/>
              <a:gd name="T12" fmla="*/ 2147483647 w 112"/>
              <a:gd name="T13" fmla="*/ 2147483647 h 69"/>
              <a:gd name="T14" fmla="*/ 2147483647 w 112"/>
              <a:gd name="T15" fmla="*/ 2147483647 h 69"/>
              <a:gd name="T16" fmla="*/ 2147483647 w 112"/>
              <a:gd name="T17" fmla="*/ 2147483647 h 69"/>
              <a:gd name="T18" fmla="*/ 2147483647 w 112"/>
              <a:gd name="T19" fmla="*/ 2147483647 h 69"/>
              <a:gd name="T20" fmla="*/ 0 w 112"/>
              <a:gd name="T21" fmla="*/ 2147483647 h 6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2"/>
              <a:gd name="T34" fmla="*/ 0 h 69"/>
              <a:gd name="T35" fmla="*/ 112 w 112"/>
              <a:gd name="T36" fmla="*/ 69 h 6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2" h="69">
                <a:moveTo>
                  <a:pt x="0" y="56"/>
                </a:moveTo>
                <a:lnTo>
                  <a:pt x="17" y="44"/>
                </a:lnTo>
                <a:lnTo>
                  <a:pt x="28" y="0"/>
                </a:lnTo>
                <a:lnTo>
                  <a:pt x="37" y="15"/>
                </a:lnTo>
                <a:lnTo>
                  <a:pt x="63" y="18"/>
                </a:lnTo>
                <a:lnTo>
                  <a:pt x="111" y="51"/>
                </a:lnTo>
                <a:lnTo>
                  <a:pt x="105" y="60"/>
                </a:lnTo>
                <a:lnTo>
                  <a:pt x="60" y="45"/>
                </a:lnTo>
                <a:lnTo>
                  <a:pt x="33" y="68"/>
                </a:lnTo>
                <a:lnTo>
                  <a:pt x="25" y="51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4" name="Freeform 46"/>
          <p:cNvSpPr>
            <a:spLocks/>
          </p:cNvSpPr>
          <p:nvPr/>
        </p:nvSpPr>
        <p:spPr bwMode="auto">
          <a:xfrm>
            <a:off x="2865438" y="3140075"/>
            <a:ext cx="157162" cy="149225"/>
          </a:xfrm>
          <a:custGeom>
            <a:avLst/>
            <a:gdLst>
              <a:gd name="T0" fmla="*/ 0 w 114"/>
              <a:gd name="T1" fmla="*/ 2147483647 h 102"/>
              <a:gd name="T2" fmla="*/ 2147483647 w 114"/>
              <a:gd name="T3" fmla="*/ 2147483647 h 102"/>
              <a:gd name="T4" fmla="*/ 2147483647 w 114"/>
              <a:gd name="T5" fmla="*/ 0 h 102"/>
              <a:gd name="T6" fmla="*/ 2147483647 w 114"/>
              <a:gd name="T7" fmla="*/ 2147483647 h 102"/>
              <a:gd name="T8" fmla="*/ 2147483647 w 114"/>
              <a:gd name="T9" fmla="*/ 2147483647 h 102"/>
              <a:gd name="T10" fmla="*/ 2147483647 w 114"/>
              <a:gd name="T11" fmla="*/ 2147483647 h 102"/>
              <a:gd name="T12" fmla="*/ 2147483647 w 114"/>
              <a:gd name="T13" fmla="*/ 2147483647 h 102"/>
              <a:gd name="T14" fmla="*/ 2147483647 w 114"/>
              <a:gd name="T15" fmla="*/ 2147483647 h 102"/>
              <a:gd name="T16" fmla="*/ 2147483647 w 114"/>
              <a:gd name="T17" fmla="*/ 2147483647 h 102"/>
              <a:gd name="T18" fmla="*/ 2147483647 w 114"/>
              <a:gd name="T19" fmla="*/ 2147483647 h 102"/>
              <a:gd name="T20" fmla="*/ 2147483647 w 114"/>
              <a:gd name="T21" fmla="*/ 2147483647 h 102"/>
              <a:gd name="T22" fmla="*/ 2147483647 w 114"/>
              <a:gd name="T23" fmla="*/ 2147483647 h 102"/>
              <a:gd name="T24" fmla="*/ 2147483647 w 114"/>
              <a:gd name="T25" fmla="*/ 2147483647 h 102"/>
              <a:gd name="T26" fmla="*/ 2147483647 w 114"/>
              <a:gd name="T27" fmla="*/ 2147483647 h 102"/>
              <a:gd name="T28" fmla="*/ 2147483647 w 114"/>
              <a:gd name="T29" fmla="*/ 2147483647 h 102"/>
              <a:gd name="T30" fmla="*/ 2147483647 w 114"/>
              <a:gd name="T31" fmla="*/ 2147483647 h 102"/>
              <a:gd name="T32" fmla="*/ 2147483647 w 114"/>
              <a:gd name="T33" fmla="*/ 2147483647 h 102"/>
              <a:gd name="T34" fmla="*/ 2147483647 w 114"/>
              <a:gd name="T35" fmla="*/ 2147483647 h 102"/>
              <a:gd name="T36" fmla="*/ 2147483647 w 114"/>
              <a:gd name="T37" fmla="*/ 2147483647 h 102"/>
              <a:gd name="T38" fmla="*/ 2147483647 w 114"/>
              <a:gd name="T39" fmla="*/ 2147483647 h 102"/>
              <a:gd name="T40" fmla="*/ 0 w 114"/>
              <a:gd name="T41" fmla="*/ 2147483647 h 10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14"/>
              <a:gd name="T64" fmla="*/ 0 h 102"/>
              <a:gd name="T65" fmla="*/ 114 w 114"/>
              <a:gd name="T66" fmla="*/ 102 h 102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14" h="102">
                <a:moveTo>
                  <a:pt x="0" y="80"/>
                </a:moveTo>
                <a:lnTo>
                  <a:pt x="46" y="7"/>
                </a:lnTo>
                <a:lnTo>
                  <a:pt x="65" y="0"/>
                </a:lnTo>
                <a:lnTo>
                  <a:pt x="45" y="41"/>
                </a:lnTo>
                <a:lnTo>
                  <a:pt x="56" y="31"/>
                </a:lnTo>
                <a:lnTo>
                  <a:pt x="68" y="49"/>
                </a:lnTo>
                <a:lnTo>
                  <a:pt x="99" y="49"/>
                </a:lnTo>
                <a:lnTo>
                  <a:pt x="91" y="64"/>
                </a:lnTo>
                <a:lnTo>
                  <a:pt x="107" y="64"/>
                </a:lnTo>
                <a:lnTo>
                  <a:pt x="94" y="78"/>
                </a:lnTo>
                <a:lnTo>
                  <a:pt x="109" y="71"/>
                </a:lnTo>
                <a:lnTo>
                  <a:pt x="113" y="87"/>
                </a:lnTo>
                <a:lnTo>
                  <a:pt x="101" y="101"/>
                </a:lnTo>
                <a:lnTo>
                  <a:pt x="97" y="92"/>
                </a:lnTo>
                <a:lnTo>
                  <a:pt x="89" y="96"/>
                </a:lnTo>
                <a:lnTo>
                  <a:pt x="89" y="78"/>
                </a:lnTo>
                <a:lnTo>
                  <a:pt x="63" y="96"/>
                </a:lnTo>
                <a:lnTo>
                  <a:pt x="77" y="84"/>
                </a:lnTo>
                <a:lnTo>
                  <a:pt x="56" y="85"/>
                </a:lnTo>
                <a:lnTo>
                  <a:pt x="62" y="78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5" name="Freeform 47"/>
          <p:cNvSpPr>
            <a:spLocks/>
          </p:cNvSpPr>
          <p:nvPr/>
        </p:nvSpPr>
        <p:spPr bwMode="auto">
          <a:xfrm>
            <a:off x="4573588" y="4189413"/>
            <a:ext cx="304800" cy="192087"/>
          </a:xfrm>
          <a:custGeom>
            <a:avLst/>
            <a:gdLst>
              <a:gd name="T0" fmla="*/ 0 w 222"/>
              <a:gd name="T1" fmla="*/ 2147483647 h 131"/>
              <a:gd name="T2" fmla="*/ 2147483647 w 222"/>
              <a:gd name="T3" fmla="*/ 2147483647 h 131"/>
              <a:gd name="T4" fmla="*/ 2147483647 w 222"/>
              <a:gd name="T5" fmla="*/ 2147483647 h 131"/>
              <a:gd name="T6" fmla="*/ 2147483647 w 222"/>
              <a:gd name="T7" fmla="*/ 2147483647 h 131"/>
              <a:gd name="T8" fmla="*/ 2147483647 w 222"/>
              <a:gd name="T9" fmla="*/ 2147483647 h 131"/>
              <a:gd name="T10" fmla="*/ 2147483647 w 222"/>
              <a:gd name="T11" fmla="*/ 0 h 131"/>
              <a:gd name="T12" fmla="*/ 2147483647 w 222"/>
              <a:gd name="T13" fmla="*/ 2147483647 h 131"/>
              <a:gd name="T14" fmla="*/ 2147483647 w 222"/>
              <a:gd name="T15" fmla="*/ 2147483647 h 131"/>
              <a:gd name="T16" fmla="*/ 2147483647 w 222"/>
              <a:gd name="T17" fmla="*/ 2147483647 h 131"/>
              <a:gd name="T18" fmla="*/ 2147483647 w 222"/>
              <a:gd name="T19" fmla="*/ 2147483647 h 131"/>
              <a:gd name="T20" fmla="*/ 2147483647 w 222"/>
              <a:gd name="T21" fmla="*/ 2147483647 h 131"/>
              <a:gd name="T22" fmla="*/ 2147483647 w 222"/>
              <a:gd name="T23" fmla="*/ 2147483647 h 131"/>
              <a:gd name="T24" fmla="*/ 2147483647 w 222"/>
              <a:gd name="T25" fmla="*/ 2147483647 h 131"/>
              <a:gd name="T26" fmla="*/ 2147483647 w 222"/>
              <a:gd name="T27" fmla="*/ 2147483647 h 131"/>
              <a:gd name="T28" fmla="*/ 0 w 222"/>
              <a:gd name="T29" fmla="*/ 2147483647 h 1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22"/>
              <a:gd name="T46" fmla="*/ 0 h 131"/>
              <a:gd name="T47" fmla="*/ 222 w 222"/>
              <a:gd name="T48" fmla="*/ 131 h 13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22" h="131">
                <a:moveTo>
                  <a:pt x="0" y="99"/>
                </a:moveTo>
                <a:lnTo>
                  <a:pt x="15" y="58"/>
                </a:lnTo>
                <a:lnTo>
                  <a:pt x="71" y="48"/>
                </a:lnTo>
                <a:lnTo>
                  <a:pt x="76" y="34"/>
                </a:lnTo>
                <a:lnTo>
                  <a:pt x="102" y="30"/>
                </a:lnTo>
                <a:lnTo>
                  <a:pt x="139" y="0"/>
                </a:lnTo>
                <a:lnTo>
                  <a:pt x="153" y="34"/>
                </a:lnTo>
                <a:lnTo>
                  <a:pt x="181" y="48"/>
                </a:lnTo>
                <a:lnTo>
                  <a:pt x="221" y="93"/>
                </a:lnTo>
                <a:lnTo>
                  <a:pt x="120" y="107"/>
                </a:lnTo>
                <a:lnTo>
                  <a:pt x="86" y="93"/>
                </a:lnTo>
                <a:lnTo>
                  <a:pt x="71" y="116"/>
                </a:lnTo>
                <a:lnTo>
                  <a:pt x="42" y="117"/>
                </a:lnTo>
                <a:lnTo>
                  <a:pt x="27" y="130"/>
                </a:lnTo>
                <a:lnTo>
                  <a:pt x="0" y="9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6" name="Freeform 48"/>
          <p:cNvSpPr>
            <a:spLocks/>
          </p:cNvSpPr>
          <p:nvPr/>
        </p:nvSpPr>
        <p:spPr bwMode="auto">
          <a:xfrm>
            <a:off x="6086475" y="4219575"/>
            <a:ext cx="44450" cy="85725"/>
          </a:xfrm>
          <a:custGeom>
            <a:avLst/>
            <a:gdLst>
              <a:gd name="T0" fmla="*/ 0 w 33"/>
              <a:gd name="T1" fmla="*/ 0 h 58"/>
              <a:gd name="T2" fmla="*/ 2147483647 w 33"/>
              <a:gd name="T3" fmla="*/ 2147483647 h 58"/>
              <a:gd name="T4" fmla="*/ 2147483647 w 33"/>
              <a:gd name="T5" fmla="*/ 2147483647 h 58"/>
              <a:gd name="T6" fmla="*/ 2147483647 w 33"/>
              <a:gd name="T7" fmla="*/ 2147483647 h 58"/>
              <a:gd name="T8" fmla="*/ 0 w 33"/>
              <a:gd name="T9" fmla="*/ 0 h 5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58"/>
              <a:gd name="T17" fmla="*/ 33 w 33"/>
              <a:gd name="T18" fmla="*/ 58 h 5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58">
                <a:moveTo>
                  <a:pt x="0" y="0"/>
                </a:moveTo>
                <a:lnTo>
                  <a:pt x="6" y="57"/>
                </a:lnTo>
                <a:lnTo>
                  <a:pt x="32" y="47"/>
                </a:lnTo>
                <a:lnTo>
                  <a:pt x="18" y="13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7" name="Freeform 49"/>
          <p:cNvSpPr>
            <a:spLocks/>
          </p:cNvSpPr>
          <p:nvPr/>
        </p:nvSpPr>
        <p:spPr bwMode="auto">
          <a:xfrm>
            <a:off x="4549775" y="3897313"/>
            <a:ext cx="247650" cy="377825"/>
          </a:xfrm>
          <a:custGeom>
            <a:avLst/>
            <a:gdLst>
              <a:gd name="T0" fmla="*/ 0 w 180"/>
              <a:gd name="T1" fmla="*/ 2147483647 h 259"/>
              <a:gd name="T2" fmla="*/ 2147483647 w 180"/>
              <a:gd name="T3" fmla="*/ 2147483647 h 259"/>
              <a:gd name="T4" fmla="*/ 2147483647 w 180"/>
              <a:gd name="T5" fmla="*/ 2147483647 h 259"/>
              <a:gd name="T6" fmla="*/ 2147483647 w 180"/>
              <a:gd name="T7" fmla="*/ 2147483647 h 259"/>
              <a:gd name="T8" fmla="*/ 2147483647 w 180"/>
              <a:gd name="T9" fmla="*/ 2147483647 h 259"/>
              <a:gd name="T10" fmla="*/ 2147483647 w 180"/>
              <a:gd name="T11" fmla="*/ 2147483647 h 259"/>
              <a:gd name="T12" fmla="*/ 2147483647 w 180"/>
              <a:gd name="T13" fmla="*/ 2147483647 h 259"/>
              <a:gd name="T14" fmla="*/ 2147483647 w 180"/>
              <a:gd name="T15" fmla="*/ 2147483647 h 259"/>
              <a:gd name="T16" fmla="*/ 2147483647 w 180"/>
              <a:gd name="T17" fmla="*/ 2147483647 h 259"/>
              <a:gd name="T18" fmla="*/ 2147483647 w 180"/>
              <a:gd name="T19" fmla="*/ 2147483647 h 259"/>
              <a:gd name="T20" fmla="*/ 2147483647 w 180"/>
              <a:gd name="T21" fmla="*/ 2147483647 h 259"/>
              <a:gd name="T22" fmla="*/ 2147483647 w 180"/>
              <a:gd name="T23" fmla="*/ 2147483647 h 259"/>
              <a:gd name="T24" fmla="*/ 2147483647 w 180"/>
              <a:gd name="T25" fmla="*/ 2147483647 h 259"/>
              <a:gd name="T26" fmla="*/ 2147483647 w 180"/>
              <a:gd name="T27" fmla="*/ 2147483647 h 259"/>
              <a:gd name="T28" fmla="*/ 2147483647 w 180"/>
              <a:gd name="T29" fmla="*/ 0 h 259"/>
              <a:gd name="T30" fmla="*/ 2147483647 w 180"/>
              <a:gd name="T31" fmla="*/ 2147483647 h 259"/>
              <a:gd name="T32" fmla="*/ 2147483647 w 180"/>
              <a:gd name="T33" fmla="*/ 2147483647 h 259"/>
              <a:gd name="T34" fmla="*/ 2147483647 w 180"/>
              <a:gd name="T35" fmla="*/ 2147483647 h 259"/>
              <a:gd name="T36" fmla="*/ 2147483647 w 180"/>
              <a:gd name="T37" fmla="*/ 2147483647 h 259"/>
              <a:gd name="T38" fmla="*/ 0 w 180"/>
              <a:gd name="T39" fmla="*/ 2147483647 h 25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80"/>
              <a:gd name="T61" fmla="*/ 0 h 259"/>
              <a:gd name="T62" fmla="*/ 180 w 180"/>
              <a:gd name="T63" fmla="*/ 259 h 25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80" h="259">
                <a:moveTo>
                  <a:pt x="0" y="149"/>
                </a:moveTo>
                <a:lnTo>
                  <a:pt x="27" y="162"/>
                </a:lnTo>
                <a:lnTo>
                  <a:pt x="20" y="172"/>
                </a:lnTo>
                <a:lnTo>
                  <a:pt x="32" y="216"/>
                </a:lnTo>
                <a:lnTo>
                  <a:pt x="11" y="223"/>
                </a:lnTo>
                <a:lnTo>
                  <a:pt x="33" y="258"/>
                </a:lnTo>
                <a:lnTo>
                  <a:pt x="88" y="248"/>
                </a:lnTo>
                <a:lnTo>
                  <a:pt x="93" y="234"/>
                </a:lnTo>
                <a:lnTo>
                  <a:pt x="119" y="230"/>
                </a:lnTo>
                <a:lnTo>
                  <a:pt x="156" y="200"/>
                </a:lnTo>
                <a:lnTo>
                  <a:pt x="142" y="170"/>
                </a:lnTo>
                <a:lnTo>
                  <a:pt x="162" y="127"/>
                </a:lnTo>
                <a:lnTo>
                  <a:pt x="178" y="124"/>
                </a:lnTo>
                <a:lnTo>
                  <a:pt x="179" y="65"/>
                </a:lnTo>
                <a:lnTo>
                  <a:pt x="44" y="0"/>
                </a:lnTo>
                <a:lnTo>
                  <a:pt x="27" y="7"/>
                </a:lnTo>
                <a:lnTo>
                  <a:pt x="27" y="30"/>
                </a:lnTo>
                <a:lnTo>
                  <a:pt x="44" y="49"/>
                </a:lnTo>
                <a:lnTo>
                  <a:pt x="33" y="106"/>
                </a:lnTo>
                <a:lnTo>
                  <a:pt x="0" y="14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8" name="Freeform 50"/>
          <p:cNvSpPr>
            <a:spLocks/>
          </p:cNvSpPr>
          <p:nvPr/>
        </p:nvSpPr>
        <p:spPr bwMode="auto">
          <a:xfrm>
            <a:off x="2490788" y="4851400"/>
            <a:ext cx="195262" cy="968375"/>
          </a:xfrm>
          <a:custGeom>
            <a:avLst/>
            <a:gdLst>
              <a:gd name="T0" fmla="*/ 0 w 142"/>
              <a:gd name="T1" fmla="*/ 2147483647 h 662"/>
              <a:gd name="T2" fmla="*/ 2147483647 w 142"/>
              <a:gd name="T3" fmla="*/ 2147483647 h 662"/>
              <a:gd name="T4" fmla="*/ 2147483647 w 142"/>
              <a:gd name="T5" fmla="*/ 2147483647 h 662"/>
              <a:gd name="T6" fmla="*/ 2147483647 w 142"/>
              <a:gd name="T7" fmla="*/ 2147483647 h 662"/>
              <a:gd name="T8" fmla="*/ 2147483647 w 142"/>
              <a:gd name="T9" fmla="*/ 2147483647 h 662"/>
              <a:gd name="T10" fmla="*/ 2147483647 w 142"/>
              <a:gd name="T11" fmla="*/ 2147483647 h 662"/>
              <a:gd name="T12" fmla="*/ 2147483647 w 142"/>
              <a:gd name="T13" fmla="*/ 2147483647 h 662"/>
              <a:gd name="T14" fmla="*/ 2147483647 w 142"/>
              <a:gd name="T15" fmla="*/ 2147483647 h 662"/>
              <a:gd name="T16" fmla="*/ 2147483647 w 142"/>
              <a:gd name="T17" fmla="*/ 2147483647 h 662"/>
              <a:gd name="T18" fmla="*/ 2147483647 w 142"/>
              <a:gd name="T19" fmla="*/ 2147483647 h 662"/>
              <a:gd name="T20" fmla="*/ 2147483647 w 142"/>
              <a:gd name="T21" fmla="*/ 2147483647 h 662"/>
              <a:gd name="T22" fmla="*/ 2147483647 w 142"/>
              <a:gd name="T23" fmla="*/ 2147483647 h 662"/>
              <a:gd name="T24" fmla="*/ 2147483647 w 142"/>
              <a:gd name="T25" fmla="*/ 0 h 662"/>
              <a:gd name="T26" fmla="*/ 2147483647 w 142"/>
              <a:gd name="T27" fmla="*/ 2147483647 h 662"/>
              <a:gd name="T28" fmla="*/ 2147483647 w 142"/>
              <a:gd name="T29" fmla="*/ 2147483647 h 662"/>
              <a:gd name="T30" fmla="*/ 2147483647 w 142"/>
              <a:gd name="T31" fmla="*/ 2147483647 h 662"/>
              <a:gd name="T32" fmla="*/ 2147483647 w 142"/>
              <a:gd name="T33" fmla="*/ 2147483647 h 662"/>
              <a:gd name="T34" fmla="*/ 2147483647 w 142"/>
              <a:gd name="T35" fmla="*/ 2147483647 h 662"/>
              <a:gd name="T36" fmla="*/ 2147483647 w 142"/>
              <a:gd name="T37" fmla="*/ 2147483647 h 662"/>
              <a:gd name="T38" fmla="*/ 2147483647 w 142"/>
              <a:gd name="T39" fmla="*/ 2147483647 h 662"/>
              <a:gd name="T40" fmla="*/ 2147483647 w 142"/>
              <a:gd name="T41" fmla="*/ 2147483647 h 662"/>
              <a:gd name="T42" fmla="*/ 2147483647 w 142"/>
              <a:gd name="T43" fmla="*/ 2147483647 h 662"/>
              <a:gd name="T44" fmla="*/ 2147483647 w 142"/>
              <a:gd name="T45" fmla="*/ 2147483647 h 662"/>
              <a:gd name="T46" fmla="*/ 2147483647 w 142"/>
              <a:gd name="T47" fmla="*/ 2147483647 h 662"/>
              <a:gd name="T48" fmla="*/ 2147483647 w 142"/>
              <a:gd name="T49" fmla="*/ 2147483647 h 662"/>
              <a:gd name="T50" fmla="*/ 2147483647 w 142"/>
              <a:gd name="T51" fmla="*/ 2147483647 h 662"/>
              <a:gd name="T52" fmla="*/ 2147483647 w 142"/>
              <a:gd name="T53" fmla="*/ 2147483647 h 662"/>
              <a:gd name="T54" fmla="*/ 2147483647 w 142"/>
              <a:gd name="T55" fmla="*/ 2147483647 h 662"/>
              <a:gd name="T56" fmla="*/ 2147483647 w 142"/>
              <a:gd name="T57" fmla="*/ 2147483647 h 662"/>
              <a:gd name="T58" fmla="*/ 2147483647 w 142"/>
              <a:gd name="T59" fmla="*/ 2147483647 h 662"/>
              <a:gd name="T60" fmla="*/ 2147483647 w 142"/>
              <a:gd name="T61" fmla="*/ 2147483647 h 662"/>
              <a:gd name="T62" fmla="*/ 2147483647 w 142"/>
              <a:gd name="T63" fmla="*/ 2147483647 h 662"/>
              <a:gd name="T64" fmla="*/ 2147483647 w 142"/>
              <a:gd name="T65" fmla="*/ 2147483647 h 662"/>
              <a:gd name="T66" fmla="*/ 2147483647 w 142"/>
              <a:gd name="T67" fmla="*/ 2147483647 h 662"/>
              <a:gd name="T68" fmla="*/ 2147483647 w 142"/>
              <a:gd name="T69" fmla="*/ 2147483647 h 662"/>
              <a:gd name="T70" fmla="*/ 2147483647 w 142"/>
              <a:gd name="T71" fmla="*/ 2147483647 h 662"/>
              <a:gd name="T72" fmla="*/ 2147483647 w 142"/>
              <a:gd name="T73" fmla="*/ 2147483647 h 662"/>
              <a:gd name="T74" fmla="*/ 2147483647 w 142"/>
              <a:gd name="T75" fmla="*/ 2147483647 h 662"/>
              <a:gd name="T76" fmla="*/ 2147483647 w 142"/>
              <a:gd name="T77" fmla="*/ 2147483647 h 662"/>
              <a:gd name="T78" fmla="*/ 2147483647 w 142"/>
              <a:gd name="T79" fmla="*/ 2147483647 h 662"/>
              <a:gd name="T80" fmla="*/ 2147483647 w 142"/>
              <a:gd name="T81" fmla="*/ 2147483647 h 662"/>
              <a:gd name="T82" fmla="*/ 2147483647 w 142"/>
              <a:gd name="T83" fmla="*/ 2147483647 h 662"/>
              <a:gd name="T84" fmla="*/ 2147483647 w 142"/>
              <a:gd name="T85" fmla="*/ 2147483647 h 662"/>
              <a:gd name="T86" fmla="*/ 2147483647 w 142"/>
              <a:gd name="T87" fmla="*/ 2147483647 h 662"/>
              <a:gd name="T88" fmla="*/ 2147483647 w 142"/>
              <a:gd name="T89" fmla="*/ 2147483647 h 662"/>
              <a:gd name="T90" fmla="*/ 2147483647 w 142"/>
              <a:gd name="T91" fmla="*/ 2147483647 h 662"/>
              <a:gd name="T92" fmla="*/ 2147483647 w 142"/>
              <a:gd name="T93" fmla="*/ 2147483647 h 662"/>
              <a:gd name="T94" fmla="*/ 0 w 142"/>
              <a:gd name="T95" fmla="*/ 2147483647 h 66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42"/>
              <a:gd name="T145" fmla="*/ 0 h 662"/>
              <a:gd name="T146" fmla="*/ 142 w 142"/>
              <a:gd name="T147" fmla="*/ 662 h 66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42" h="662">
                <a:moveTo>
                  <a:pt x="0" y="516"/>
                </a:moveTo>
                <a:lnTo>
                  <a:pt x="12" y="498"/>
                </a:lnTo>
                <a:lnTo>
                  <a:pt x="30" y="510"/>
                </a:lnTo>
                <a:lnTo>
                  <a:pt x="49" y="476"/>
                </a:lnTo>
                <a:lnTo>
                  <a:pt x="40" y="464"/>
                </a:lnTo>
                <a:lnTo>
                  <a:pt x="55" y="416"/>
                </a:lnTo>
                <a:lnTo>
                  <a:pt x="30" y="412"/>
                </a:lnTo>
                <a:lnTo>
                  <a:pt x="34" y="337"/>
                </a:lnTo>
                <a:lnTo>
                  <a:pt x="67" y="258"/>
                </a:lnTo>
                <a:lnTo>
                  <a:pt x="67" y="192"/>
                </a:lnTo>
                <a:lnTo>
                  <a:pt x="91" y="66"/>
                </a:lnTo>
                <a:lnTo>
                  <a:pt x="85" y="9"/>
                </a:lnTo>
                <a:lnTo>
                  <a:pt x="102" y="0"/>
                </a:lnTo>
                <a:lnTo>
                  <a:pt x="119" y="28"/>
                </a:lnTo>
                <a:lnTo>
                  <a:pt x="129" y="87"/>
                </a:lnTo>
                <a:lnTo>
                  <a:pt x="141" y="87"/>
                </a:lnTo>
                <a:lnTo>
                  <a:pt x="141" y="106"/>
                </a:lnTo>
                <a:lnTo>
                  <a:pt x="121" y="115"/>
                </a:lnTo>
                <a:lnTo>
                  <a:pt x="122" y="155"/>
                </a:lnTo>
                <a:lnTo>
                  <a:pt x="102" y="175"/>
                </a:lnTo>
                <a:lnTo>
                  <a:pt x="86" y="230"/>
                </a:lnTo>
                <a:lnTo>
                  <a:pt x="96" y="279"/>
                </a:lnTo>
                <a:lnTo>
                  <a:pt x="75" y="325"/>
                </a:lnTo>
                <a:lnTo>
                  <a:pt x="60" y="432"/>
                </a:lnTo>
                <a:lnTo>
                  <a:pt x="72" y="474"/>
                </a:lnTo>
                <a:lnTo>
                  <a:pt x="60" y="476"/>
                </a:lnTo>
                <a:lnTo>
                  <a:pt x="66" y="512"/>
                </a:lnTo>
                <a:lnTo>
                  <a:pt x="37" y="584"/>
                </a:lnTo>
                <a:lnTo>
                  <a:pt x="39" y="597"/>
                </a:lnTo>
                <a:lnTo>
                  <a:pt x="55" y="595"/>
                </a:lnTo>
                <a:lnTo>
                  <a:pt x="60" y="622"/>
                </a:lnTo>
                <a:lnTo>
                  <a:pt x="122" y="627"/>
                </a:lnTo>
                <a:lnTo>
                  <a:pt x="80" y="638"/>
                </a:lnTo>
                <a:lnTo>
                  <a:pt x="75" y="661"/>
                </a:lnTo>
                <a:lnTo>
                  <a:pt x="57" y="654"/>
                </a:lnTo>
                <a:lnTo>
                  <a:pt x="76" y="640"/>
                </a:lnTo>
                <a:lnTo>
                  <a:pt x="47" y="633"/>
                </a:lnTo>
                <a:lnTo>
                  <a:pt x="45" y="611"/>
                </a:lnTo>
                <a:lnTo>
                  <a:pt x="35" y="623"/>
                </a:lnTo>
                <a:lnTo>
                  <a:pt x="25" y="599"/>
                </a:lnTo>
                <a:lnTo>
                  <a:pt x="31" y="595"/>
                </a:lnTo>
                <a:lnTo>
                  <a:pt x="17" y="583"/>
                </a:lnTo>
                <a:lnTo>
                  <a:pt x="30" y="572"/>
                </a:lnTo>
                <a:lnTo>
                  <a:pt x="17" y="539"/>
                </a:lnTo>
                <a:lnTo>
                  <a:pt x="37" y="544"/>
                </a:lnTo>
                <a:lnTo>
                  <a:pt x="17" y="527"/>
                </a:lnTo>
                <a:lnTo>
                  <a:pt x="21" y="515"/>
                </a:lnTo>
                <a:lnTo>
                  <a:pt x="0" y="51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59" name="Freeform 51"/>
          <p:cNvSpPr>
            <a:spLocks/>
          </p:cNvSpPr>
          <p:nvPr/>
        </p:nvSpPr>
        <p:spPr bwMode="auto">
          <a:xfrm>
            <a:off x="2498725" y="5661025"/>
            <a:ext cx="19050" cy="38100"/>
          </a:xfrm>
          <a:custGeom>
            <a:avLst/>
            <a:gdLst>
              <a:gd name="T0" fmla="*/ 0 w 14"/>
              <a:gd name="T1" fmla="*/ 2147483647 h 26"/>
              <a:gd name="T2" fmla="*/ 2147483647 w 14"/>
              <a:gd name="T3" fmla="*/ 0 h 26"/>
              <a:gd name="T4" fmla="*/ 2147483647 w 14"/>
              <a:gd name="T5" fmla="*/ 2147483647 h 26"/>
              <a:gd name="T6" fmla="*/ 0 w 14"/>
              <a:gd name="T7" fmla="*/ 2147483647 h 26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26"/>
              <a:gd name="T14" fmla="*/ 14 w 14"/>
              <a:gd name="T15" fmla="*/ 26 h 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26">
                <a:moveTo>
                  <a:pt x="0" y="13"/>
                </a:moveTo>
                <a:lnTo>
                  <a:pt x="7" y="0"/>
                </a:lnTo>
                <a:lnTo>
                  <a:pt x="13" y="25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0" name="Freeform 52"/>
          <p:cNvSpPr>
            <a:spLocks/>
          </p:cNvSpPr>
          <p:nvPr/>
        </p:nvSpPr>
        <p:spPr bwMode="auto">
          <a:xfrm>
            <a:off x="2517775" y="5462588"/>
            <a:ext cx="14288" cy="49212"/>
          </a:xfrm>
          <a:custGeom>
            <a:avLst/>
            <a:gdLst>
              <a:gd name="T0" fmla="*/ 0 w 11"/>
              <a:gd name="T1" fmla="*/ 2147483647 h 33"/>
              <a:gd name="T2" fmla="*/ 2147483647 w 11"/>
              <a:gd name="T3" fmla="*/ 0 h 33"/>
              <a:gd name="T4" fmla="*/ 2147483647 w 11"/>
              <a:gd name="T5" fmla="*/ 2147483647 h 33"/>
              <a:gd name="T6" fmla="*/ 0 w 11"/>
              <a:gd name="T7" fmla="*/ 2147483647 h 33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33"/>
              <a:gd name="T14" fmla="*/ 11 w 11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33">
                <a:moveTo>
                  <a:pt x="0" y="26"/>
                </a:moveTo>
                <a:lnTo>
                  <a:pt x="10" y="0"/>
                </a:lnTo>
                <a:lnTo>
                  <a:pt x="10" y="32"/>
                </a:lnTo>
                <a:lnTo>
                  <a:pt x="0" y="2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1" name="Freeform 53"/>
          <p:cNvSpPr>
            <a:spLocks/>
          </p:cNvSpPr>
          <p:nvPr/>
        </p:nvSpPr>
        <p:spPr bwMode="auto">
          <a:xfrm>
            <a:off x="2536825" y="5805488"/>
            <a:ext cx="28575" cy="20637"/>
          </a:xfrm>
          <a:custGeom>
            <a:avLst/>
            <a:gdLst>
              <a:gd name="T0" fmla="*/ 0 w 21"/>
              <a:gd name="T1" fmla="*/ 0 h 14"/>
              <a:gd name="T2" fmla="*/ 2147483647 w 21"/>
              <a:gd name="T3" fmla="*/ 2147483647 h 14"/>
              <a:gd name="T4" fmla="*/ 2147483647 w 21"/>
              <a:gd name="T5" fmla="*/ 2147483647 h 14"/>
              <a:gd name="T6" fmla="*/ 0 w 21"/>
              <a:gd name="T7" fmla="*/ 0 h 14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14"/>
              <a:gd name="T14" fmla="*/ 21 w 21"/>
              <a:gd name="T15" fmla="*/ 14 h 1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14">
                <a:moveTo>
                  <a:pt x="0" y="0"/>
                </a:moveTo>
                <a:lnTo>
                  <a:pt x="19" y="3"/>
                </a:lnTo>
                <a:lnTo>
                  <a:pt x="20" y="13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2" name="Freeform 54"/>
          <p:cNvSpPr>
            <a:spLocks/>
          </p:cNvSpPr>
          <p:nvPr/>
        </p:nvSpPr>
        <p:spPr bwMode="auto">
          <a:xfrm>
            <a:off x="2538413" y="5759450"/>
            <a:ext cx="50800" cy="49213"/>
          </a:xfrm>
          <a:custGeom>
            <a:avLst/>
            <a:gdLst>
              <a:gd name="T0" fmla="*/ 0 w 37"/>
              <a:gd name="T1" fmla="*/ 2147483647 h 33"/>
              <a:gd name="T2" fmla="*/ 2147483647 w 37"/>
              <a:gd name="T3" fmla="*/ 0 h 33"/>
              <a:gd name="T4" fmla="*/ 2147483647 w 37"/>
              <a:gd name="T5" fmla="*/ 2147483647 h 33"/>
              <a:gd name="T6" fmla="*/ 2147483647 w 37"/>
              <a:gd name="T7" fmla="*/ 2147483647 h 33"/>
              <a:gd name="T8" fmla="*/ 2147483647 w 37"/>
              <a:gd name="T9" fmla="*/ 2147483647 h 33"/>
              <a:gd name="T10" fmla="*/ 0 w 37"/>
              <a:gd name="T11" fmla="*/ 2147483647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7"/>
              <a:gd name="T19" fmla="*/ 0 h 33"/>
              <a:gd name="T20" fmla="*/ 37 w 37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7" h="33">
                <a:moveTo>
                  <a:pt x="0" y="5"/>
                </a:moveTo>
                <a:lnTo>
                  <a:pt x="11" y="0"/>
                </a:lnTo>
                <a:lnTo>
                  <a:pt x="11" y="14"/>
                </a:lnTo>
                <a:lnTo>
                  <a:pt x="36" y="20"/>
                </a:lnTo>
                <a:lnTo>
                  <a:pt x="19" y="32"/>
                </a:lnTo>
                <a:lnTo>
                  <a:pt x="0" y="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3" name="Freeform 55"/>
          <p:cNvSpPr>
            <a:spLocks/>
          </p:cNvSpPr>
          <p:nvPr/>
        </p:nvSpPr>
        <p:spPr bwMode="auto">
          <a:xfrm>
            <a:off x="2574925" y="5821363"/>
            <a:ext cx="23813" cy="11112"/>
          </a:xfrm>
          <a:custGeom>
            <a:avLst/>
            <a:gdLst>
              <a:gd name="T0" fmla="*/ 0 w 17"/>
              <a:gd name="T1" fmla="*/ 2147483647 h 8"/>
              <a:gd name="T2" fmla="*/ 2147483647 w 17"/>
              <a:gd name="T3" fmla="*/ 0 h 8"/>
              <a:gd name="T4" fmla="*/ 2147483647 w 17"/>
              <a:gd name="T5" fmla="*/ 2147483647 h 8"/>
              <a:gd name="T6" fmla="*/ 0 w 17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8"/>
              <a:gd name="T14" fmla="*/ 17 w 17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8">
                <a:moveTo>
                  <a:pt x="0" y="4"/>
                </a:moveTo>
                <a:lnTo>
                  <a:pt x="5" y="0"/>
                </a:lnTo>
                <a:lnTo>
                  <a:pt x="16" y="7"/>
                </a:lnTo>
                <a:lnTo>
                  <a:pt x="0" y="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4" name="Freeform 56"/>
          <p:cNvSpPr>
            <a:spLocks/>
          </p:cNvSpPr>
          <p:nvPr/>
        </p:nvSpPr>
        <p:spPr bwMode="auto">
          <a:xfrm>
            <a:off x="2589213" y="5780088"/>
            <a:ext cx="65087" cy="69850"/>
          </a:xfrm>
          <a:custGeom>
            <a:avLst/>
            <a:gdLst>
              <a:gd name="T0" fmla="*/ 0 w 47"/>
              <a:gd name="T1" fmla="*/ 2147483647 h 48"/>
              <a:gd name="T2" fmla="*/ 2147483647 w 47"/>
              <a:gd name="T3" fmla="*/ 2147483647 h 48"/>
              <a:gd name="T4" fmla="*/ 2147483647 w 47"/>
              <a:gd name="T5" fmla="*/ 2147483647 h 48"/>
              <a:gd name="T6" fmla="*/ 2147483647 w 47"/>
              <a:gd name="T7" fmla="*/ 2147483647 h 48"/>
              <a:gd name="T8" fmla="*/ 2147483647 w 47"/>
              <a:gd name="T9" fmla="*/ 2147483647 h 48"/>
              <a:gd name="T10" fmla="*/ 2147483647 w 47"/>
              <a:gd name="T11" fmla="*/ 2147483647 h 48"/>
              <a:gd name="T12" fmla="*/ 2147483647 w 47"/>
              <a:gd name="T13" fmla="*/ 2147483647 h 48"/>
              <a:gd name="T14" fmla="*/ 2147483647 w 47"/>
              <a:gd name="T15" fmla="*/ 0 h 48"/>
              <a:gd name="T16" fmla="*/ 2147483647 w 47"/>
              <a:gd name="T17" fmla="*/ 2147483647 h 48"/>
              <a:gd name="T18" fmla="*/ 0 w 47"/>
              <a:gd name="T19" fmla="*/ 2147483647 h 4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7"/>
              <a:gd name="T31" fmla="*/ 0 h 48"/>
              <a:gd name="T32" fmla="*/ 47 w 47"/>
              <a:gd name="T33" fmla="*/ 48 h 4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7" h="48">
                <a:moveTo>
                  <a:pt x="0" y="39"/>
                </a:moveTo>
                <a:lnTo>
                  <a:pt x="7" y="31"/>
                </a:lnTo>
                <a:lnTo>
                  <a:pt x="34" y="36"/>
                </a:lnTo>
                <a:lnTo>
                  <a:pt x="20" y="24"/>
                </a:lnTo>
                <a:lnTo>
                  <a:pt x="34" y="16"/>
                </a:lnTo>
                <a:lnTo>
                  <a:pt x="15" y="14"/>
                </a:lnTo>
                <a:lnTo>
                  <a:pt x="15" y="2"/>
                </a:lnTo>
                <a:lnTo>
                  <a:pt x="44" y="0"/>
                </a:lnTo>
                <a:lnTo>
                  <a:pt x="46" y="47"/>
                </a:lnTo>
                <a:lnTo>
                  <a:pt x="0" y="3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5" name="Freeform 57"/>
          <p:cNvSpPr>
            <a:spLocks/>
          </p:cNvSpPr>
          <p:nvPr/>
        </p:nvSpPr>
        <p:spPr bwMode="auto">
          <a:xfrm>
            <a:off x="2620963" y="5862638"/>
            <a:ext cx="52387" cy="14287"/>
          </a:xfrm>
          <a:custGeom>
            <a:avLst/>
            <a:gdLst>
              <a:gd name="T0" fmla="*/ 0 w 38"/>
              <a:gd name="T1" fmla="*/ 0 h 10"/>
              <a:gd name="T2" fmla="*/ 2147483647 w 38"/>
              <a:gd name="T3" fmla="*/ 2147483647 h 10"/>
              <a:gd name="T4" fmla="*/ 2147483647 w 38"/>
              <a:gd name="T5" fmla="*/ 2147483647 h 10"/>
              <a:gd name="T6" fmla="*/ 0 w 38"/>
              <a:gd name="T7" fmla="*/ 0 h 10"/>
              <a:gd name="T8" fmla="*/ 0 60000 65536"/>
              <a:gd name="T9" fmla="*/ 0 60000 65536"/>
              <a:gd name="T10" fmla="*/ 0 60000 65536"/>
              <a:gd name="T11" fmla="*/ 0 60000 65536"/>
              <a:gd name="T12" fmla="*/ 0 w 38"/>
              <a:gd name="T13" fmla="*/ 0 h 10"/>
              <a:gd name="T14" fmla="*/ 38 w 38"/>
              <a:gd name="T15" fmla="*/ 10 h 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8" h="10">
                <a:moveTo>
                  <a:pt x="0" y="0"/>
                </a:moveTo>
                <a:lnTo>
                  <a:pt x="31" y="1"/>
                </a:lnTo>
                <a:lnTo>
                  <a:pt x="37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6" name="Freeform 58"/>
          <p:cNvSpPr>
            <a:spLocks/>
          </p:cNvSpPr>
          <p:nvPr/>
        </p:nvSpPr>
        <p:spPr bwMode="auto">
          <a:xfrm>
            <a:off x="2667000" y="5849938"/>
            <a:ext cx="22225" cy="14287"/>
          </a:xfrm>
          <a:custGeom>
            <a:avLst/>
            <a:gdLst>
              <a:gd name="T0" fmla="*/ 0 w 16"/>
              <a:gd name="T1" fmla="*/ 2147483647 h 9"/>
              <a:gd name="T2" fmla="*/ 2147483647 w 16"/>
              <a:gd name="T3" fmla="*/ 0 h 9"/>
              <a:gd name="T4" fmla="*/ 2147483647 w 16"/>
              <a:gd name="T5" fmla="*/ 2147483647 h 9"/>
              <a:gd name="T6" fmla="*/ 0 w 16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16"/>
              <a:gd name="T13" fmla="*/ 0 h 9"/>
              <a:gd name="T14" fmla="*/ 16 w 1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" h="9">
                <a:moveTo>
                  <a:pt x="0" y="8"/>
                </a:moveTo>
                <a:lnTo>
                  <a:pt x="3" y="0"/>
                </a:lnTo>
                <a:lnTo>
                  <a:pt x="15" y="8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7" name="Freeform 59"/>
          <p:cNvSpPr>
            <a:spLocks/>
          </p:cNvSpPr>
          <p:nvPr/>
        </p:nvSpPr>
        <p:spPr bwMode="auto">
          <a:xfrm>
            <a:off x="5945188" y="3084513"/>
            <a:ext cx="1412875" cy="889000"/>
          </a:xfrm>
          <a:custGeom>
            <a:avLst/>
            <a:gdLst>
              <a:gd name="T0" fmla="*/ 2147483647 w 1026"/>
              <a:gd name="T1" fmla="*/ 2147483647 h 608"/>
              <a:gd name="T2" fmla="*/ 2147483647 w 1026"/>
              <a:gd name="T3" fmla="*/ 2147483647 h 608"/>
              <a:gd name="T4" fmla="*/ 2147483647 w 1026"/>
              <a:gd name="T5" fmla="*/ 2147483647 h 608"/>
              <a:gd name="T6" fmla="*/ 2147483647 w 1026"/>
              <a:gd name="T7" fmla="*/ 2147483647 h 608"/>
              <a:gd name="T8" fmla="*/ 2147483647 w 1026"/>
              <a:gd name="T9" fmla="*/ 2147483647 h 608"/>
              <a:gd name="T10" fmla="*/ 2147483647 w 1026"/>
              <a:gd name="T11" fmla="*/ 2147483647 h 608"/>
              <a:gd name="T12" fmla="*/ 2147483647 w 1026"/>
              <a:gd name="T13" fmla="*/ 2147483647 h 608"/>
              <a:gd name="T14" fmla="*/ 2147483647 w 1026"/>
              <a:gd name="T15" fmla="*/ 2147483647 h 608"/>
              <a:gd name="T16" fmla="*/ 2147483647 w 1026"/>
              <a:gd name="T17" fmla="*/ 2147483647 h 608"/>
              <a:gd name="T18" fmla="*/ 2147483647 w 1026"/>
              <a:gd name="T19" fmla="*/ 2147483647 h 608"/>
              <a:gd name="T20" fmla="*/ 2147483647 w 1026"/>
              <a:gd name="T21" fmla="*/ 2147483647 h 608"/>
              <a:gd name="T22" fmla="*/ 2147483647 w 1026"/>
              <a:gd name="T23" fmla="*/ 2147483647 h 608"/>
              <a:gd name="T24" fmla="*/ 2147483647 w 1026"/>
              <a:gd name="T25" fmla="*/ 2147483647 h 608"/>
              <a:gd name="T26" fmla="*/ 2147483647 w 1026"/>
              <a:gd name="T27" fmla="*/ 2147483647 h 608"/>
              <a:gd name="T28" fmla="*/ 2147483647 w 1026"/>
              <a:gd name="T29" fmla="*/ 2147483647 h 608"/>
              <a:gd name="T30" fmla="*/ 2147483647 w 1026"/>
              <a:gd name="T31" fmla="*/ 2147483647 h 608"/>
              <a:gd name="T32" fmla="*/ 2147483647 w 1026"/>
              <a:gd name="T33" fmla="*/ 2147483647 h 608"/>
              <a:gd name="T34" fmla="*/ 2147483647 w 1026"/>
              <a:gd name="T35" fmla="*/ 2147483647 h 608"/>
              <a:gd name="T36" fmla="*/ 2147483647 w 1026"/>
              <a:gd name="T37" fmla="*/ 2147483647 h 608"/>
              <a:gd name="T38" fmla="*/ 2147483647 w 1026"/>
              <a:gd name="T39" fmla="*/ 2147483647 h 608"/>
              <a:gd name="T40" fmla="*/ 2147483647 w 1026"/>
              <a:gd name="T41" fmla="*/ 2147483647 h 608"/>
              <a:gd name="T42" fmla="*/ 2147483647 w 1026"/>
              <a:gd name="T43" fmla="*/ 2147483647 h 608"/>
              <a:gd name="T44" fmla="*/ 2147483647 w 1026"/>
              <a:gd name="T45" fmla="*/ 2147483647 h 608"/>
              <a:gd name="T46" fmla="*/ 2147483647 w 1026"/>
              <a:gd name="T47" fmla="*/ 2147483647 h 608"/>
              <a:gd name="T48" fmla="*/ 2147483647 w 1026"/>
              <a:gd name="T49" fmla="*/ 2147483647 h 608"/>
              <a:gd name="T50" fmla="*/ 2147483647 w 1026"/>
              <a:gd name="T51" fmla="*/ 2147483647 h 608"/>
              <a:gd name="T52" fmla="*/ 2147483647 w 1026"/>
              <a:gd name="T53" fmla="*/ 2147483647 h 608"/>
              <a:gd name="T54" fmla="*/ 2147483647 w 1026"/>
              <a:gd name="T55" fmla="*/ 2147483647 h 608"/>
              <a:gd name="T56" fmla="*/ 2147483647 w 1026"/>
              <a:gd name="T57" fmla="*/ 2147483647 h 608"/>
              <a:gd name="T58" fmla="*/ 2147483647 w 1026"/>
              <a:gd name="T59" fmla="*/ 2147483647 h 608"/>
              <a:gd name="T60" fmla="*/ 2147483647 w 1026"/>
              <a:gd name="T61" fmla="*/ 2147483647 h 608"/>
              <a:gd name="T62" fmla="*/ 2147483647 w 1026"/>
              <a:gd name="T63" fmla="*/ 2147483647 h 608"/>
              <a:gd name="T64" fmla="*/ 2147483647 w 1026"/>
              <a:gd name="T65" fmla="*/ 2147483647 h 608"/>
              <a:gd name="T66" fmla="*/ 2147483647 w 1026"/>
              <a:gd name="T67" fmla="*/ 2147483647 h 608"/>
              <a:gd name="T68" fmla="*/ 2147483647 w 1026"/>
              <a:gd name="T69" fmla="*/ 2147483647 h 608"/>
              <a:gd name="T70" fmla="*/ 2147483647 w 1026"/>
              <a:gd name="T71" fmla="*/ 2147483647 h 608"/>
              <a:gd name="T72" fmla="*/ 2147483647 w 1026"/>
              <a:gd name="T73" fmla="*/ 2147483647 h 608"/>
              <a:gd name="T74" fmla="*/ 2147483647 w 1026"/>
              <a:gd name="T75" fmla="*/ 2147483647 h 608"/>
              <a:gd name="T76" fmla="*/ 2147483647 w 1026"/>
              <a:gd name="T77" fmla="*/ 2147483647 h 608"/>
              <a:gd name="T78" fmla="*/ 2147483647 w 1026"/>
              <a:gd name="T79" fmla="*/ 2147483647 h 608"/>
              <a:gd name="T80" fmla="*/ 2147483647 w 1026"/>
              <a:gd name="T81" fmla="*/ 2147483647 h 608"/>
              <a:gd name="T82" fmla="*/ 2147483647 w 1026"/>
              <a:gd name="T83" fmla="*/ 2147483647 h 608"/>
              <a:gd name="T84" fmla="*/ 2147483647 w 1026"/>
              <a:gd name="T85" fmla="*/ 2147483647 h 608"/>
              <a:gd name="T86" fmla="*/ 2147483647 w 1026"/>
              <a:gd name="T87" fmla="*/ 2147483647 h 608"/>
              <a:gd name="T88" fmla="*/ 2147483647 w 1026"/>
              <a:gd name="T89" fmla="*/ 2147483647 h 608"/>
              <a:gd name="T90" fmla="*/ 2147483647 w 1026"/>
              <a:gd name="T91" fmla="*/ 2147483647 h 608"/>
              <a:gd name="T92" fmla="*/ 2147483647 w 1026"/>
              <a:gd name="T93" fmla="*/ 2147483647 h 608"/>
              <a:gd name="T94" fmla="*/ 2147483647 w 1026"/>
              <a:gd name="T95" fmla="*/ 2147483647 h 608"/>
              <a:gd name="T96" fmla="*/ 2147483647 w 1026"/>
              <a:gd name="T97" fmla="*/ 2147483647 h 608"/>
              <a:gd name="T98" fmla="*/ 2147483647 w 1026"/>
              <a:gd name="T99" fmla="*/ 2147483647 h 608"/>
              <a:gd name="T100" fmla="*/ 2147483647 w 1026"/>
              <a:gd name="T101" fmla="*/ 2147483647 h 608"/>
              <a:gd name="T102" fmla="*/ 0 w 1026"/>
              <a:gd name="T103" fmla="*/ 2147483647 h 60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026"/>
              <a:gd name="T157" fmla="*/ 0 h 608"/>
              <a:gd name="T158" fmla="*/ 1026 w 1026"/>
              <a:gd name="T159" fmla="*/ 608 h 60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026" h="608">
                <a:moveTo>
                  <a:pt x="0" y="288"/>
                </a:moveTo>
                <a:lnTo>
                  <a:pt x="5" y="266"/>
                </a:lnTo>
                <a:lnTo>
                  <a:pt x="44" y="260"/>
                </a:lnTo>
                <a:lnTo>
                  <a:pt x="109" y="229"/>
                </a:lnTo>
                <a:lnTo>
                  <a:pt x="117" y="203"/>
                </a:lnTo>
                <a:lnTo>
                  <a:pt x="105" y="175"/>
                </a:lnTo>
                <a:lnTo>
                  <a:pt x="146" y="167"/>
                </a:lnTo>
                <a:lnTo>
                  <a:pt x="155" y="130"/>
                </a:lnTo>
                <a:lnTo>
                  <a:pt x="199" y="131"/>
                </a:lnTo>
                <a:lnTo>
                  <a:pt x="204" y="104"/>
                </a:lnTo>
                <a:lnTo>
                  <a:pt x="237" y="93"/>
                </a:lnTo>
                <a:lnTo>
                  <a:pt x="254" y="114"/>
                </a:lnTo>
                <a:lnTo>
                  <a:pt x="278" y="122"/>
                </a:lnTo>
                <a:lnTo>
                  <a:pt x="287" y="168"/>
                </a:lnTo>
                <a:lnTo>
                  <a:pt x="363" y="185"/>
                </a:lnTo>
                <a:lnTo>
                  <a:pt x="392" y="216"/>
                </a:lnTo>
                <a:lnTo>
                  <a:pt x="454" y="212"/>
                </a:lnTo>
                <a:lnTo>
                  <a:pt x="522" y="237"/>
                </a:lnTo>
                <a:lnTo>
                  <a:pt x="614" y="216"/>
                </a:lnTo>
                <a:lnTo>
                  <a:pt x="641" y="196"/>
                </a:lnTo>
                <a:lnTo>
                  <a:pt x="641" y="172"/>
                </a:lnTo>
                <a:lnTo>
                  <a:pt x="667" y="176"/>
                </a:lnTo>
                <a:lnTo>
                  <a:pt x="723" y="140"/>
                </a:lnTo>
                <a:lnTo>
                  <a:pt x="767" y="139"/>
                </a:lnTo>
                <a:lnTo>
                  <a:pt x="746" y="111"/>
                </a:lnTo>
                <a:lnTo>
                  <a:pt x="704" y="120"/>
                </a:lnTo>
                <a:lnTo>
                  <a:pt x="703" y="88"/>
                </a:lnTo>
                <a:lnTo>
                  <a:pt x="715" y="73"/>
                </a:lnTo>
                <a:lnTo>
                  <a:pt x="739" y="81"/>
                </a:lnTo>
                <a:lnTo>
                  <a:pt x="762" y="71"/>
                </a:lnTo>
                <a:lnTo>
                  <a:pt x="788" y="32"/>
                </a:lnTo>
                <a:lnTo>
                  <a:pt x="777" y="17"/>
                </a:lnTo>
                <a:lnTo>
                  <a:pt x="836" y="0"/>
                </a:lnTo>
                <a:lnTo>
                  <a:pt x="872" y="12"/>
                </a:lnTo>
                <a:lnTo>
                  <a:pt x="903" y="79"/>
                </a:lnTo>
                <a:lnTo>
                  <a:pt x="953" y="94"/>
                </a:lnTo>
                <a:lnTo>
                  <a:pt x="963" y="118"/>
                </a:lnTo>
                <a:lnTo>
                  <a:pt x="1025" y="103"/>
                </a:lnTo>
                <a:lnTo>
                  <a:pt x="995" y="169"/>
                </a:lnTo>
                <a:lnTo>
                  <a:pt x="961" y="179"/>
                </a:lnTo>
                <a:lnTo>
                  <a:pt x="966" y="203"/>
                </a:lnTo>
                <a:lnTo>
                  <a:pt x="953" y="219"/>
                </a:lnTo>
                <a:lnTo>
                  <a:pt x="947" y="212"/>
                </a:lnTo>
                <a:lnTo>
                  <a:pt x="915" y="231"/>
                </a:lnTo>
                <a:lnTo>
                  <a:pt x="915" y="241"/>
                </a:lnTo>
                <a:lnTo>
                  <a:pt x="893" y="239"/>
                </a:lnTo>
                <a:lnTo>
                  <a:pt x="850" y="268"/>
                </a:lnTo>
                <a:lnTo>
                  <a:pt x="798" y="291"/>
                </a:lnTo>
                <a:lnTo>
                  <a:pt x="815" y="259"/>
                </a:lnTo>
                <a:lnTo>
                  <a:pt x="807" y="248"/>
                </a:lnTo>
                <a:lnTo>
                  <a:pt x="739" y="286"/>
                </a:lnTo>
                <a:lnTo>
                  <a:pt x="738" y="296"/>
                </a:lnTo>
                <a:lnTo>
                  <a:pt x="760" y="317"/>
                </a:lnTo>
                <a:lnTo>
                  <a:pt x="792" y="309"/>
                </a:lnTo>
                <a:lnTo>
                  <a:pt x="820" y="317"/>
                </a:lnTo>
                <a:lnTo>
                  <a:pt x="781" y="337"/>
                </a:lnTo>
                <a:lnTo>
                  <a:pt x="764" y="360"/>
                </a:lnTo>
                <a:lnTo>
                  <a:pt x="809" y="415"/>
                </a:lnTo>
                <a:lnTo>
                  <a:pt x="780" y="412"/>
                </a:lnTo>
                <a:lnTo>
                  <a:pt x="809" y="429"/>
                </a:lnTo>
                <a:lnTo>
                  <a:pt x="780" y="443"/>
                </a:lnTo>
                <a:lnTo>
                  <a:pt x="809" y="447"/>
                </a:lnTo>
                <a:lnTo>
                  <a:pt x="754" y="535"/>
                </a:lnTo>
                <a:lnTo>
                  <a:pt x="715" y="563"/>
                </a:lnTo>
                <a:lnTo>
                  <a:pt x="680" y="570"/>
                </a:lnTo>
                <a:lnTo>
                  <a:pt x="675" y="570"/>
                </a:lnTo>
                <a:lnTo>
                  <a:pt x="667" y="565"/>
                </a:lnTo>
                <a:lnTo>
                  <a:pt x="657" y="580"/>
                </a:lnTo>
                <a:lnTo>
                  <a:pt x="615" y="590"/>
                </a:lnTo>
                <a:lnTo>
                  <a:pt x="611" y="607"/>
                </a:lnTo>
                <a:lnTo>
                  <a:pt x="603" y="585"/>
                </a:lnTo>
                <a:lnTo>
                  <a:pt x="574" y="586"/>
                </a:lnTo>
                <a:lnTo>
                  <a:pt x="529" y="558"/>
                </a:lnTo>
                <a:lnTo>
                  <a:pt x="476" y="571"/>
                </a:lnTo>
                <a:lnTo>
                  <a:pt x="469" y="572"/>
                </a:lnTo>
                <a:lnTo>
                  <a:pt x="470" y="590"/>
                </a:lnTo>
                <a:lnTo>
                  <a:pt x="461" y="584"/>
                </a:lnTo>
                <a:lnTo>
                  <a:pt x="429" y="576"/>
                </a:lnTo>
                <a:lnTo>
                  <a:pt x="422" y="544"/>
                </a:lnTo>
                <a:lnTo>
                  <a:pt x="401" y="549"/>
                </a:lnTo>
                <a:lnTo>
                  <a:pt x="419" y="501"/>
                </a:lnTo>
                <a:lnTo>
                  <a:pt x="417" y="486"/>
                </a:lnTo>
                <a:lnTo>
                  <a:pt x="397" y="477"/>
                </a:lnTo>
                <a:lnTo>
                  <a:pt x="381" y="471"/>
                </a:lnTo>
                <a:lnTo>
                  <a:pt x="374" y="453"/>
                </a:lnTo>
                <a:lnTo>
                  <a:pt x="302" y="483"/>
                </a:lnTo>
                <a:lnTo>
                  <a:pt x="273" y="474"/>
                </a:lnTo>
                <a:lnTo>
                  <a:pt x="255" y="490"/>
                </a:lnTo>
                <a:lnTo>
                  <a:pt x="252" y="479"/>
                </a:lnTo>
                <a:lnTo>
                  <a:pt x="242" y="480"/>
                </a:lnTo>
                <a:lnTo>
                  <a:pt x="205" y="480"/>
                </a:lnTo>
                <a:lnTo>
                  <a:pt x="176" y="457"/>
                </a:lnTo>
                <a:lnTo>
                  <a:pt x="123" y="441"/>
                </a:lnTo>
                <a:lnTo>
                  <a:pt x="88" y="428"/>
                </a:lnTo>
                <a:lnTo>
                  <a:pt x="79" y="400"/>
                </a:lnTo>
                <a:lnTo>
                  <a:pt x="99" y="398"/>
                </a:lnTo>
                <a:lnTo>
                  <a:pt x="88" y="376"/>
                </a:lnTo>
                <a:lnTo>
                  <a:pt x="111" y="347"/>
                </a:lnTo>
                <a:lnTo>
                  <a:pt x="94" y="339"/>
                </a:lnTo>
                <a:lnTo>
                  <a:pt x="67" y="348"/>
                </a:lnTo>
                <a:lnTo>
                  <a:pt x="16" y="323"/>
                </a:lnTo>
                <a:lnTo>
                  <a:pt x="19" y="317"/>
                </a:lnTo>
                <a:lnTo>
                  <a:pt x="19" y="296"/>
                </a:lnTo>
                <a:lnTo>
                  <a:pt x="0" y="28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8" name="Freeform 60"/>
          <p:cNvSpPr>
            <a:spLocks/>
          </p:cNvSpPr>
          <p:nvPr/>
        </p:nvSpPr>
        <p:spPr bwMode="auto">
          <a:xfrm>
            <a:off x="6754813" y="3978275"/>
            <a:ext cx="50800" cy="42863"/>
          </a:xfrm>
          <a:custGeom>
            <a:avLst/>
            <a:gdLst>
              <a:gd name="T0" fmla="*/ 0 w 37"/>
              <a:gd name="T1" fmla="*/ 2147483647 h 29"/>
              <a:gd name="T2" fmla="*/ 2147483647 w 37"/>
              <a:gd name="T3" fmla="*/ 0 h 29"/>
              <a:gd name="T4" fmla="*/ 2147483647 w 37"/>
              <a:gd name="T5" fmla="*/ 2147483647 h 29"/>
              <a:gd name="T6" fmla="*/ 2147483647 w 37"/>
              <a:gd name="T7" fmla="*/ 2147483647 h 29"/>
              <a:gd name="T8" fmla="*/ 0 w 37"/>
              <a:gd name="T9" fmla="*/ 2147483647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"/>
              <a:gd name="T16" fmla="*/ 0 h 29"/>
              <a:gd name="T17" fmla="*/ 37 w 37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" h="29">
                <a:moveTo>
                  <a:pt x="0" y="21"/>
                </a:moveTo>
                <a:lnTo>
                  <a:pt x="13" y="0"/>
                </a:lnTo>
                <a:lnTo>
                  <a:pt x="36" y="4"/>
                </a:lnTo>
                <a:lnTo>
                  <a:pt x="15" y="28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69" name="Freeform 61"/>
          <p:cNvSpPr>
            <a:spLocks/>
          </p:cNvSpPr>
          <p:nvPr/>
        </p:nvSpPr>
        <p:spPr bwMode="auto">
          <a:xfrm>
            <a:off x="7016750" y="3856038"/>
            <a:ext cx="41275" cy="79375"/>
          </a:xfrm>
          <a:custGeom>
            <a:avLst/>
            <a:gdLst>
              <a:gd name="T0" fmla="*/ 0 w 30"/>
              <a:gd name="T1" fmla="*/ 2147483647 h 54"/>
              <a:gd name="T2" fmla="*/ 2147483647 w 30"/>
              <a:gd name="T3" fmla="*/ 2147483647 h 54"/>
              <a:gd name="T4" fmla="*/ 2147483647 w 30"/>
              <a:gd name="T5" fmla="*/ 0 h 54"/>
              <a:gd name="T6" fmla="*/ 2147483647 w 30"/>
              <a:gd name="T7" fmla="*/ 2147483647 h 54"/>
              <a:gd name="T8" fmla="*/ 0 w 30"/>
              <a:gd name="T9" fmla="*/ 2147483647 h 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"/>
              <a:gd name="T16" fmla="*/ 0 h 54"/>
              <a:gd name="T17" fmla="*/ 30 w 30"/>
              <a:gd name="T18" fmla="*/ 54 h 5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" h="54">
                <a:moveTo>
                  <a:pt x="0" y="22"/>
                </a:moveTo>
                <a:lnTo>
                  <a:pt x="11" y="53"/>
                </a:lnTo>
                <a:lnTo>
                  <a:pt x="29" y="0"/>
                </a:lnTo>
                <a:lnTo>
                  <a:pt x="14" y="1"/>
                </a:lnTo>
                <a:lnTo>
                  <a:pt x="0" y="2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0" name="Freeform 62"/>
          <p:cNvSpPr>
            <a:spLocks/>
          </p:cNvSpPr>
          <p:nvPr/>
        </p:nvSpPr>
        <p:spPr bwMode="auto">
          <a:xfrm>
            <a:off x="2414588" y="4157663"/>
            <a:ext cx="279400" cy="384175"/>
          </a:xfrm>
          <a:custGeom>
            <a:avLst/>
            <a:gdLst>
              <a:gd name="T0" fmla="*/ 0 w 202"/>
              <a:gd name="T1" fmla="*/ 2147483647 h 263"/>
              <a:gd name="T2" fmla="*/ 2147483647 w 202"/>
              <a:gd name="T3" fmla="*/ 2147483647 h 263"/>
              <a:gd name="T4" fmla="*/ 2147483647 w 202"/>
              <a:gd name="T5" fmla="*/ 2147483647 h 263"/>
              <a:gd name="T6" fmla="*/ 2147483647 w 202"/>
              <a:gd name="T7" fmla="*/ 2147483647 h 263"/>
              <a:gd name="T8" fmla="*/ 2147483647 w 202"/>
              <a:gd name="T9" fmla="*/ 2147483647 h 263"/>
              <a:gd name="T10" fmla="*/ 2147483647 w 202"/>
              <a:gd name="T11" fmla="*/ 2147483647 h 263"/>
              <a:gd name="T12" fmla="*/ 2147483647 w 202"/>
              <a:gd name="T13" fmla="*/ 2147483647 h 263"/>
              <a:gd name="T14" fmla="*/ 2147483647 w 202"/>
              <a:gd name="T15" fmla="*/ 2147483647 h 263"/>
              <a:gd name="T16" fmla="*/ 2147483647 w 202"/>
              <a:gd name="T17" fmla="*/ 2147483647 h 263"/>
              <a:gd name="T18" fmla="*/ 2147483647 w 202"/>
              <a:gd name="T19" fmla="*/ 2147483647 h 263"/>
              <a:gd name="T20" fmla="*/ 2147483647 w 202"/>
              <a:gd name="T21" fmla="*/ 2147483647 h 263"/>
              <a:gd name="T22" fmla="*/ 2147483647 w 202"/>
              <a:gd name="T23" fmla="*/ 2147483647 h 263"/>
              <a:gd name="T24" fmla="*/ 2147483647 w 202"/>
              <a:gd name="T25" fmla="*/ 2147483647 h 263"/>
              <a:gd name="T26" fmla="*/ 2147483647 w 202"/>
              <a:gd name="T27" fmla="*/ 2147483647 h 263"/>
              <a:gd name="T28" fmla="*/ 2147483647 w 202"/>
              <a:gd name="T29" fmla="*/ 2147483647 h 263"/>
              <a:gd name="T30" fmla="*/ 2147483647 w 202"/>
              <a:gd name="T31" fmla="*/ 2147483647 h 263"/>
              <a:gd name="T32" fmla="*/ 2147483647 w 202"/>
              <a:gd name="T33" fmla="*/ 2147483647 h 263"/>
              <a:gd name="T34" fmla="*/ 2147483647 w 202"/>
              <a:gd name="T35" fmla="*/ 2147483647 h 263"/>
              <a:gd name="T36" fmla="*/ 2147483647 w 202"/>
              <a:gd name="T37" fmla="*/ 2147483647 h 263"/>
              <a:gd name="T38" fmla="*/ 2147483647 w 202"/>
              <a:gd name="T39" fmla="*/ 2147483647 h 263"/>
              <a:gd name="T40" fmla="*/ 2147483647 w 202"/>
              <a:gd name="T41" fmla="*/ 0 h 263"/>
              <a:gd name="T42" fmla="*/ 2147483647 w 202"/>
              <a:gd name="T43" fmla="*/ 2147483647 h 263"/>
              <a:gd name="T44" fmla="*/ 2147483647 w 202"/>
              <a:gd name="T45" fmla="*/ 2147483647 h 263"/>
              <a:gd name="T46" fmla="*/ 2147483647 w 202"/>
              <a:gd name="T47" fmla="*/ 2147483647 h 263"/>
              <a:gd name="T48" fmla="*/ 2147483647 w 202"/>
              <a:gd name="T49" fmla="*/ 2147483647 h 263"/>
              <a:gd name="T50" fmla="*/ 2147483647 w 202"/>
              <a:gd name="T51" fmla="*/ 2147483647 h 263"/>
              <a:gd name="T52" fmla="*/ 2147483647 w 202"/>
              <a:gd name="T53" fmla="*/ 2147483647 h 263"/>
              <a:gd name="T54" fmla="*/ 0 w 202"/>
              <a:gd name="T55" fmla="*/ 2147483647 h 263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02"/>
              <a:gd name="T85" fmla="*/ 0 h 263"/>
              <a:gd name="T86" fmla="*/ 202 w 202"/>
              <a:gd name="T87" fmla="*/ 263 h 263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02" h="263">
                <a:moveTo>
                  <a:pt x="0" y="175"/>
                </a:moveTo>
                <a:lnTo>
                  <a:pt x="26" y="193"/>
                </a:lnTo>
                <a:lnTo>
                  <a:pt x="59" y="198"/>
                </a:lnTo>
                <a:lnTo>
                  <a:pt x="97" y="234"/>
                </a:lnTo>
                <a:lnTo>
                  <a:pt x="144" y="238"/>
                </a:lnTo>
                <a:lnTo>
                  <a:pt x="138" y="256"/>
                </a:lnTo>
                <a:lnTo>
                  <a:pt x="149" y="262"/>
                </a:lnTo>
                <a:lnTo>
                  <a:pt x="158" y="215"/>
                </a:lnTo>
                <a:lnTo>
                  <a:pt x="148" y="189"/>
                </a:lnTo>
                <a:lnTo>
                  <a:pt x="163" y="186"/>
                </a:lnTo>
                <a:lnTo>
                  <a:pt x="152" y="170"/>
                </a:lnTo>
                <a:lnTo>
                  <a:pt x="191" y="165"/>
                </a:lnTo>
                <a:lnTo>
                  <a:pt x="201" y="176"/>
                </a:lnTo>
                <a:lnTo>
                  <a:pt x="186" y="153"/>
                </a:lnTo>
                <a:lnTo>
                  <a:pt x="190" y="99"/>
                </a:lnTo>
                <a:lnTo>
                  <a:pt x="160" y="100"/>
                </a:lnTo>
                <a:lnTo>
                  <a:pt x="148" y="86"/>
                </a:lnTo>
                <a:lnTo>
                  <a:pt x="115" y="84"/>
                </a:lnTo>
                <a:lnTo>
                  <a:pt x="92" y="52"/>
                </a:lnTo>
                <a:lnTo>
                  <a:pt x="127" y="9"/>
                </a:lnTo>
                <a:lnTo>
                  <a:pt x="122" y="0"/>
                </a:lnTo>
                <a:lnTo>
                  <a:pt x="65" y="22"/>
                </a:lnTo>
                <a:lnTo>
                  <a:pt x="35" y="70"/>
                </a:lnTo>
                <a:lnTo>
                  <a:pt x="25" y="59"/>
                </a:lnTo>
                <a:lnTo>
                  <a:pt x="16" y="82"/>
                </a:lnTo>
                <a:lnTo>
                  <a:pt x="25" y="134"/>
                </a:lnTo>
                <a:lnTo>
                  <a:pt x="32" y="135"/>
                </a:lnTo>
                <a:lnTo>
                  <a:pt x="0" y="17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1" name="Freeform 63"/>
          <p:cNvSpPr>
            <a:spLocks/>
          </p:cNvSpPr>
          <p:nvPr/>
        </p:nvSpPr>
        <p:spPr bwMode="auto">
          <a:xfrm>
            <a:off x="4495800" y="4357688"/>
            <a:ext cx="177800" cy="203200"/>
          </a:xfrm>
          <a:custGeom>
            <a:avLst/>
            <a:gdLst>
              <a:gd name="T0" fmla="*/ 0 w 129"/>
              <a:gd name="T1" fmla="*/ 2147483647 h 139"/>
              <a:gd name="T2" fmla="*/ 2147483647 w 129"/>
              <a:gd name="T3" fmla="*/ 2147483647 h 139"/>
              <a:gd name="T4" fmla="*/ 2147483647 w 129"/>
              <a:gd name="T5" fmla="*/ 2147483647 h 139"/>
              <a:gd name="T6" fmla="*/ 2147483647 w 129"/>
              <a:gd name="T7" fmla="*/ 2147483647 h 139"/>
              <a:gd name="T8" fmla="*/ 2147483647 w 129"/>
              <a:gd name="T9" fmla="*/ 2147483647 h 139"/>
              <a:gd name="T10" fmla="*/ 2147483647 w 129"/>
              <a:gd name="T11" fmla="*/ 2147483647 h 139"/>
              <a:gd name="T12" fmla="*/ 2147483647 w 129"/>
              <a:gd name="T13" fmla="*/ 2147483647 h 139"/>
              <a:gd name="T14" fmla="*/ 2147483647 w 129"/>
              <a:gd name="T15" fmla="*/ 0 h 139"/>
              <a:gd name="T16" fmla="*/ 2147483647 w 129"/>
              <a:gd name="T17" fmla="*/ 2147483647 h 139"/>
              <a:gd name="T18" fmla="*/ 2147483647 w 129"/>
              <a:gd name="T19" fmla="*/ 2147483647 h 139"/>
              <a:gd name="T20" fmla="*/ 2147483647 w 129"/>
              <a:gd name="T21" fmla="*/ 2147483647 h 139"/>
              <a:gd name="T22" fmla="*/ 2147483647 w 129"/>
              <a:gd name="T23" fmla="*/ 2147483647 h 139"/>
              <a:gd name="T24" fmla="*/ 2147483647 w 129"/>
              <a:gd name="T25" fmla="*/ 2147483647 h 139"/>
              <a:gd name="T26" fmla="*/ 2147483647 w 129"/>
              <a:gd name="T27" fmla="*/ 2147483647 h 139"/>
              <a:gd name="T28" fmla="*/ 2147483647 w 129"/>
              <a:gd name="T29" fmla="*/ 2147483647 h 139"/>
              <a:gd name="T30" fmla="*/ 2147483647 w 129"/>
              <a:gd name="T31" fmla="*/ 2147483647 h 139"/>
              <a:gd name="T32" fmla="*/ 0 w 129"/>
              <a:gd name="T33" fmla="*/ 2147483647 h 13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9"/>
              <a:gd name="T52" fmla="*/ 0 h 139"/>
              <a:gd name="T53" fmla="*/ 129 w 129"/>
              <a:gd name="T54" fmla="*/ 139 h 13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9" h="139">
                <a:moveTo>
                  <a:pt x="0" y="122"/>
                </a:moveTo>
                <a:lnTo>
                  <a:pt x="15" y="138"/>
                </a:lnTo>
                <a:lnTo>
                  <a:pt x="31" y="132"/>
                </a:lnTo>
                <a:lnTo>
                  <a:pt x="57" y="134"/>
                </a:lnTo>
                <a:lnTo>
                  <a:pt x="80" y="120"/>
                </a:lnTo>
                <a:lnTo>
                  <a:pt x="88" y="92"/>
                </a:lnTo>
                <a:lnTo>
                  <a:pt x="112" y="70"/>
                </a:lnTo>
                <a:lnTo>
                  <a:pt x="128" y="0"/>
                </a:lnTo>
                <a:lnTo>
                  <a:pt x="99" y="1"/>
                </a:lnTo>
                <a:lnTo>
                  <a:pt x="85" y="14"/>
                </a:lnTo>
                <a:lnTo>
                  <a:pt x="81" y="33"/>
                </a:lnTo>
                <a:lnTo>
                  <a:pt x="36" y="23"/>
                </a:lnTo>
                <a:lnTo>
                  <a:pt x="34" y="39"/>
                </a:lnTo>
                <a:lnTo>
                  <a:pt x="53" y="40"/>
                </a:lnTo>
                <a:lnTo>
                  <a:pt x="50" y="95"/>
                </a:lnTo>
                <a:lnTo>
                  <a:pt x="26" y="89"/>
                </a:lnTo>
                <a:lnTo>
                  <a:pt x="0" y="12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2" name="Freeform 64"/>
          <p:cNvSpPr>
            <a:spLocks/>
          </p:cNvSpPr>
          <p:nvPr/>
        </p:nvSpPr>
        <p:spPr bwMode="auto">
          <a:xfrm>
            <a:off x="4522788" y="4325938"/>
            <a:ext cx="444500" cy="427037"/>
          </a:xfrm>
          <a:custGeom>
            <a:avLst/>
            <a:gdLst>
              <a:gd name="T0" fmla="*/ 0 w 322"/>
              <a:gd name="T1" fmla="*/ 2147483647 h 292"/>
              <a:gd name="T2" fmla="*/ 0 w 322"/>
              <a:gd name="T3" fmla="*/ 2147483647 h 292"/>
              <a:gd name="T4" fmla="*/ 2147483647 w 322"/>
              <a:gd name="T5" fmla="*/ 2147483647 h 292"/>
              <a:gd name="T6" fmla="*/ 2147483647 w 322"/>
              <a:gd name="T7" fmla="*/ 2147483647 h 292"/>
              <a:gd name="T8" fmla="*/ 2147483647 w 322"/>
              <a:gd name="T9" fmla="*/ 2147483647 h 292"/>
              <a:gd name="T10" fmla="*/ 2147483647 w 322"/>
              <a:gd name="T11" fmla="*/ 2147483647 h 292"/>
              <a:gd name="T12" fmla="*/ 2147483647 w 322"/>
              <a:gd name="T13" fmla="*/ 2147483647 h 292"/>
              <a:gd name="T14" fmla="*/ 2147483647 w 322"/>
              <a:gd name="T15" fmla="*/ 2147483647 h 292"/>
              <a:gd name="T16" fmla="*/ 2147483647 w 322"/>
              <a:gd name="T17" fmla="*/ 2147483647 h 292"/>
              <a:gd name="T18" fmla="*/ 2147483647 w 322"/>
              <a:gd name="T19" fmla="*/ 2147483647 h 292"/>
              <a:gd name="T20" fmla="*/ 2147483647 w 322"/>
              <a:gd name="T21" fmla="*/ 2147483647 h 292"/>
              <a:gd name="T22" fmla="*/ 2147483647 w 322"/>
              <a:gd name="T23" fmla="*/ 2147483647 h 292"/>
              <a:gd name="T24" fmla="*/ 2147483647 w 322"/>
              <a:gd name="T25" fmla="*/ 2147483647 h 292"/>
              <a:gd name="T26" fmla="*/ 2147483647 w 322"/>
              <a:gd name="T27" fmla="*/ 2147483647 h 292"/>
              <a:gd name="T28" fmla="*/ 2147483647 w 322"/>
              <a:gd name="T29" fmla="*/ 2147483647 h 292"/>
              <a:gd name="T30" fmla="*/ 2147483647 w 322"/>
              <a:gd name="T31" fmla="*/ 2147483647 h 292"/>
              <a:gd name="T32" fmla="*/ 2147483647 w 322"/>
              <a:gd name="T33" fmla="*/ 2147483647 h 292"/>
              <a:gd name="T34" fmla="*/ 2147483647 w 322"/>
              <a:gd name="T35" fmla="*/ 2147483647 h 292"/>
              <a:gd name="T36" fmla="*/ 2147483647 w 322"/>
              <a:gd name="T37" fmla="*/ 2147483647 h 292"/>
              <a:gd name="T38" fmla="*/ 2147483647 w 322"/>
              <a:gd name="T39" fmla="*/ 2147483647 h 292"/>
              <a:gd name="T40" fmla="*/ 2147483647 w 322"/>
              <a:gd name="T41" fmla="*/ 2147483647 h 292"/>
              <a:gd name="T42" fmla="*/ 2147483647 w 322"/>
              <a:gd name="T43" fmla="*/ 2147483647 h 292"/>
              <a:gd name="T44" fmla="*/ 2147483647 w 322"/>
              <a:gd name="T45" fmla="*/ 0 h 292"/>
              <a:gd name="T46" fmla="*/ 2147483647 w 322"/>
              <a:gd name="T47" fmla="*/ 2147483647 h 292"/>
              <a:gd name="T48" fmla="*/ 2147483647 w 322"/>
              <a:gd name="T49" fmla="*/ 0 h 292"/>
              <a:gd name="T50" fmla="*/ 2147483647 w 322"/>
              <a:gd name="T51" fmla="*/ 2147483647 h 292"/>
              <a:gd name="T52" fmla="*/ 2147483647 w 322"/>
              <a:gd name="T53" fmla="*/ 2147483647 h 292"/>
              <a:gd name="T54" fmla="*/ 2147483647 w 322"/>
              <a:gd name="T55" fmla="*/ 2147483647 h 292"/>
              <a:gd name="T56" fmla="*/ 2147483647 w 322"/>
              <a:gd name="T57" fmla="*/ 2147483647 h 292"/>
              <a:gd name="T58" fmla="*/ 2147483647 w 322"/>
              <a:gd name="T59" fmla="*/ 2147483647 h 292"/>
              <a:gd name="T60" fmla="*/ 2147483647 w 322"/>
              <a:gd name="T61" fmla="*/ 2147483647 h 292"/>
              <a:gd name="T62" fmla="*/ 0 w 322"/>
              <a:gd name="T63" fmla="*/ 2147483647 h 29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22"/>
              <a:gd name="T97" fmla="*/ 0 h 292"/>
              <a:gd name="T98" fmla="*/ 322 w 322"/>
              <a:gd name="T99" fmla="*/ 292 h 29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22" h="292">
                <a:moveTo>
                  <a:pt x="0" y="173"/>
                </a:moveTo>
                <a:lnTo>
                  <a:pt x="0" y="180"/>
                </a:lnTo>
                <a:lnTo>
                  <a:pt x="68" y="173"/>
                </a:lnTo>
                <a:lnTo>
                  <a:pt x="94" y="209"/>
                </a:lnTo>
                <a:lnTo>
                  <a:pt x="119" y="208"/>
                </a:lnTo>
                <a:lnTo>
                  <a:pt x="123" y="191"/>
                </a:lnTo>
                <a:lnTo>
                  <a:pt x="144" y="190"/>
                </a:lnTo>
                <a:lnTo>
                  <a:pt x="161" y="199"/>
                </a:lnTo>
                <a:lnTo>
                  <a:pt x="163" y="256"/>
                </a:lnTo>
                <a:lnTo>
                  <a:pt x="199" y="252"/>
                </a:lnTo>
                <a:lnTo>
                  <a:pt x="294" y="291"/>
                </a:lnTo>
                <a:lnTo>
                  <a:pt x="293" y="274"/>
                </a:lnTo>
                <a:lnTo>
                  <a:pt x="275" y="265"/>
                </a:lnTo>
                <a:lnTo>
                  <a:pt x="278" y="226"/>
                </a:lnTo>
                <a:lnTo>
                  <a:pt x="309" y="210"/>
                </a:lnTo>
                <a:lnTo>
                  <a:pt x="289" y="182"/>
                </a:lnTo>
                <a:lnTo>
                  <a:pt x="288" y="133"/>
                </a:lnTo>
                <a:lnTo>
                  <a:pt x="285" y="123"/>
                </a:lnTo>
                <a:lnTo>
                  <a:pt x="294" y="101"/>
                </a:lnTo>
                <a:lnTo>
                  <a:pt x="309" y="61"/>
                </a:lnTo>
                <a:lnTo>
                  <a:pt x="321" y="46"/>
                </a:lnTo>
                <a:lnTo>
                  <a:pt x="315" y="26"/>
                </a:lnTo>
                <a:lnTo>
                  <a:pt x="258" y="0"/>
                </a:lnTo>
                <a:lnTo>
                  <a:pt x="158" y="14"/>
                </a:lnTo>
                <a:lnTo>
                  <a:pt x="123" y="0"/>
                </a:lnTo>
                <a:lnTo>
                  <a:pt x="109" y="23"/>
                </a:lnTo>
                <a:lnTo>
                  <a:pt x="93" y="93"/>
                </a:lnTo>
                <a:lnTo>
                  <a:pt x="69" y="115"/>
                </a:lnTo>
                <a:lnTo>
                  <a:pt x="60" y="143"/>
                </a:lnTo>
                <a:lnTo>
                  <a:pt x="38" y="157"/>
                </a:lnTo>
                <a:lnTo>
                  <a:pt x="12" y="154"/>
                </a:lnTo>
                <a:lnTo>
                  <a:pt x="0" y="17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3" name="Freeform 65"/>
          <p:cNvSpPr>
            <a:spLocks/>
          </p:cNvSpPr>
          <p:nvPr/>
        </p:nvSpPr>
        <p:spPr bwMode="auto">
          <a:xfrm>
            <a:off x="2257425" y="4189413"/>
            <a:ext cx="74613" cy="65087"/>
          </a:xfrm>
          <a:custGeom>
            <a:avLst/>
            <a:gdLst>
              <a:gd name="T0" fmla="*/ 0 w 55"/>
              <a:gd name="T1" fmla="*/ 0 h 44"/>
              <a:gd name="T2" fmla="*/ 2147483647 w 55"/>
              <a:gd name="T3" fmla="*/ 2147483647 h 44"/>
              <a:gd name="T4" fmla="*/ 2147483647 w 55"/>
              <a:gd name="T5" fmla="*/ 2147483647 h 44"/>
              <a:gd name="T6" fmla="*/ 2147483647 w 55"/>
              <a:gd name="T7" fmla="*/ 2147483647 h 44"/>
              <a:gd name="T8" fmla="*/ 2147483647 w 55"/>
              <a:gd name="T9" fmla="*/ 2147483647 h 44"/>
              <a:gd name="T10" fmla="*/ 2147483647 w 55"/>
              <a:gd name="T11" fmla="*/ 2147483647 h 44"/>
              <a:gd name="T12" fmla="*/ 0 w 55"/>
              <a:gd name="T13" fmla="*/ 0 h 4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5"/>
              <a:gd name="T22" fmla="*/ 0 h 44"/>
              <a:gd name="T23" fmla="*/ 55 w 55"/>
              <a:gd name="T24" fmla="*/ 44 h 4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5" h="44">
                <a:moveTo>
                  <a:pt x="0" y="0"/>
                </a:moveTo>
                <a:lnTo>
                  <a:pt x="2" y="17"/>
                </a:lnTo>
                <a:lnTo>
                  <a:pt x="15" y="16"/>
                </a:lnTo>
                <a:lnTo>
                  <a:pt x="47" y="43"/>
                </a:lnTo>
                <a:lnTo>
                  <a:pt x="54" y="23"/>
                </a:lnTo>
                <a:lnTo>
                  <a:pt x="34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4" name="Freeform 66"/>
          <p:cNvSpPr>
            <a:spLocks/>
          </p:cNvSpPr>
          <p:nvPr/>
        </p:nvSpPr>
        <p:spPr bwMode="auto">
          <a:xfrm>
            <a:off x="2278063" y="3903663"/>
            <a:ext cx="246062" cy="80962"/>
          </a:xfrm>
          <a:custGeom>
            <a:avLst/>
            <a:gdLst>
              <a:gd name="T0" fmla="*/ 0 w 179"/>
              <a:gd name="T1" fmla="*/ 2147483647 h 56"/>
              <a:gd name="T2" fmla="*/ 2147483647 w 179"/>
              <a:gd name="T3" fmla="*/ 2147483647 h 56"/>
              <a:gd name="T4" fmla="*/ 2147483647 w 179"/>
              <a:gd name="T5" fmla="*/ 0 h 56"/>
              <a:gd name="T6" fmla="*/ 2147483647 w 179"/>
              <a:gd name="T7" fmla="*/ 2147483647 h 56"/>
              <a:gd name="T8" fmla="*/ 2147483647 w 179"/>
              <a:gd name="T9" fmla="*/ 2147483647 h 56"/>
              <a:gd name="T10" fmla="*/ 2147483647 w 179"/>
              <a:gd name="T11" fmla="*/ 2147483647 h 56"/>
              <a:gd name="T12" fmla="*/ 2147483647 w 179"/>
              <a:gd name="T13" fmla="*/ 2147483647 h 56"/>
              <a:gd name="T14" fmla="*/ 2147483647 w 179"/>
              <a:gd name="T15" fmla="*/ 2147483647 h 56"/>
              <a:gd name="T16" fmla="*/ 2147483647 w 179"/>
              <a:gd name="T17" fmla="*/ 2147483647 h 56"/>
              <a:gd name="T18" fmla="*/ 0 w 179"/>
              <a:gd name="T19" fmla="*/ 2147483647 h 5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9"/>
              <a:gd name="T31" fmla="*/ 0 h 56"/>
              <a:gd name="T32" fmla="*/ 179 w 179"/>
              <a:gd name="T33" fmla="*/ 56 h 5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9" h="56">
                <a:moveTo>
                  <a:pt x="0" y="21"/>
                </a:moveTo>
                <a:lnTo>
                  <a:pt x="23" y="2"/>
                </a:lnTo>
                <a:lnTo>
                  <a:pt x="69" y="0"/>
                </a:lnTo>
                <a:lnTo>
                  <a:pt x="178" y="47"/>
                </a:lnTo>
                <a:lnTo>
                  <a:pt x="120" y="55"/>
                </a:lnTo>
                <a:lnTo>
                  <a:pt x="130" y="44"/>
                </a:lnTo>
                <a:lnTo>
                  <a:pt x="103" y="26"/>
                </a:lnTo>
                <a:lnTo>
                  <a:pt x="47" y="16"/>
                </a:lnTo>
                <a:lnTo>
                  <a:pt x="49" y="8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5" name="Freeform 67"/>
          <p:cNvSpPr>
            <a:spLocks/>
          </p:cNvSpPr>
          <p:nvPr/>
        </p:nvSpPr>
        <p:spPr bwMode="auto">
          <a:xfrm>
            <a:off x="4987925" y="3587750"/>
            <a:ext cx="53975" cy="31750"/>
          </a:xfrm>
          <a:custGeom>
            <a:avLst/>
            <a:gdLst>
              <a:gd name="T0" fmla="*/ 0 w 40"/>
              <a:gd name="T1" fmla="*/ 2147483647 h 22"/>
              <a:gd name="T2" fmla="*/ 2147483647 w 40"/>
              <a:gd name="T3" fmla="*/ 2147483647 h 22"/>
              <a:gd name="T4" fmla="*/ 2147483647 w 40"/>
              <a:gd name="T5" fmla="*/ 0 h 22"/>
              <a:gd name="T6" fmla="*/ 0 w 40"/>
              <a:gd name="T7" fmla="*/ 2147483647 h 22"/>
              <a:gd name="T8" fmla="*/ 0 60000 65536"/>
              <a:gd name="T9" fmla="*/ 0 60000 65536"/>
              <a:gd name="T10" fmla="*/ 0 60000 65536"/>
              <a:gd name="T11" fmla="*/ 0 60000 65536"/>
              <a:gd name="T12" fmla="*/ 0 w 40"/>
              <a:gd name="T13" fmla="*/ 0 h 22"/>
              <a:gd name="T14" fmla="*/ 40 w 40"/>
              <a:gd name="T15" fmla="*/ 22 h 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" h="22">
                <a:moveTo>
                  <a:pt x="0" y="12"/>
                </a:moveTo>
                <a:lnTo>
                  <a:pt x="13" y="21"/>
                </a:lnTo>
                <a:lnTo>
                  <a:pt x="39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6" name="Freeform 68"/>
          <p:cNvSpPr>
            <a:spLocks/>
          </p:cNvSpPr>
          <p:nvPr/>
        </p:nvSpPr>
        <p:spPr bwMode="auto">
          <a:xfrm>
            <a:off x="4516438" y="3154363"/>
            <a:ext cx="242887" cy="100012"/>
          </a:xfrm>
          <a:custGeom>
            <a:avLst/>
            <a:gdLst>
              <a:gd name="T0" fmla="*/ 0 w 176"/>
              <a:gd name="T1" fmla="*/ 2147483647 h 68"/>
              <a:gd name="T2" fmla="*/ 2147483647 w 176"/>
              <a:gd name="T3" fmla="*/ 2147483647 h 68"/>
              <a:gd name="T4" fmla="*/ 2147483647 w 176"/>
              <a:gd name="T5" fmla="*/ 2147483647 h 68"/>
              <a:gd name="T6" fmla="*/ 2147483647 w 176"/>
              <a:gd name="T7" fmla="*/ 2147483647 h 68"/>
              <a:gd name="T8" fmla="*/ 2147483647 w 176"/>
              <a:gd name="T9" fmla="*/ 2147483647 h 68"/>
              <a:gd name="T10" fmla="*/ 2147483647 w 176"/>
              <a:gd name="T11" fmla="*/ 2147483647 h 68"/>
              <a:gd name="T12" fmla="*/ 2147483647 w 176"/>
              <a:gd name="T13" fmla="*/ 2147483647 h 68"/>
              <a:gd name="T14" fmla="*/ 2147483647 w 176"/>
              <a:gd name="T15" fmla="*/ 2147483647 h 68"/>
              <a:gd name="T16" fmla="*/ 2147483647 w 176"/>
              <a:gd name="T17" fmla="*/ 2147483647 h 68"/>
              <a:gd name="T18" fmla="*/ 2147483647 w 176"/>
              <a:gd name="T19" fmla="*/ 2147483647 h 68"/>
              <a:gd name="T20" fmla="*/ 2147483647 w 176"/>
              <a:gd name="T21" fmla="*/ 0 h 68"/>
              <a:gd name="T22" fmla="*/ 0 w 176"/>
              <a:gd name="T23" fmla="*/ 2147483647 h 6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76"/>
              <a:gd name="T37" fmla="*/ 0 h 68"/>
              <a:gd name="T38" fmla="*/ 176 w 176"/>
              <a:gd name="T39" fmla="*/ 68 h 6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76" h="68">
                <a:moveTo>
                  <a:pt x="0" y="16"/>
                </a:moveTo>
                <a:lnTo>
                  <a:pt x="30" y="49"/>
                </a:lnTo>
                <a:lnTo>
                  <a:pt x="79" y="47"/>
                </a:lnTo>
                <a:lnTo>
                  <a:pt x="86" y="62"/>
                </a:lnTo>
                <a:lnTo>
                  <a:pt x="110" y="67"/>
                </a:lnTo>
                <a:lnTo>
                  <a:pt x="147" y="53"/>
                </a:lnTo>
                <a:lnTo>
                  <a:pt x="169" y="55"/>
                </a:lnTo>
                <a:lnTo>
                  <a:pt x="175" y="42"/>
                </a:lnTo>
                <a:lnTo>
                  <a:pt x="132" y="38"/>
                </a:lnTo>
                <a:lnTo>
                  <a:pt x="46" y="7"/>
                </a:lnTo>
                <a:lnTo>
                  <a:pt x="36" y="0"/>
                </a:lnTo>
                <a:lnTo>
                  <a:pt x="0" y="1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7" name="Freeform 69"/>
          <p:cNvSpPr>
            <a:spLocks/>
          </p:cNvSpPr>
          <p:nvPr/>
        </p:nvSpPr>
        <p:spPr bwMode="auto">
          <a:xfrm>
            <a:off x="4260850" y="4156075"/>
            <a:ext cx="63500" cy="144463"/>
          </a:xfrm>
          <a:custGeom>
            <a:avLst/>
            <a:gdLst>
              <a:gd name="T0" fmla="*/ 0 w 46"/>
              <a:gd name="T1" fmla="*/ 2147483647 h 99"/>
              <a:gd name="T2" fmla="*/ 2147483647 w 46"/>
              <a:gd name="T3" fmla="*/ 2147483647 h 99"/>
              <a:gd name="T4" fmla="*/ 2147483647 w 46"/>
              <a:gd name="T5" fmla="*/ 2147483647 h 99"/>
              <a:gd name="T6" fmla="*/ 2147483647 w 46"/>
              <a:gd name="T7" fmla="*/ 2147483647 h 99"/>
              <a:gd name="T8" fmla="*/ 2147483647 w 46"/>
              <a:gd name="T9" fmla="*/ 0 h 99"/>
              <a:gd name="T10" fmla="*/ 2147483647 w 46"/>
              <a:gd name="T11" fmla="*/ 2147483647 h 99"/>
              <a:gd name="T12" fmla="*/ 0 w 46"/>
              <a:gd name="T13" fmla="*/ 2147483647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6"/>
              <a:gd name="T22" fmla="*/ 0 h 99"/>
              <a:gd name="T23" fmla="*/ 46 w 46"/>
              <a:gd name="T24" fmla="*/ 99 h 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6" h="99">
                <a:moveTo>
                  <a:pt x="0" y="23"/>
                </a:moveTo>
                <a:lnTo>
                  <a:pt x="18" y="98"/>
                </a:lnTo>
                <a:lnTo>
                  <a:pt x="31" y="97"/>
                </a:lnTo>
                <a:lnTo>
                  <a:pt x="45" y="12"/>
                </a:lnTo>
                <a:lnTo>
                  <a:pt x="31" y="0"/>
                </a:lnTo>
                <a:lnTo>
                  <a:pt x="24" y="7"/>
                </a:lnTo>
                <a:lnTo>
                  <a:pt x="0" y="2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8" name="Freeform 70"/>
          <p:cNvSpPr>
            <a:spLocks/>
          </p:cNvSpPr>
          <p:nvPr/>
        </p:nvSpPr>
        <p:spPr bwMode="auto">
          <a:xfrm>
            <a:off x="4429125" y="2944813"/>
            <a:ext cx="60325" cy="95250"/>
          </a:xfrm>
          <a:custGeom>
            <a:avLst/>
            <a:gdLst>
              <a:gd name="T0" fmla="*/ 0 w 44"/>
              <a:gd name="T1" fmla="*/ 2147483647 h 65"/>
              <a:gd name="T2" fmla="*/ 2147483647 w 44"/>
              <a:gd name="T3" fmla="*/ 2147483647 h 65"/>
              <a:gd name="T4" fmla="*/ 2147483647 w 44"/>
              <a:gd name="T5" fmla="*/ 0 h 65"/>
              <a:gd name="T6" fmla="*/ 2147483647 w 44"/>
              <a:gd name="T7" fmla="*/ 2147483647 h 65"/>
              <a:gd name="T8" fmla="*/ 2147483647 w 44"/>
              <a:gd name="T9" fmla="*/ 2147483647 h 65"/>
              <a:gd name="T10" fmla="*/ 2147483647 w 44"/>
              <a:gd name="T11" fmla="*/ 2147483647 h 65"/>
              <a:gd name="T12" fmla="*/ 2147483647 w 44"/>
              <a:gd name="T13" fmla="*/ 2147483647 h 65"/>
              <a:gd name="T14" fmla="*/ 2147483647 w 44"/>
              <a:gd name="T15" fmla="*/ 2147483647 h 65"/>
              <a:gd name="T16" fmla="*/ 0 w 44"/>
              <a:gd name="T17" fmla="*/ 2147483647 h 6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4"/>
              <a:gd name="T28" fmla="*/ 0 h 65"/>
              <a:gd name="T29" fmla="*/ 44 w 44"/>
              <a:gd name="T30" fmla="*/ 65 h 6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4" h="65">
                <a:moveTo>
                  <a:pt x="0" y="48"/>
                </a:moveTo>
                <a:lnTo>
                  <a:pt x="2" y="19"/>
                </a:lnTo>
                <a:lnTo>
                  <a:pt x="37" y="0"/>
                </a:lnTo>
                <a:lnTo>
                  <a:pt x="29" y="26"/>
                </a:lnTo>
                <a:lnTo>
                  <a:pt x="43" y="33"/>
                </a:lnTo>
                <a:lnTo>
                  <a:pt x="23" y="44"/>
                </a:lnTo>
                <a:lnTo>
                  <a:pt x="19" y="64"/>
                </a:lnTo>
                <a:lnTo>
                  <a:pt x="8" y="63"/>
                </a:lnTo>
                <a:lnTo>
                  <a:pt x="0" y="4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79" name="Freeform 71"/>
          <p:cNvSpPr>
            <a:spLocks/>
          </p:cNvSpPr>
          <p:nvPr/>
        </p:nvSpPr>
        <p:spPr bwMode="auto">
          <a:xfrm>
            <a:off x="4468813" y="3013075"/>
            <a:ext cx="23812" cy="15875"/>
          </a:xfrm>
          <a:custGeom>
            <a:avLst/>
            <a:gdLst>
              <a:gd name="T0" fmla="*/ 0 w 17"/>
              <a:gd name="T1" fmla="*/ 2147483647 h 11"/>
              <a:gd name="T2" fmla="*/ 2147483647 w 17"/>
              <a:gd name="T3" fmla="*/ 0 h 11"/>
              <a:gd name="T4" fmla="*/ 2147483647 w 17"/>
              <a:gd name="T5" fmla="*/ 2147483647 h 11"/>
              <a:gd name="T6" fmla="*/ 0 w 17"/>
              <a:gd name="T7" fmla="*/ 2147483647 h 11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1"/>
              <a:gd name="T14" fmla="*/ 17 w 17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1">
                <a:moveTo>
                  <a:pt x="0" y="10"/>
                </a:moveTo>
                <a:lnTo>
                  <a:pt x="12" y="0"/>
                </a:lnTo>
                <a:lnTo>
                  <a:pt x="16" y="8"/>
                </a:lnTo>
                <a:lnTo>
                  <a:pt x="0" y="1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0" name="Freeform 72"/>
          <p:cNvSpPr>
            <a:spLocks/>
          </p:cNvSpPr>
          <p:nvPr/>
        </p:nvSpPr>
        <p:spPr bwMode="auto">
          <a:xfrm>
            <a:off x="4495800" y="2995613"/>
            <a:ext cx="36513" cy="39687"/>
          </a:xfrm>
          <a:custGeom>
            <a:avLst/>
            <a:gdLst>
              <a:gd name="T0" fmla="*/ 0 w 27"/>
              <a:gd name="T1" fmla="*/ 2147483647 h 27"/>
              <a:gd name="T2" fmla="*/ 2147483647 w 27"/>
              <a:gd name="T3" fmla="*/ 2147483647 h 27"/>
              <a:gd name="T4" fmla="*/ 2147483647 w 27"/>
              <a:gd name="T5" fmla="*/ 2147483647 h 27"/>
              <a:gd name="T6" fmla="*/ 2147483647 w 27"/>
              <a:gd name="T7" fmla="*/ 0 h 27"/>
              <a:gd name="T8" fmla="*/ 0 w 27"/>
              <a:gd name="T9" fmla="*/ 2147483647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7"/>
              <a:gd name="T16" fmla="*/ 0 h 27"/>
              <a:gd name="T17" fmla="*/ 27 w 27"/>
              <a:gd name="T18" fmla="*/ 27 h 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7" h="27">
                <a:moveTo>
                  <a:pt x="0" y="12"/>
                </a:moveTo>
                <a:lnTo>
                  <a:pt x="19" y="26"/>
                </a:lnTo>
                <a:lnTo>
                  <a:pt x="26" y="12"/>
                </a:lnTo>
                <a:lnTo>
                  <a:pt x="22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1" name="Freeform 73"/>
          <p:cNvSpPr>
            <a:spLocks/>
          </p:cNvSpPr>
          <p:nvPr/>
        </p:nvSpPr>
        <p:spPr bwMode="auto">
          <a:xfrm>
            <a:off x="2579688" y="3983038"/>
            <a:ext cx="80962" cy="47625"/>
          </a:xfrm>
          <a:custGeom>
            <a:avLst/>
            <a:gdLst>
              <a:gd name="T0" fmla="*/ 0 w 59"/>
              <a:gd name="T1" fmla="*/ 0 h 32"/>
              <a:gd name="T2" fmla="*/ 0 w 59"/>
              <a:gd name="T3" fmla="*/ 2147483647 h 32"/>
              <a:gd name="T4" fmla="*/ 2147483647 w 59"/>
              <a:gd name="T5" fmla="*/ 2147483647 h 32"/>
              <a:gd name="T6" fmla="*/ 2147483647 w 59"/>
              <a:gd name="T7" fmla="*/ 2147483647 h 32"/>
              <a:gd name="T8" fmla="*/ 0 w 59"/>
              <a:gd name="T9" fmla="*/ 0 h 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9"/>
              <a:gd name="T16" fmla="*/ 0 h 32"/>
              <a:gd name="T17" fmla="*/ 59 w 59"/>
              <a:gd name="T18" fmla="*/ 32 h 3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9" h="32">
                <a:moveTo>
                  <a:pt x="0" y="0"/>
                </a:moveTo>
                <a:lnTo>
                  <a:pt x="0" y="31"/>
                </a:lnTo>
                <a:lnTo>
                  <a:pt x="58" y="19"/>
                </a:lnTo>
                <a:lnTo>
                  <a:pt x="32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2" name="Freeform 74"/>
          <p:cNvSpPr>
            <a:spLocks/>
          </p:cNvSpPr>
          <p:nvPr/>
        </p:nvSpPr>
        <p:spPr bwMode="auto">
          <a:xfrm>
            <a:off x="2368550" y="4413250"/>
            <a:ext cx="130175" cy="144463"/>
          </a:xfrm>
          <a:custGeom>
            <a:avLst/>
            <a:gdLst>
              <a:gd name="T0" fmla="*/ 0 w 95"/>
              <a:gd name="T1" fmla="*/ 2147483647 h 99"/>
              <a:gd name="T2" fmla="*/ 2147483647 w 95"/>
              <a:gd name="T3" fmla="*/ 2147483647 h 99"/>
              <a:gd name="T4" fmla="*/ 2147483647 w 95"/>
              <a:gd name="T5" fmla="*/ 2147483647 h 99"/>
              <a:gd name="T6" fmla="*/ 2147483647 w 95"/>
              <a:gd name="T7" fmla="*/ 2147483647 h 99"/>
              <a:gd name="T8" fmla="*/ 2147483647 w 95"/>
              <a:gd name="T9" fmla="*/ 2147483647 h 99"/>
              <a:gd name="T10" fmla="*/ 2147483647 w 95"/>
              <a:gd name="T11" fmla="*/ 2147483647 h 99"/>
              <a:gd name="T12" fmla="*/ 2147483647 w 95"/>
              <a:gd name="T13" fmla="*/ 2147483647 h 99"/>
              <a:gd name="T14" fmla="*/ 2147483647 w 95"/>
              <a:gd name="T15" fmla="*/ 2147483647 h 99"/>
              <a:gd name="T16" fmla="*/ 2147483647 w 95"/>
              <a:gd name="T17" fmla="*/ 2147483647 h 99"/>
              <a:gd name="T18" fmla="*/ 2147483647 w 95"/>
              <a:gd name="T19" fmla="*/ 2147483647 h 99"/>
              <a:gd name="T20" fmla="*/ 2147483647 w 95"/>
              <a:gd name="T21" fmla="*/ 0 h 99"/>
              <a:gd name="T22" fmla="*/ 2147483647 w 95"/>
              <a:gd name="T23" fmla="*/ 2147483647 h 99"/>
              <a:gd name="T24" fmla="*/ 0 w 95"/>
              <a:gd name="T25" fmla="*/ 2147483647 h 9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5"/>
              <a:gd name="T40" fmla="*/ 0 h 99"/>
              <a:gd name="T41" fmla="*/ 95 w 95"/>
              <a:gd name="T42" fmla="*/ 99 h 9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5" h="99">
                <a:moveTo>
                  <a:pt x="0" y="39"/>
                </a:moveTo>
                <a:lnTo>
                  <a:pt x="1" y="57"/>
                </a:lnTo>
                <a:lnTo>
                  <a:pt x="19" y="63"/>
                </a:lnTo>
                <a:lnTo>
                  <a:pt x="9" y="77"/>
                </a:lnTo>
                <a:lnTo>
                  <a:pt x="5" y="92"/>
                </a:lnTo>
                <a:lnTo>
                  <a:pt x="30" y="98"/>
                </a:lnTo>
                <a:lnTo>
                  <a:pt x="48" y="70"/>
                </a:lnTo>
                <a:lnTo>
                  <a:pt x="86" y="49"/>
                </a:lnTo>
                <a:lnTo>
                  <a:pt x="94" y="23"/>
                </a:lnTo>
                <a:lnTo>
                  <a:pt x="60" y="19"/>
                </a:lnTo>
                <a:lnTo>
                  <a:pt x="34" y="0"/>
                </a:lnTo>
                <a:lnTo>
                  <a:pt x="13" y="11"/>
                </a:lnTo>
                <a:lnTo>
                  <a:pt x="0" y="3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3" name="Freeform 75"/>
          <p:cNvSpPr>
            <a:spLocks/>
          </p:cNvSpPr>
          <p:nvPr/>
        </p:nvSpPr>
        <p:spPr bwMode="auto">
          <a:xfrm>
            <a:off x="2155825" y="4108450"/>
            <a:ext cx="53975" cy="28575"/>
          </a:xfrm>
          <a:custGeom>
            <a:avLst/>
            <a:gdLst>
              <a:gd name="T0" fmla="*/ 0 w 39"/>
              <a:gd name="T1" fmla="*/ 2147483647 h 19"/>
              <a:gd name="T2" fmla="*/ 2147483647 w 39"/>
              <a:gd name="T3" fmla="*/ 0 h 19"/>
              <a:gd name="T4" fmla="*/ 2147483647 w 39"/>
              <a:gd name="T5" fmla="*/ 2147483647 h 19"/>
              <a:gd name="T6" fmla="*/ 0 w 39"/>
              <a:gd name="T7" fmla="*/ 2147483647 h 19"/>
              <a:gd name="T8" fmla="*/ 0 60000 65536"/>
              <a:gd name="T9" fmla="*/ 0 60000 65536"/>
              <a:gd name="T10" fmla="*/ 0 60000 65536"/>
              <a:gd name="T11" fmla="*/ 0 60000 65536"/>
              <a:gd name="T12" fmla="*/ 0 w 39"/>
              <a:gd name="T13" fmla="*/ 0 h 19"/>
              <a:gd name="T14" fmla="*/ 39 w 39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9" h="19">
                <a:moveTo>
                  <a:pt x="0" y="12"/>
                </a:moveTo>
                <a:lnTo>
                  <a:pt x="10" y="0"/>
                </a:lnTo>
                <a:lnTo>
                  <a:pt x="38" y="18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4" name="Freeform 76"/>
          <p:cNvSpPr>
            <a:spLocks/>
          </p:cNvSpPr>
          <p:nvPr/>
        </p:nvSpPr>
        <p:spPr bwMode="auto">
          <a:xfrm>
            <a:off x="4460875" y="4392613"/>
            <a:ext cx="38100" cy="30162"/>
          </a:xfrm>
          <a:custGeom>
            <a:avLst/>
            <a:gdLst>
              <a:gd name="T0" fmla="*/ 0 w 27"/>
              <a:gd name="T1" fmla="*/ 2147483647 h 21"/>
              <a:gd name="T2" fmla="*/ 2147483647 w 27"/>
              <a:gd name="T3" fmla="*/ 2147483647 h 21"/>
              <a:gd name="T4" fmla="*/ 2147483647 w 27"/>
              <a:gd name="T5" fmla="*/ 0 h 21"/>
              <a:gd name="T6" fmla="*/ 2147483647 w 27"/>
              <a:gd name="T7" fmla="*/ 2147483647 h 21"/>
              <a:gd name="T8" fmla="*/ 0 w 27"/>
              <a:gd name="T9" fmla="*/ 2147483647 h 2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7"/>
              <a:gd name="T16" fmla="*/ 0 h 21"/>
              <a:gd name="T17" fmla="*/ 27 w 27"/>
              <a:gd name="T18" fmla="*/ 21 h 2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7" h="21">
                <a:moveTo>
                  <a:pt x="0" y="20"/>
                </a:moveTo>
                <a:lnTo>
                  <a:pt x="2" y="1"/>
                </a:lnTo>
                <a:lnTo>
                  <a:pt x="26" y="0"/>
                </a:lnTo>
                <a:lnTo>
                  <a:pt x="26" y="19"/>
                </a:lnTo>
                <a:lnTo>
                  <a:pt x="0" y="2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5" name="Freeform 77"/>
          <p:cNvSpPr>
            <a:spLocks/>
          </p:cNvSpPr>
          <p:nvPr/>
        </p:nvSpPr>
        <p:spPr bwMode="auto">
          <a:xfrm>
            <a:off x="5002213" y="4022725"/>
            <a:ext cx="350837" cy="344488"/>
          </a:xfrm>
          <a:custGeom>
            <a:avLst/>
            <a:gdLst>
              <a:gd name="T0" fmla="*/ 0 w 255"/>
              <a:gd name="T1" fmla="*/ 2147483647 h 235"/>
              <a:gd name="T2" fmla="*/ 2147483647 w 255"/>
              <a:gd name="T3" fmla="*/ 2147483647 h 235"/>
              <a:gd name="T4" fmla="*/ 2147483647 w 255"/>
              <a:gd name="T5" fmla="*/ 2147483647 h 235"/>
              <a:gd name="T6" fmla="*/ 2147483647 w 255"/>
              <a:gd name="T7" fmla="*/ 2147483647 h 235"/>
              <a:gd name="T8" fmla="*/ 2147483647 w 255"/>
              <a:gd name="T9" fmla="*/ 2147483647 h 235"/>
              <a:gd name="T10" fmla="*/ 2147483647 w 255"/>
              <a:gd name="T11" fmla="*/ 0 h 235"/>
              <a:gd name="T12" fmla="*/ 2147483647 w 255"/>
              <a:gd name="T13" fmla="*/ 2147483647 h 235"/>
              <a:gd name="T14" fmla="*/ 2147483647 w 255"/>
              <a:gd name="T15" fmla="*/ 2147483647 h 235"/>
              <a:gd name="T16" fmla="*/ 2147483647 w 255"/>
              <a:gd name="T17" fmla="*/ 2147483647 h 235"/>
              <a:gd name="T18" fmla="*/ 2147483647 w 255"/>
              <a:gd name="T19" fmla="*/ 2147483647 h 235"/>
              <a:gd name="T20" fmla="*/ 2147483647 w 255"/>
              <a:gd name="T21" fmla="*/ 2147483647 h 235"/>
              <a:gd name="T22" fmla="*/ 2147483647 w 255"/>
              <a:gd name="T23" fmla="*/ 2147483647 h 235"/>
              <a:gd name="T24" fmla="*/ 2147483647 w 255"/>
              <a:gd name="T25" fmla="*/ 2147483647 h 235"/>
              <a:gd name="T26" fmla="*/ 2147483647 w 255"/>
              <a:gd name="T27" fmla="*/ 2147483647 h 235"/>
              <a:gd name="T28" fmla="*/ 2147483647 w 255"/>
              <a:gd name="T29" fmla="*/ 2147483647 h 235"/>
              <a:gd name="T30" fmla="*/ 2147483647 w 255"/>
              <a:gd name="T31" fmla="*/ 2147483647 h 235"/>
              <a:gd name="T32" fmla="*/ 2147483647 w 255"/>
              <a:gd name="T33" fmla="*/ 2147483647 h 235"/>
              <a:gd name="T34" fmla="*/ 0 w 255"/>
              <a:gd name="T35" fmla="*/ 2147483647 h 23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55"/>
              <a:gd name="T55" fmla="*/ 0 h 235"/>
              <a:gd name="T56" fmla="*/ 255 w 255"/>
              <a:gd name="T57" fmla="*/ 235 h 23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55" h="235">
                <a:moveTo>
                  <a:pt x="0" y="165"/>
                </a:moveTo>
                <a:lnTo>
                  <a:pt x="19" y="152"/>
                </a:lnTo>
                <a:lnTo>
                  <a:pt x="21" y="122"/>
                </a:lnTo>
                <a:lnTo>
                  <a:pt x="53" y="83"/>
                </a:lnTo>
                <a:lnTo>
                  <a:pt x="67" y="16"/>
                </a:lnTo>
                <a:lnTo>
                  <a:pt x="92" y="0"/>
                </a:lnTo>
                <a:lnTo>
                  <a:pt x="112" y="47"/>
                </a:lnTo>
                <a:lnTo>
                  <a:pt x="169" y="87"/>
                </a:lnTo>
                <a:lnTo>
                  <a:pt x="150" y="111"/>
                </a:lnTo>
                <a:lnTo>
                  <a:pt x="167" y="116"/>
                </a:lnTo>
                <a:lnTo>
                  <a:pt x="186" y="145"/>
                </a:lnTo>
                <a:lnTo>
                  <a:pt x="254" y="161"/>
                </a:lnTo>
                <a:lnTo>
                  <a:pt x="202" y="211"/>
                </a:lnTo>
                <a:lnTo>
                  <a:pt x="150" y="227"/>
                </a:lnTo>
                <a:lnTo>
                  <a:pt x="100" y="234"/>
                </a:lnTo>
                <a:lnTo>
                  <a:pt x="47" y="216"/>
                </a:lnTo>
                <a:lnTo>
                  <a:pt x="30" y="184"/>
                </a:lnTo>
                <a:lnTo>
                  <a:pt x="0" y="16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6" name="Freeform 78"/>
          <p:cNvSpPr>
            <a:spLocks/>
          </p:cNvSpPr>
          <p:nvPr/>
        </p:nvSpPr>
        <p:spPr bwMode="auto">
          <a:xfrm>
            <a:off x="2830513" y="5740400"/>
            <a:ext cx="36512" cy="23813"/>
          </a:xfrm>
          <a:custGeom>
            <a:avLst/>
            <a:gdLst>
              <a:gd name="T0" fmla="*/ 0 w 26"/>
              <a:gd name="T1" fmla="*/ 2147483647 h 16"/>
              <a:gd name="T2" fmla="*/ 2147483647 w 26"/>
              <a:gd name="T3" fmla="*/ 2147483647 h 16"/>
              <a:gd name="T4" fmla="*/ 2147483647 w 26"/>
              <a:gd name="T5" fmla="*/ 0 h 16"/>
              <a:gd name="T6" fmla="*/ 2147483647 w 26"/>
              <a:gd name="T7" fmla="*/ 2147483647 h 16"/>
              <a:gd name="T8" fmla="*/ 0 w 26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6"/>
              <a:gd name="T17" fmla="*/ 26 w 26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6">
                <a:moveTo>
                  <a:pt x="0" y="15"/>
                </a:moveTo>
                <a:lnTo>
                  <a:pt x="15" y="8"/>
                </a:lnTo>
                <a:lnTo>
                  <a:pt x="7" y="0"/>
                </a:lnTo>
                <a:lnTo>
                  <a:pt x="25" y="3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7" name="Freeform 79"/>
          <p:cNvSpPr>
            <a:spLocks/>
          </p:cNvSpPr>
          <p:nvPr/>
        </p:nvSpPr>
        <p:spPr bwMode="auto">
          <a:xfrm>
            <a:off x="2862263" y="5738813"/>
            <a:ext cx="41275" cy="26987"/>
          </a:xfrm>
          <a:custGeom>
            <a:avLst/>
            <a:gdLst>
              <a:gd name="T0" fmla="*/ 0 w 30"/>
              <a:gd name="T1" fmla="*/ 2147483647 h 18"/>
              <a:gd name="T2" fmla="*/ 2147483647 w 30"/>
              <a:gd name="T3" fmla="*/ 0 h 18"/>
              <a:gd name="T4" fmla="*/ 2147483647 w 30"/>
              <a:gd name="T5" fmla="*/ 2147483647 h 18"/>
              <a:gd name="T6" fmla="*/ 0 w 30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30"/>
              <a:gd name="T13" fmla="*/ 0 h 18"/>
              <a:gd name="T14" fmla="*/ 30 w 30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0" h="18">
                <a:moveTo>
                  <a:pt x="0" y="17"/>
                </a:moveTo>
                <a:lnTo>
                  <a:pt x="13" y="0"/>
                </a:lnTo>
                <a:lnTo>
                  <a:pt x="29" y="6"/>
                </a:lnTo>
                <a:lnTo>
                  <a:pt x="0" y="1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8" name="Freeform 80"/>
          <p:cNvSpPr>
            <a:spLocks/>
          </p:cNvSpPr>
          <p:nvPr/>
        </p:nvSpPr>
        <p:spPr bwMode="auto">
          <a:xfrm>
            <a:off x="8340725" y="4845050"/>
            <a:ext cx="28575" cy="22225"/>
          </a:xfrm>
          <a:custGeom>
            <a:avLst/>
            <a:gdLst>
              <a:gd name="T0" fmla="*/ 0 w 21"/>
              <a:gd name="T1" fmla="*/ 2147483647 h 15"/>
              <a:gd name="T2" fmla="*/ 2147483647 w 21"/>
              <a:gd name="T3" fmla="*/ 0 h 15"/>
              <a:gd name="T4" fmla="*/ 2147483647 w 21"/>
              <a:gd name="T5" fmla="*/ 2147483647 h 15"/>
              <a:gd name="T6" fmla="*/ 0 w 21"/>
              <a:gd name="T7" fmla="*/ 2147483647 h 15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15"/>
              <a:gd name="T14" fmla="*/ 21 w 21"/>
              <a:gd name="T15" fmla="*/ 15 h 1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15">
                <a:moveTo>
                  <a:pt x="0" y="14"/>
                </a:moveTo>
                <a:lnTo>
                  <a:pt x="11" y="0"/>
                </a:lnTo>
                <a:lnTo>
                  <a:pt x="20" y="14"/>
                </a:lnTo>
                <a:lnTo>
                  <a:pt x="0" y="1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9" name="Freeform 81"/>
          <p:cNvSpPr>
            <a:spLocks/>
          </p:cNvSpPr>
          <p:nvPr/>
        </p:nvSpPr>
        <p:spPr bwMode="auto">
          <a:xfrm>
            <a:off x="4716463" y="2493963"/>
            <a:ext cx="250825" cy="382587"/>
          </a:xfrm>
          <a:custGeom>
            <a:avLst/>
            <a:gdLst>
              <a:gd name="T0" fmla="*/ 0 w 182"/>
              <a:gd name="T1" fmla="*/ 2147483647 h 262"/>
              <a:gd name="T2" fmla="*/ 2147483647 w 182"/>
              <a:gd name="T3" fmla="*/ 2147483647 h 262"/>
              <a:gd name="T4" fmla="*/ 2147483647 w 182"/>
              <a:gd name="T5" fmla="*/ 2147483647 h 262"/>
              <a:gd name="T6" fmla="*/ 2147483647 w 182"/>
              <a:gd name="T7" fmla="*/ 2147483647 h 262"/>
              <a:gd name="T8" fmla="*/ 2147483647 w 182"/>
              <a:gd name="T9" fmla="*/ 2147483647 h 262"/>
              <a:gd name="T10" fmla="*/ 2147483647 w 182"/>
              <a:gd name="T11" fmla="*/ 2147483647 h 262"/>
              <a:gd name="T12" fmla="*/ 2147483647 w 182"/>
              <a:gd name="T13" fmla="*/ 0 h 262"/>
              <a:gd name="T14" fmla="*/ 2147483647 w 182"/>
              <a:gd name="T15" fmla="*/ 2147483647 h 262"/>
              <a:gd name="T16" fmla="*/ 2147483647 w 182"/>
              <a:gd name="T17" fmla="*/ 2147483647 h 262"/>
              <a:gd name="T18" fmla="*/ 2147483647 w 182"/>
              <a:gd name="T19" fmla="*/ 2147483647 h 262"/>
              <a:gd name="T20" fmla="*/ 2147483647 w 182"/>
              <a:gd name="T21" fmla="*/ 2147483647 h 262"/>
              <a:gd name="T22" fmla="*/ 2147483647 w 182"/>
              <a:gd name="T23" fmla="*/ 2147483647 h 262"/>
              <a:gd name="T24" fmla="*/ 2147483647 w 182"/>
              <a:gd name="T25" fmla="*/ 2147483647 h 262"/>
              <a:gd name="T26" fmla="*/ 2147483647 w 182"/>
              <a:gd name="T27" fmla="*/ 2147483647 h 262"/>
              <a:gd name="T28" fmla="*/ 2147483647 w 182"/>
              <a:gd name="T29" fmla="*/ 2147483647 h 262"/>
              <a:gd name="T30" fmla="*/ 2147483647 w 182"/>
              <a:gd name="T31" fmla="*/ 2147483647 h 262"/>
              <a:gd name="T32" fmla="*/ 2147483647 w 182"/>
              <a:gd name="T33" fmla="*/ 2147483647 h 262"/>
              <a:gd name="T34" fmla="*/ 2147483647 w 182"/>
              <a:gd name="T35" fmla="*/ 2147483647 h 262"/>
              <a:gd name="T36" fmla="*/ 2147483647 w 182"/>
              <a:gd name="T37" fmla="*/ 2147483647 h 262"/>
              <a:gd name="T38" fmla="*/ 2147483647 w 182"/>
              <a:gd name="T39" fmla="*/ 2147483647 h 262"/>
              <a:gd name="T40" fmla="*/ 2147483647 w 182"/>
              <a:gd name="T41" fmla="*/ 2147483647 h 262"/>
              <a:gd name="T42" fmla="*/ 2147483647 w 182"/>
              <a:gd name="T43" fmla="*/ 2147483647 h 262"/>
              <a:gd name="T44" fmla="*/ 2147483647 w 182"/>
              <a:gd name="T45" fmla="*/ 2147483647 h 262"/>
              <a:gd name="T46" fmla="*/ 0 w 182"/>
              <a:gd name="T47" fmla="*/ 2147483647 h 26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82"/>
              <a:gd name="T73" fmla="*/ 0 h 262"/>
              <a:gd name="T74" fmla="*/ 182 w 182"/>
              <a:gd name="T75" fmla="*/ 262 h 262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82" h="262">
                <a:moveTo>
                  <a:pt x="0" y="28"/>
                </a:moveTo>
                <a:lnTo>
                  <a:pt x="11" y="21"/>
                </a:lnTo>
                <a:lnTo>
                  <a:pt x="32" y="36"/>
                </a:lnTo>
                <a:lnTo>
                  <a:pt x="65" y="38"/>
                </a:lnTo>
                <a:lnTo>
                  <a:pt x="86" y="30"/>
                </a:lnTo>
                <a:lnTo>
                  <a:pt x="91" y="8"/>
                </a:lnTo>
                <a:lnTo>
                  <a:pt x="124" y="0"/>
                </a:lnTo>
                <a:lnTo>
                  <a:pt x="144" y="10"/>
                </a:lnTo>
                <a:lnTo>
                  <a:pt x="142" y="28"/>
                </a:lnTo>
                <a:lnTo>
                  <a:pt x="133" y="45"/>
                </a:lnTo>
                <a:lnTo>
                  <a:pt x="158" y="67"/>
                </a:lnTo>
                <a:lnTo>
                  <a:pt x="144" y="85"/>
                </a:lnTo>
                <a:lnTo>
                  <a:pt x="159" y="115"/>
                </a:lnTo>
                <a:lnTo>
                  <a:pt x="153" y="139"/>
                </a:lnTo>
                <a:lnTo>
                  <a:pt x="181" y="193"/>
                </a:lnTo>
                <a:lnTo>
                  <a:pt x="118" y="244"/>
                </a:lnTo>
                <a:lnTo>
                  <a:pt x="39" y="261"/>
                </a:lnTo>
                <a:lnTo>
                  <a:pt x="37" y="248"/>
                </a:lnTo>
                <a:lnTo>
                  <a:pt x="11" y="242"/>
                </a:lnTo>
                <a:lnTo>
                  <a:pt x="7" y="190"/>
                </a:lnTo>
                <a:lnTo>
                  <a:pt x="81" y="136"/>
                </a:lnTo>
                <a:lnTo>
                  <a:pt x="58" y="111"/>
                </a:lnTo>
                <a:lnTo>
                  <a:pt x="49" y="58"/>
                </a:lnTo>
                <a:lnTo>
                  <a:pt x="0" y="2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0" name="Freeform 82"/>
          <p:cNvSpPr>
            <a:spLocks/>
          </p:cNvSpPr>
          <p:nvPr/>
        </p:nvSpPr>
        <p:spPr bwMode="auto">
          <a:xfrm>
            <a:off x="4135438" y="3154363"/>
            <a:ext cx="288925" cy="255587"/>
          </a:xfrm>
          <a:custGeom>
            <a:avLst/>
            <a:gdLst>
              <a:gd name="T0" fmla="*/ 0 w 210"/>
              <a:gd name="T1" fmla="*/ 2147483647 h 175"/>
              <a:gd name="T2" fmla="*/ 2147483647 w 210"/>
              <a:gd name="T3" fmla="*/ 2147483647 h 175"/>
              <a:gd name="T4" fmla="*/ 2147483647 w 210"/>
              <a:gd name="T5" fmla="*/ 2147483647 h 175"/>
              <a:gd name="T6" fmla="*/ 2147483647 w 210"/>
              <a:gd name="T7" fmla="*/ 2147483647 h 175"/>
              <a:gd name="T8" fmla="*/ 2147483647 w 210"/>
              <a:gd name="T9" fmla="*/ 2147483647 h 175"/>
              <a:gd name="T10" fmla="*/ 2147483647 w 210"/>
              <a:gd name="T11" fmla="*/ 2147483647 h 175"/>
              <a:gd name="T12" fmla="*/ 2147483647 w 210"/>
              <a:gd name="T13" fmla="*/ 2147483647 h 175"/>
              <a:gd name="T14" fmla="*/ 2147483647 w 210"/>
              <a:gd name="T15" fmla="*/ 2147483647 h 175"/>
              <a:gd name="T16" fmla="*/ 2147483647 w 210"/>
              <a:gd name="T17" fmla="*/ 2147483647 h 175"/>
              <a:gd name="T18" fmla="*/ 2147483647 w 210"/>
              <a:gd name="T19" fmla="*/ 2147483647 h 175"/>
              <a:gd name="T20" fmla="*/ 2147483647 w 210"/>
              <a:gd name="T21" fmla="*/ 2147483647 h 175"/>
              <a:gd name="T22" fmla="*/ 2147483647 w 210"/>
              <a:gd name="T23" fmla="*/ 2147483647 h 175"/>
              <a:gd name="T24" fmla="*/ 2147483647 w 210"/>
              <a:gd name="T25" fmla="*/ 2147483647 h 175"/>
              <a:gd name="T26" fmla="*/ 2147483647 w 210"/>
              <a:gd name="T27" fmla="*/ 2147483647 h 175"/>
              <a:gd name="T28" fmla="*/ 2147483647 w 210"/>
              <a:gd name="T29" fmla="*/ 2147483647 h 175"/>
              <a:gd name="T30" fmla="*/ 2147483647 w 210"/>
              <a:gd name="T31" fmla="*/ 2147483647 h 175"/>
              <a:gd name="T32" fmla="*/ 2147483647 w 210"/>
              <a:gd name="T33" fmla="*/ 2147483647 h 175"/>
              <a:gd name="T34" fmla="*/ 2147483647 w 210"/>
              <a:gd name="T35" fmla="*/ 2147483647 h 175"/>
              <a:gd name="T36" fmla="*/ 2147483647 w 210"/>
              <a:gd name="T37" fmla="*/ 2147483647 h 175"/>
              <a:gd name="T38" fmla="*/ 2147483647 w 210"/>
              <a:gd name="T39" fmla="*/ 2147483647 h 175"/>
              <a:gd name="T40" fmla="*/ 2147483647 w 210"/>
              <a:gd name="T41" fmla="*/ 2147483647 h 175"/>
              <a:gd name="T42" fmla="*/ 2147483647 w 210"/>
              <a:gd name="T43" fmla="*/ 0 h 175"/>
              <a:gd name="T44" fmla="*/ 2147483647 w 210"/>
              <a:gd name="T45" fmla="*/ 2147483647 h 175"/>
              <a:gd name="T46" fmla="*/ 2147483647 w 210"/>
              <a:gd name="T47" fmla="*/ 2147483647 h 175"/>
              <a:gd name="T48" fmla="*/ 2147483647 w 210"/>
              <a:gd name="T49" fmla="*/ 2147483647 h 175"/>
              <a:gd name="T50" fmla="*/ 2147483647 w 210"/>
              <a:gd name="T51" fmla="*/ 2147483647 h 175"/>
              <a:gd name="T52" fmla="*/ 0 w 210"/>
              <a:gd name="T53" fmla="*/ 2147483647 h 1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10"/>
              <a:gd name="T82" fmla="*/ 0 h 175"/>
              <a:gd name="T83" fmla="*/ 210 w 210"/>
              <a:gd name="T84" fmla="*/ 175 h 17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10" h="175">
                <a:moveTo>
                  <a:pt x="0" y="54"/>
                </a:moveTo>
                <a:lnTo>
                  <a:pt x="6" y="68"/>
                </a:lnTo>
                <a:lnTo>
                  <a:pt x="49" y="81"/>
                </a:lnTo>
                <a:lnTo>
                  <a:pt x="42" y="88"/>
                </a:lnTo>
                <a:lnTo>
                  <a:pt x="59" y="98"/>
                </a:lnTo>
                <a:lnTo>
                  <a:pt x="65" y="120"/>
                </a:lnTo>
                <a:lnTo>
                  <a:pt x="47" y="155"/>
                </a:lnTo>
                <a:lnTo>
                  <a:pt x="98" y="170"/>
                </a:lnTo>
                <a:lnTo>
                  <a:pt x="103" y="173"/>
                </a:lnTo>
                <a:lnTo>
                  <a:pt x="129" y="174"/>
                </a:lnTo>
                <a:lnTo>
                  <a:pt x="129" y="158"/>
                </a:lnTo>
                <a:lnTo>
                  <a:pt x="144" y="152"/>
                </a:lnTo>
                <a:lnTo>
                  <a:pt x="179" y="161"/>
                </a:lnTo>
                <a:lnTo>
                  <a:pt x="202" y="147"/>
                </a:lnTo>
                <a:lnTo>
                  <a:pt x="188" y="126"/>
                </a:lnTo>
                <a:lnTo>
                  <a:pt x="192" y="106"/>
                </a:lnTo>
                <a:lnTo>
                  <a:pt x="175" y="96"/>
                </a:lnTo>
                <a:lnTo>
                  <a:pt x="200" y="71"/>
                </a:lnTo>
                <a:lnTo>
                  <a:pt x="209" y="46"/>
                </a:lnTo>
                <a:lnTo>
                  <a:pt x="179" y="33"/>
                </a:lnTo>
                <a:lnTo>
                  <a:pt x="171" y="32"/>
                </a:lnTo>
                <a:lnTo>
                  <a:pt x="122" y="0"/>
                </a:lnTo>
                <a:lnTo>
                  <a:pt x="107" y="6"/>
                </a:lnTo>
                <a:lnTo>
                  <a:pt x="86" y="35"/>
                </a:lnTo>
                <a:lnTo>
                  <a:pt x="45" y="30"/>
                </a:lnTo>
                <a:lnTo>
                  <a:pt x="52" y="54"/>
                </a:lnTo>
                <a:lnTo>
                  <a:pt x="0" y="5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1" name="Freeform 83"/>
          <p:cNvSpPr>
            <a:spLocks/>
          </p:cNvSpPr>
          <p:nvPr/>
        </p:nvSpPr>
        <p:spPr bwMode="auto">
          <a:xfrm>
            <a:off x="4437063" y="3389313"/>
            <a:ext cx="19050" cy="49212"/>
          </a:xfrm>
          <a:custGeom>
            <a:avLst/>
            <a:gdLst>
              <a:gd name="T0" fmla="*/ 0 w 13"/>
              <a:gd name="T1" fmla="*/ 2147483647 h 33"/>
              <a:gd name="T2" fmla="*/ 2147483647 w 13"/>
              <a:gd name="T3" fmla="*/ 2147483647 h 33"/>
              <a:gd name="T4" fmla="*/ 2147483647 w 13"/>
              <a:gd name="T5" fmla="*/ 0 h 33"/>
              <a:gd name="T6" fmla="*/ 0 w 13"/>
              <a:gd name="T7" fmla="*/ 2147483647 h 33"/>
              <a:gd name="T8" fmla="*/ 0 60000 65536"/>
              <a:gd name="T9" fmla="*/ 0 60000 65536"/>
              <a:gd name="T10" fmla="*/ 0 60000 65536"/>
              <a:gd name="T11" fmla="*/ 0 60000 65536"/>
              <a:gd name="T12" fmla="*/ 0 w 13"/>
              <a:gd name="T13" fmla="*/ 0 h 33"/>
              <a:gd name="T14" fmla="*/ 13 w 13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3" h="33">
                <a:moveTo>
                  <a:pt x="0" y="15"/>
                </a:moveTo>
                <a:lnTo>
                  <a:pt x="11" y="32"/>
                </a:lnTo>
                <a:lnTo>
                  <a:pt x="12" y="0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2" name="Freeform 84"/>
          <p:cNvSpPr>
            <a:spLocks/>
          </p:cNvSpPr>
          <p:nvPr/>
        </p:nvSpPr>
        <p:spPr bwMode="auto">
          <a:xfrm>
            <a:off x="2982913" y="4318000"/>
            <a:ext cx="66675" cy="79375"/>
          </a:xfrm>
          <a:custGeom>
            <a:avLst/>
            <a:gdLst>
              <a:gd name="T0" fmla="*/ 0 w 49"/>
              <a:gd name="T1" fmla="*/ 2147483647 h 54"/>
              <a:gd name="T2" fmla="*/ 2147483647 w 49"/>
              <a:gd name="T3" fmla="*/ 0 h 54"/>
              <a:gd name="T4" fmla="*/ 2147483647 w 49"/>
              <a:gd name="T5" fmla="*/ 2147483647 h 54"/>
              <a:gd name="T6" fmla="*/ 2147483647 w 49"/>
              <a:gd name="T7" fmla="*/ 2147483647 h 54"/>
              <a:gd name="T8" fmla="*/ 0 w 49"/>
              <a:gd name="T9" fmla="*/ 2147483647 h 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9"/>
              <a:gd name="T16" fmla="*/ 0 h 54"/>
              <a:gd name="T17" fmla="*/ 49 w 49"/>
              <a:gd name="T18" fmla="*/ 54 h 5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9" h="54">
                <a:moveTo>
                  <a:pt x="0" y="51"/>
                </a:moveTo>
                <a:lnTo>
                  <a:pt x="6" y="0"/>
                </a:lnTo>
                <a:lnTo>
                  <a:pt x="48" y="23"/>
                </a:lnTo>
                <a:lnTo>
                  <a:pt x="22" y="53"/>
                </a:lnTo>
                <a:lnTo>
                  <a:pt x="0" y="5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3" name="Freeform 85"/>
          <p:cNvSpPr>
            <a:spLocks/>
          </p:cNvSpPr>
          <p:nvPr/>
        </p:nvSpPr>
        <p:spPr bwMode="auto">
          <a:xfrm>
            <a:off x="5210175" y="4149725"/>
            <a:ext cx="36513" cy="44450"/>
          </a:xfrm>
          <a:custGeom>
            <a:avLst/>
            <a:gdLst>
              <a:gd name="T0" fmla="*/ 0 w 26"/>
              <a:gd name="T1" fmla="*/ 2147483647 h 30"/>
              <a:gd name="T2" fmla="*/ 2147483647 w 26"/>
              <a:gd name="T3" fmla="*/ 2147483647 h 30"/>
              <a:gd name="T4" fmla="*/ 2147483647 w 26"/>
              <a:gd name="T5" fmla="*/ 2147483647 h 30"/>
              <a:gd name="T6" fmla="*/ 2147483647 w 26"/>
              <a:gd name="T7" fmla="*/ 2147483647 h 30"/>
              <a:gd name="T8" fmla="*/ 2147483647 w 26"/>
              <a:gd name="T9" fmla="*/ 2147483647 h 30"/>
              <a:gd name="T10" fmla="*/ 2147483647 w 26"/>
              <a:gd name="T11" fmla="*/ 0 h 30"/>
              <a:gd name="T12" fmla="*/ 0 w 26"/>
              <a:gd name="T13" fmla="*/ 2147483647 h 3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6"/>
              <a:gd name="T22" fmla="*/ 0 h 30"/>
              <a:gd name="T23" fmla="*/ 26 w 26"/>
              <a:gd name="T24" fmla="*/ 30 h 3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6" h="30">
                <a:moveTo>
                  <a:pt x="0" y="24"/>
                </a:moveTo>
                <a:lnTo>
                  <a:pt x="18" y="29"/>
                </a:lnTo>
                <a:lnTo>
                  <a:pt x="23" y="21"/>
                </a:lnTo>
                <a:lnTo>
                  <a:pt x="10" y="20"/>
                </a:lnTo>
                <a:lnTo>
                  <a:pt x="25" y="12"/>
                </a:lnTo>
                <a:lnTo>
                  <a:pt x="19" y="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4" name="Freeform 86"/>
          <p:cNvSpPr>
            <a:spLocks/>
          </p:cNvSpPr>
          <p:nvPr/>
        </p:nvSpPr>
        <p:spPr bwMode="auto">
          <a:xfrm>
            <a:off x="4443413" y="4392613"/>
            <a:ext cx="128587" cy="142875"/>
          </a:xfrm>
          <a:custGeom>
            <a:avLst/>
            <a:gdLst>
              <a:gd name="T0" fmla="*/ 0 w 93"/>
              <a:gd name="T1" fmla="*/ 2147483647 h 98"/>
              <a:gd name="T2" fmla="*/ 2147483647 w 93"/>
              <a:gd name="T3" fmla="*/ 2147483647 h 98"/>
              <a:gd name="T4" fmla="*/ 2147483647 w 93"/>
              <a:gd name="T5" fmla="*/ 2147483647 h 98"/>
              <a:gd name="T6" fmla="*/ 2147483647 w 93"/>
              <a:gd name="T7" fmla="*/ 2147483647 h 98"/>
              <a:gd name="T8" fmla="*/ 2147483647 w 93"/>
              <a:gd name="T9" fmla="*/ 2147483647 h 98"/>
              <a:gd name="T10" fmla="*/ 2147483647 w 93"/>
              <a:gd name="T11" fmla="*/ 0 h 98"/>
              <a:gd name="T12" fmla="*/ 2147483647 w 93"/>
              <a:gd name="T13" fmla="*/ 0 h 98"/>
              <a:gd name="T14" fmla="*/ 2147483647 w 93"/>
              <a:gd name="T15" fmla="*/ 2147483647 h 98"/>
              <a:gd name="T16" fmla="*/ 2147483647 w 93"/>
              <a:gd name="T17" fmla="*/ 2147483647 h 98"/>
              <a:gd name="T18" fmla="*/ 2147483647 w 93"/>
              <a:gd name="T19" fmla="*/ 2147483647 h 98"/>
              <a:gd name="T20" fmla="*/ 2147483647 w 93"/>
              <a:gd name="T21" fmla="*/ 2147483647 h 98"/>
              <a:gd name="T22" fmla="*/ 2147483647 w 93"/>
              <a:gd name="T23" fmla="*/ 2147483647 h 98"/>
              <a:gd name="T24" fmla="*/ 0 w 93"/>
              <a:gd name="T25" fmla="*/ 2147483647 h 9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3"/>
              <a:gd name="T40" fmla="*/ 0 h 98"/>
              <a:gd name="T41" fmla="*/ 93 w 93"/>
              <a:gd name="T42" fmla="*/ 98 h 9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3" h="98">
                <a:moveTo>
                  <a:pt x="0" y="47"/>
                </a:moveTo>
                <a:lnTo>
                  <a:pt x="9" y="31"/>
                </a:lnTo>
                <a:lnTo>
                  <a:pt x="17" y="32"/>
                </a:lnTo>
                <a:lnTo>
                  <a:pt x="12" y="20"/>
                </a:lnTo>
                <a:lnTo>
                  <a:pt x="40" y="18"/>
                </a:lnTo>
                <a:lnTo>
                  <a:pt x="40" y="0"/>
                </a:lnTo>
                <a:lnTo>
                  <a:pt x="75" y="0"/>
                </a:lnTo>
                <a:lnTo>
                  <a:pt x="72" y="15"/>
                </a:lnTo>
                <a:lnTo>
                  <a:pt x="92" y="16"/>
                </a:lnTo>
                <a:lnTo>
                  <a:pt x="88" y="70"/>
                </a:lnTo>
                <a:lnTo>
                  <a:pt x="65" y="65"/>
                </a:lnTo>
                <a:lnTo>
                  <a:pt x="39" y="97"/>
                </a:lnTo>
                <a:lnTo>
                  <a:pt x="0" y="4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5" name="Freeform 87"/>
          <p:cNvSpPr>
            <a:spLocks/>
          </p:cNvSpPr>
          <p:nvPr/>
        </p:nvSpPr>
        <p:spPr bwMode="auto">
          <a:xfrm>
            <a:off x="3840163" y="4127500"/>
            <a:ext cx="66675" cy="15875"/>
          </a:xfrm>
          <a:custGeom>
            <a:avLst/>
            <a:gdLst>
              <a:gd name="T0" fmla="*/ 0 w 49"/>
              <a:gd name="T1" fmla="*/ 2147483647 h 10"/>
              <a:gd name="T2" fmla="*/ 2147483647 w 49"/>
              <a:gd name="T3" fmla="*/ 0 h 10"/>
              <a:gd name="T4" fmla="*/ 2147483647 w 49"/>
              <a:gd name="T5" fmla="*/ 2147483647 h 10"/>
              <a:gd name="T6" fmla="*/ 0 w 49"/>
              <a:gd name="T7" fmla="*/ 2147483647 h 10"/>
              <a:gd name="T8" fmla="*/ 0 60000 65536"/>
              <a:gd name="T9" fmla="*/ 0 60000 65536"/>
              <a:gd name="T10" fmla="*/ 0 60000 65536"/>
              <a:gd name="T11" fmla="*/ 0 60000 65536"/>
              <a:gd name="T12" fmla="*/ 0 w 49"/>
              <a:gd name="T13" fmla="*/ 0 h 10"/>
              <a:gd name="T14" fmla="*/ 49 w 49"/>
              <a:gd name="T15" fmla="*/ 10 h 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9" h="10">
                <a:moveTo>
                  <a:pt x="0" y="9"/>
                </a:moveTo>
                <a:lnTo>
                  <a:pt x="2" y="0"/>
                </a:lnTo>
                <a:lnTo>
                  <a:pt x="48" y="5"/>
                </a:lnTo>
                <a:lnTo>
                  <a:pt x="0" y="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6" name="Freeform 88"/>
          <p:cNvSpPr>
            <a:spLocks/>
          </p:cNvSpPr>
          <p:nvPr/>
        </p:nvSpPr>
        <p:spPr bwMode="auto">
          <a:xfrm>
            <a:off x="4168775" y="4184650"/>
            <a:ext cx="98425" cy="153988"/>
          </a:xfrm>
          <a:custGeom>
            <a:avLst/>
            <a:gdLst>
              <a:gd name="T0" fmla="*/ 0 w 71"/>
              <a:gd name="T1" fmla="*/ 2147483647 h 105"/>
              <a:gd name="T2" fmla="*/ 2147483647 w 71"/>
              <a:gd name="T3" fmla="*/ 2147483647 h 105"/>
              <a:gd name="T4" fmla="*/ 2147483647 w 71"/>
              <a:gd name="T5" fmla="*/ 2147483647 h 105"/>
              <a:gd name="T6" fmla="*/ 2147483647 w 71"/>
              <a:gd name="T7" fmla="*/ 0 h 105"/>
              <a:gd name="T8" fmla="*/ 2147483647 w 71"/>
              <a:gd name="T9" fmla="*/ 2147483647 h 105"/>
              <a:gd name="T10" fmla="*/ 2147483647 w 71"/>
              <a:gd name="T11" fmla="*/ 2147483647 h 105"/>
              <a:gd name="T12" fmla="*/ 0 w 71"/>
              <a:gd name="T13" fmla="*/ 2147483647 h 10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1"/>
              <a:gd name="T22" fmla="*/ 0 h 105"/>
              <a:gd name="T23" fmla="*/ 71 w 71"/>
              <a:gd name="T24" fmla="*/ 105 h 10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1" h="105">
                <a:moveTo>
                  <a:pt x="0" y="97"/>
                </a:moveTo>
                <a:lnTo>
                  <a:pt x="7" y="26"/>
                </a:lnTo>
                <a:lnTo>
                  <a:pt x="4" y="4"/>
                </a:lnTo>
                <a:lnTo>
                  <a:pt x="46" y="0"/>
                </a:lnTo>
                <a:lnTo>
                  <a:pt x="70" y="82"/>
                </a:lnTo>
                <a:lnTo>
                  <a:pt x="17" y="104"/>
                </a:lnTo>
                <a:lnTo>
                  <a:pt x="0" y="9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7" name="Freeform 89"/>
          <p:cNvSpPr>
            <a:spLocks/>
          </p:cNvSpPr>
          <p:nvPr/>
        </p:nvSpPr>
        <p:spPr bwMode="auto">
          <a:xfrm>
            <a:off x="4706938" y="3424238"/>
            <a:ext cx="142875" cy="146050"/>
          </a:xfrm>
          <a:custGeom>
            <a:avLst/>
            <a:gdLst>
              <a:gd name="T0" fmla="*/ 0 w 104"/>
              <a:gd name="T1" fmla="*/ 2147483647 h 100"/>
              <a:gd name="T2" fmla="*/ 2147483647 w 104"/>
              <a:gd name="T3" fmla="*/ 2147483647 h 100"/>
              <a:gd name="T4" fmla="*/ 2147483647 w 104"/>
              <a:gd name="T5" fmla="*/ 2147483647 h 100"/>
              <a:gd name="T6" fmla="*/ 2147483647 w 104"/>
              <a:gd name="T7" fmla="*/ 2147483647 h 100"/>
              <a:gd name="T8" fmla="*/ 2147483647 w 104"/>
              <a:gd name="T9" fmla="*/ 0 h 100"/>
              <a:gd name="T10" fmla="*/ 2147483647 w 104"/>
              <a:gd name="T11" fmla="*/ 2147483647 h 100"/>
              <a:gd name="T12" fmla="*/ 2147483647 w 104"/>
              <a:gd name="T13" fmla="*/ 2147483647 h 100"/>
              <a:gd name="T14" fmla="*/ 2147483647 w 104"/>
              <a:gd name="T15" fmla="*/ 2147483647 h 100"/>
              <a:gd name="T16" fmla="*/ 2147483647 w 104"/>
              <a:gd name="T17" fmla="*/ 2147483647 h 100"/>
              <a:gd name="T18" fmla="*/ 2147483647 w 104"/>
              <a:gd name="T19" fmla="*/ 2147483647 h 100"/>
              <a:gd name="T20" fmla="*/ 2147483647 w 104"/>
              <a:gd name="T21" fmla="*/ 2147483647 h 100"/>
              <a:gd name="T22" fmla="*/ 2147483647 w 104"/>
              <a:gd name="T23" fmla="*/ 2147483647 h 100"/>
              <a:gd name="T24" fmla="*/ 2147483647 w 104"/>
              <a:gd name="T25" fmla="*/ 2147483647 h 100"/>
              <a:gd name="T26" fmla="*/ 2147483647 w 104"/>
              <a:gd name="T27" fmla="*/ 2147483647 h 100"/>
              <a:gd name="T28" fmla="*/ 2147483647 w 104"/>
              <a:gd name="T29" fmla="*/ 2147483647 h 100"/>
              <a:gd name="T30" fmla="*/ 2147483647 w 104"/>
              <a:gd name="T31" fmla="*/ 2147483647 h 100"/>
              <a:gd name="T32" fmla="*/ 2147483647 w 104"/>
              <a:gd name="T33" fmla="*/ 2147483647 h 100"/>
              <a:gd name="T34" fmla="*/ 2147483647 w 104"/>
              <a:gd name="T35" fmla="*/ 2147483647 h 100"/>
              <a:gd name="T36" fmla="*/ 2147483647 w 104"/>
              <a:gd name="T37" fmla="*/ 2147483647 h 100"/>
              <a:gd name="T38" fmla="*/ 0 w 104"/>
              <a:gd name="T39" fmla="*/ 2147483647 h 10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04"/>
              <a:gd name="T61" fmla="*/ 0 h 100"/>
              <a:gd name="T62" fmla="*/ 104 w 104"/>
              <a:gd name="T63" fmla="*/ 100 h 10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04" h="100">
                <a:moveTo>
                  <a:pt x="0" y="40"/>
                </a:moveTo>
                <a:lnTo>
                  <a:pt x="15" y="17"/>
                </a:lnTo>
                <a:lnTo>
                  <a:pt x="47" y="8"/>
                </a:lnTo>
                <a:lnTo>
                  <a:pt x="88" y="9"/>
                </a:lnTo>
                <a:lnTo>
                  <a:pt x="103" y="0"/>
                </a:lnTo>
                <a:lnTo>
                  <a:pt x="98" y="20"/>
                </a:lnTo>
                <a:lnTo>
                  <a:pt x="71" y="15"/>
                </a:lnTo>
                <a:lnTo>
                  <a:pt x="56" y="35"/>
                </a:lnTo>
                <a:lnTo>
                  <a:pt x="42" y="23"/>
                </a:lnTo>
                <a:lnTo>
                  <a:pt x="53" y="49"/>
                </a:lnTo>
                <a:lnTo>
                  <a:pt x="40" y="54"/>
                </a:lnTo>
                <a:lnTo>
                  <a:pt x="65" y="65"/>
                </a:lnTo>
                <a:lnTo>
                  <a:pt x="65" y="77"/>
                </a:lnTo>
                <a:lnTo>
                  <a:pt x="44" y="79"/>
                </a:lnTo>
                <a:lnTo>
                  <a:pt x="49" y="99"/>
                </a:lnTo>
                <a:lnTo>
                  <a:pt x="26" y="92"/>
                </a:lnTo>
                <a:lnTo>
                  <a:pt x="17" y="75"/>
                </a:lnTo>
                <a:lnTo>
                  <a:pt x="50" y="68"/>
                </a:lnTo>
                <a:lnTo>
                  <a:pt x="17" y="64"/>
                </a:lnTo>
                <a:lnTo>
                  <a:pt x="0" y="4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8" name="Freeform 90"/>
          <p:cNvSpPr>
            <a:spLocks/>
          </p:cNvSpPr>
          <p:nvPr/>
        </p:nvSpPr>
        <p:spPr bwMode="auto">
          <a:xfrm>
            <a:off x="4783138" y="3589338"/>
            <a:ext cx="66675" cy="15875"/>
          </a:xfrm>
          <a:custGeom>
            <a:avLst/>
            <a:gdLst>
              <a:gd name="T0" fmla="*/ 0 w 48"/>
              <a:gd name="T1" fmla="*/ 2147483647 h 10"/>
              <a:gd name="T2" fmla="*/ 2147483647 w 48"/>
              <a:gd name="T3" fmla="*/ 0 h 10"/>
              <a:gd name="T4" fmla="*/ 2147483647 w 48"/>
              <a:gd name="T5" fmla="*/ 2147483647 h 10"/>
              <a:gd name="T6" fmla="*/ 2147483647 w 48"/>
              <a:gd name="T7" fmla="*/ 2147483647 h 10"/>
              <a:gd name="T8" fmla="*/ 0 w 48"/>
              <a:gd name="T9" fmla="*/ 2147483647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8"/>
              <a:gd name="T16" fmla="*/ 0 h 10"/>
              <a:gd name="T17" fmla="*/ 48 w 48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8" h="10">
                <a:moveTo>
                  <a:pt x="0" y="9"/>
                </a:moveTo>
                <a:lnTo>
                  <a:pt x="4" y="0"/>
                </a:lnTo>
                <a:lnTo>
                  <a:pt x="47" y="9"/>
                </a:lnTo>
                <a:lnTo>
                  <a:pt x="15" y="9"/>
                </a:lnTo>
                <a:lnTo>
                  <a:pt x="0" y="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99" name="Freeform 91"/>
          <p:cNvSpPr>
            <a:spLocks/>
          </p:cNvSpPr>
          <p:nvPr/>
        </p:nvSpPr>
        <p:spPr bwMode="auto">
          <a:xfrm>
            <a:off x="2714625" y="1838325"/>
            <a:ext cx="1403350" cy="1028700"/>
          </a:xfrm>
          <a:custGeom>
            <a:avLst/>
            <a:gdLst>
              <a:gd name="T0" fmla="*/ 2147483647 w 1019"/>
              <a:gd name="T1" fmla="*/ 2147483647 h 703"/>
              <a:gd name="T2" fmla="*/ 2147483647 w 1019"/>
              <a:gd name="T3" fmla="*/ 2147483647 h 703"/>
              <a:gd name="T4" fmla="*/ 2147483647 w 1019"/>
              <a:gd name="T5" fmla="*/ 2147483647 h 703"/>
              <a:gd name="T6" fmla="*/ 2147483647 w 1019"/>
              <a:gd name="T7" fmla="*/ 2147483647 h 703"/>
              <a:gd name="T8" fmla="*/ 2147483647 w 1019"/>
              <a:gd name="T9" fmla="*/ 2147483647 h 703"/>
              <a:gd name="T10" fmla="*/ 2147483647 w 1019"/>
              <a:gd name="T11" fmla="*/ 2147483647 h 703"/>
              <a:gd name="T12" fmla="*/ 2147483647 w 1019"/>
              <a:gd name="T13" fmla="*/ 2147483647 h 703"/>
              <a:gd name="T14" fmla="*/ 2147483647 w 1019"/>
              <a:gd name="T15" fmla="*/ 2147483647 h 703"/>
              <a:gd name="T16" fmla="*/ 2147483647 w 1019"/>
              <a:gd name="T17" fmla="*/ 2147483647 h 703"/>
              <a:gd name="T18" fmla="*/ 2147483647 w 1019"/>
              <a:gd name="T19" fmla="*/ 2147483647 h 703"/>
              <a:gd name="T20" fmla="*/ 2147483647 w 1019"/>
              <a:gd name="T21" fmla="*/ 2147483647 h 703"/>
              <a:gd name="T22" fmla="*/ 2147483647 w 1019"/>
              <a:gd name="T23" fmla="*/ 2147483647 h 703"/>
              <a:gd name="T24" fmla="*/ 2147483647 w 1019"/>
              <a:gd name="T25" fmla="*/ 2147483647 h 703"/>
              <a:gd name="T26" fmla="*/ 2147483647 w 1019"/>
              <a:gd name="T27" fmla="*/ 2147483647 h 703"/>
              <a:gd name="T28" fmla="*/ 2147483647 w 1019"/>
              <a:gd name="T29" fmla="*/ 2147483647 h 703"/>
              <a:gd name="T30" fmla="*/ 2147483647 w 1019"/>
              <a:gd name="T31" fmla="*/ 2147483647 h 703"/>
              <a:gd name="T32" fmla="*/ 2147483647 w 1019"/>
              <a:gd name="T33" fmla="*/ 2147483647 h 703"/>
              <a:gd name="T34" fmla="*/ 2147483647 w 1019"/>
              <a:gd name="T35" fmla="*/ 2147483647 h 703"/>
              <a:gd name="T36" fmla="*/ 2147483647 w 1019"/>
              <a:gd name="T37" fmla="*/ 2147483647 h 703"/>
              <a:gd name="T38" fmla="*/ 2147483647 w 1019"/>
              <a:gd name="T39" fmla="*/ 2147483647 h 703"/>
              <a:gd name="T40" fmla="*/ 2147483647 w 1019"/>
              <a:gd name="T41" fmla="*/ 2147483647 h 703"/>
              <a:gd name="T42" fmla="*/ 2147483647 w 1019"/>
              <a:gd name="T43" fmla="*/ 2147483647 h 703"/>
              <a:gd name="T44" fmla="*/ 2147483647 w 1019"/>
              <a:gd name="T45" fmla="*/ 2147483647 h 703"/>
              <a:gd name="T46" fmla="*/ 2147483647 w 1019"/>
              <a:gd name="T47" fmla="*/ 2147483647 h 703"/>
              <a:gd name="T48" fmla="*/ 2147483647 w 1019"/>
              <a:gd name="T49" fmla="*/ 2147483647 h 703"/>
              <a:gd name="T50" fmla="*/ 2147483647 w 1019"/>
              <a:gd name="T51" fmla="*/ 2147483647 h 703"/>
              <a:gd name="T52" fmla="*/ 2147483647 w 1019"/>
              <a:gd name="T53" fmla="*/ 2147483647 h 703"/>
              <a:gd name="T54" fmla="*/ 2147483647 w 1019"/>
              <a:gd name="T55" fmla="*/ 2147483647 h 703"/>
              <a:gd name="T56" fmla="*/ 2147483647 w 1019"/>
              <a:gd name="T57" fmla="*/ 2147483647 h 703"/>
              <a:gd name="T58" fmla="*/ 2147483647 w 1019"/>
              <a:gd name="T59" fmla="*/ 2147483647 h 703"/>
              <a:gd name="T60" fmla="*/ 2147483647 w 1019"/>
              <a:gd name="T61" fmla="*/ 2147483647 h 703"/>
              <a:gd name="T62" fmla="*/ 2147483647 w 1019"/>
              <a:gd name="T63" fmla="*/ 2147483647 h 703"/>
              <a:gd name="T64" fmla="*/ 2147483647 w 1019"/>
              <a:gd name="T65" fmla="*/ 2147483647 h 703"/>
              <a:gd name="T66" fmla="*/ 2147483647 w 1019"/>
              <a:gd name="T67" fmla="*/ 2147483647 h 703"/>
              <a:gd name="T68" fmla="*/ 2147483647 w 1019"/>
              <a:gd name="T69" fmla="*/ 2147483647 h 703"/>
              <a:gd name="T70" fmla="*/ 2147483647 w 1019"/>
              <a:gd name="T71" fmla="*/ 2147483647 h 703"/>
              <a:gd name="T72" fmla="*/ 2147483647 w 1019"/>
              <a:gd name="T73" fmla="*/ 2147483647 h 703"/>
              <a:gd name="T74" fmla="*/ 2147483647 w 1019"/>
              <a:gd name="T75" fmla="*/ 2147483647 h 703"/>
              <a:gd name="T76" fmla="*/ 2147483647 w 1019"/>
              <a:gd name="T77" fmla="*/ 2147483647 h 703"/>
              <a:gd name="T78" fmla="*/ 2147483647 w 1019"/>
              <a:gd name="T79" fmla="*/ 2147483647 h 703"/>
              <a:gd name="T80" fmla="*/ 2147483647 w 1019"/>
              <a:gd name="T81" fmla="*/ 2147483647 h 703"/>
              <a:gd name="T82" fmla="*/ 2147483647 w 1019"/>
              <a:gd name="T83" fmla="*/ 2147483647 h 703"/>
              <a:gd name="T84" fmla="*/ 2147483647 w 1019"/>
              <a:gd name="T85" fmla="*/ 2147483647 h 703"/>
              <a:gd name="T86" fmla="*/ 2147483647 w 1019"/>
              <a:gd name="T87" fmla="*/ 2147483647 h 703"/>
              <a:gd name="T88" fmla="*/ 2147483647 w 1019"/>
              <a:gd name="T89" fmla="*/ 2147483647 h 703"/>
              <a:gd name="T90" fmla="*/ 2147483647 w 1019"/>
              <a:gd name="T91" fmla="*/ 2147483647 h 703"/>
              <a:gd name="T92" fmla="*/ 2147483647 w 1019"/>
              <a:gd name="T93" fmla="*/ 2147483647 h 703"/>
              <a:gd name="T94" fmla="*/ 2147483647 w 1019"/>
              <a:gd name="T95" fmla="*/ 2147483647 h 703"/>
              <a:gd name="T96" fmla="*/ 2147483647 w 1019"/>
              <a:gd name="T97" fmla="*/ 2147483647 h 703"/>
              <a:gd name="T98" fmla="*/ 2147483647 w 1019"/>
              <a:gd name="T99" fmla="*/ 2147483647 h 703"/>
              <a:gd name="T100" fmla="*/ 2147483647 w 1019"/>
              <a:gd name="T101" fmla="*/ 2147483647 h 703"/>
              <a:gd name="T102" fmla="*/ 2147483647 w 1019"/>
              <a:gd name="T103" fmla="*/ 2147483647 h 703"/>
              <a:gd name="T104" fmla="*/ 2147483647 w 1019"/>
              <a:gd name="T105" fmla="*/ 2147483647 h 703"/>
              <a:gd name="T106" fmla="*/ 2147483647 w 1019"/>
              <a:gd name="T107" fmla="*/ 2147483647 h 703"/>
              <a:gd name="T108" fmla="*/ 2147483647 w 1019"/>
              <a:gd name="T109" fmla="*/ 2147483647 h 703"/>
              <a:gd name="T110" fmla="*/ 2147483647 w 1019"/>
              <a:gd name="T111" fmla="*/ 2147483647 h 703"/>
              <a:gd name="T112" fmla="*/ 2147483647 w 1019"/>
              <a:gd name="T113" fmla="*/ 2147483647 h 703"/>
              <a:gd name="T114" fmla="*/ 2147483647 w 1019"/>
              <a:gd name="T115" fmla="*/ 2147483647 h 70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019"/>
              <a:gd name="T175" fmla="*/ 0 h 703"/>
              <a:gd name="T176" fmla="*/ 1019 w 1019"/>
              <a:gd name="T177" fmla="*/ 703 h 70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019" h="703">
                <a:moveTo>
                  <a:pt x="0" y="197"/>
                </a:moveTo>
                <a:lnTo>
                  <a:pt x="5" y="186"/>
                </a:lnTo>
                <a:lnTo>
                  <a:pt x="70" y="166"/>
                </a:lnTo>
                <a:lnTo>
                  <a:pt x="112" y="166"/>
                </a:lnTo>
                <a:lnTo>
                  <a:pt x="135" y="151"/>
                </a:lnTo>
                <a:lnTo>
                  <a:pt x="128" y="144"/>
                </a:lnTo>
                <a:lnTo>
                  <a:pt x="143" y="139"/>
                </a:lnTo>
                <a:lnTo>
                  <a:pt x="132" y="136"/>
                </a:lnTo>
                <a:lnTo>
                  <a:pt x="154" y="129"/>
                </a:lnTo>
                <a:lnTo>
                  <a:pt x="148" y="123"/>
                </a:lnTo>
                <a:lnTo>
                  <a:pt x="116" y="135"/>
                </a:lnTo>
                <a:lnTo>
                  <a:pt x="88" y="122"/>
                </a:lnTo>
                <a:lnTo>
                  <a:pt x="125" y="113"/>
                </a:lnTo>
                <a:lnTo>
                  <a:pt x="147" y="92"/>
                </a:lnTo>
                <a:lnTo>
                  <a:pt x="190" y="92"/>
                </a:lnTo>
                <a:lnTo>
                  <a:pt x="189" y="66"/>
                </a:lnTo>
                <a:lnTo>
                  <a:pt x="224" y="66"/>
                </a:lnTo>
                <a:lnTo>
                  <a:pt x="257" y="82"/>
                </a:lnTo>
                <a:lnTo>
                  <a:pt x="216" y="61"/>
                </a:lnTo>
                <a:lnTo>
                  <a:pt x="294" y="45"/>
                </a:lnTo>
                <a:lnTo>
                  <a:pt x="311" y="53"/>
                </a:lnTo>
                <a:lnTo>
                  <a:pt x="315" y="78"/>
                </a:lnTo>
                <a:lnTo>
                  <a:pt x="326" y="59"/>
                </a:lnTo>
                <a:lnTo>
                  <a:pt x="373" y="71"/>
                </a:lnTo>
                <a:lnTo>
                  <a:pt x="357" y="61"/>
                </a:lnTo>
                <a:lnTo>
                  <a:pt x="381" y="64"/>
                </a:lnTo>
                <a:lnTo>
                  <a:pt x="360" y="52"/>
                </a:lnTo>
                <a:lnTo>
                  <a:pt x="353" y="41"/>
                </a:lnTo>
                <a:lnTo>
                  <a:pt x="366" y="38"/>
                </a:lnTo>
                <a:lnTo>
                  <a:pt x="462" y="68"/>
                </a:lnTo>
                <a:lnTo>
                  <a:pt x="456" y="59"/>
                </a:lnTo>
                <a:lnTo>
                  <a:pt x="477" y="57"/>
                </a:lnTo>
                <a:lnTo>
                  <a:pt x="462" y="50"/>
                </a:lnTo>
                <a:lnTo>
                  <a:pt x="497" y="52"/>
                </a:lnTo>
                <a:lnTo>
                  <a:pt x="444" y="30"/>
                </a:lnTo>
                <a:lnTo>
                  <a:pt x="539" y="41"/>
                </a:lnTo>
                <a:lnTo>
                  <a:pt x="516" y="29"/>
                </a:lnTo>
                <a:lnTo>
                  <a:pt x="461" y="27"/>
                </a:lnTo>
                <a:lnTo>
                  <a:pt x="482" y="24"/>
                </a:lnTo>
                <a:lnTo>
                  <a:pt x="447" y="15"/>
                </a:lnTo>
                <a:lnTo>
                  <a:pt x="487" y="17"/>
                </a:lnTo>
                <a:lnTo>
                  <a:pt x="469" y="14"/>
                </a:lnTo>
                <a:lnTo>
                  <a:pt x="489" y="10"/>
                </a:lnTo>
                <a:lnTo>
                  <a:pt x="557" y="31"/>
                </a:lnTo>
                <a:lnTo>
                  <a:pt x="550" y="22"/>
                </a:lnTo>
                <a:lnTo>
                  <a:pt x="582" y="15"/>
                </a:lnTo>
                <a:lnTo>
                  <a:pt x="553" y="13"/>
                </a:lnTo>
                <a:lnTo>
                  <a:pt x="553" y="3"/>
                </a:lnTo>
                <a:lnTo>
                  <a:pt x="572" y="0"/>
                </a:lnTo>
                <a:lnTo>
                  <a:pt x="760" y="3"/>
                </a:lnTo>
                <a:lnTo>
                  <a:pt x="776" y="9"/>
                </a:lnTo>
                <a:lnTo>
                  <a:pt x="768" y="13"/>
                </a:lnTo>
                <a:lnTo>
                  <a:pt x="641" y="15"/>
                </a:lnTo>
                <a:lnTo>
                  <a:pt x="657" y="20"/>
                </a:lnTo>
                <a:lnTo>
                  <a:pt x="608" y="24"/>
                </a:lnTo>
                <a:lnTo>
                  <a:pt x="785" y="15"/>
                </a:lnTo>
                <a:lnTo>
                  <a:pt x="792" y="23"/>
                </a:lnTo>
                <a:lnTo>
                  <a:pt x="768" y="31"/>
                </a:lnTo>
                <a:lnTo>
                  <a:pt x="808" y="26"/>
                </a:lnTo>
                <a:lnTo>
                  <a:pt x="856" y="37"/>
                </a:lnTo>
                <a:lnTo>
                  <a:pt x="785" y="53"/>
                </a:lnTo>
                <a:lnTo>
                  <a:pt x="672" y="53"/>
                </a:lnTo>
                <a:lnTo>
                  <a:pt x="698" y="57"/>
                </a:lnTo>
                <a:lnTo>
                  <a:pt x="652" y="66"/>
                </a:lnTo>
                <a:lnTo>
                  <a:pt x="652" y="73"/>
                </a:lnTo>
                <a:lnTo>
                  <a:pt x="776" y="61"/>
                </a:lnTo>
                <a:lnTo>
                  <a:pt x="786" y="66"/>
                </a:lnTo>
                <a:lnTo>
                  <a:pt x="760" y="81"/>
                </a:lnTo>
                <a:lnTo>
                  <a:pt x="840" y="57"/>
                </a:lnTo>
                <a:lnTo>
                  <a:pt x="845" y="79"/>
                </a:lnTo>
                <a:lnTo>
                  <a:pt x="806" y="118"/>
                </a:lnTo>
                <a:lnTo>
                  <a:pt x="882" y="72"/>
                </a:lnTo>
                <a:lnTo>
                  <a:pt x="882" y="81"/>
                </a:lnTo>
                <a:lnTo>
                  <a:pt x="918" y="80"/>
                </a:lnTo>
                <a:lnTo>
                  <a:pt x="929" y="66"/>
                </a:lnTo>
                <a:lnTo>
                  <a:pt x="970" y="64"/>
                </a:lnTo>
                <a:lnTo>
                  <a:pt x="1018" y="75"/>
                </a:lnTo>
                <a:lnTo>
                  <a:pt x="971" y="94"/>
                </a:lnTo>
                <a:lnTo>
                  <a:pt x="975" y="103"/>
                </a:lnTo>
                <a:lnTo>
                  <a:pt x="865" y="114"/>
                </a:lnTo>
                <a:lnTo>
                  <a:pt x="951" y="115"/>
                </a:lnTo>
                <a:lnTo>
                  <a:pt x="880" y="130"/>
                </a:lnTo>
                <a:lnTo>
                  <a:pt x="885" y="142"/>
                </a:lnTo>
                <a:lnTo>
                  <a:pt x="932" y="130"/>
                </a:lnTo>
                <a:lnTo>
                  <a:pt x="896" y="145"/>
                </a:lnTo>
                <a:lnTo>
                  <a:pt x="891" y="164"/>
                </a:lnTo>
                <a:lnTo>
                  <a:pt x="903" y="158"/>
                </a:lnTo>
                <a:lnTo>
                  <a:pt x="870" y="176"/>
                </a:lnTo>
                <a:lnTo>
                  <a:pt x="856" y="211"/>
                </a:lnTo>
                <a:lnTo>
                  <a:pt x="875" y="204"/>
                </a:lnTo>
                <a:lnTo>
                  <a:pt x="902" y="211"/>
                </a:lnTo>
                <a:lnTo>
                  <a:pt x="880" y="211"/>
                </a:lnTo>
                <a:lnTo>
                  <a:pt x="880" y="223"/>
                </a:lnTo>
                <a:lnTo>
                  <a:pt x="918" y="225"/>
                </a:lnTo>
                <a:lnTo>
                  <a:pt x="918" y="240"/>
                </a:lnTo>
                <a:lnTo>
                  <a:pt x="860" y="238"/>
                </a:lnTo>
                <a:lnTo>
                  <a:pt x="875" y="244"/>
                </a:lnTo>
                <a:lnTo>
                  <a:pt x="843" y="247"/>
                </a:lnTo>
                <a:lnTo>
                  <a:pt x="860" y="262"/>
                </a:lnTo>
                <a:lnTo>
                  <a:pt x="890" y="262"/>
                </a:lnTo>
                <a:lnTo>
                  <a:pt x="872" y="270"/>
                </a:lnTo>
                <a:lnTo>
                  <a:pt x="896" y="277"/>
                </a:lnTo>
                <a:lnTo>
                  <a:pt x="894" y="296"/>
                </a:lnTo>
                <a:lnTo>
                  <a:pt x="852" y="285"/>
                </a:lnTo>
                <a:lnTo>
                  <a:pt x="877" y="295"/>
                </a:lnTo>
                <a:lnTo>
                  <a:pt x="861" y="302"/>
                </a:lnTo>
                <a:lnTo>
                  <a:pt x="875" y="299"/>
                </a:lnTo>
                <a:lnTo>
                  <a:pt x="872" y="311"/>
                </a:lnTo>
                <a:lnTo>
                  <a:pt x="903" y="319"/>
                </a:lnTo>
                <a:lnTo>
                  <a:pt x="854" y="314"/>
                </a:lnTo>
                <a:lnTo>
                  <a:pt x="845" y="323"/>
                </a:lnTo>
                <a:lnTo>
                  <a:pt x="882" y="335"/>
                </a:lnTo>
                <a:lnTo>
                  <a:pt x="877" y="349"/>
                </a:lnTo>
                <a:lnTo>
                  <a:pt x="849" y="354"/>
                </a:lnTo>
                <a:lnTo>
                  <a:pt x="818" y="338"/>
                </a:lnTo>
                <a:lnTo>
                  <a:pt x="771" y="353"/>
                </a:lnTo>
                <a:lnTo>
                  <a:pt x="804" y="361"/>
                </a:lnTo>
                <a:lnTo>
                  <a:pt x="773" y="371"/>
                </a:lnTo>
                <a:lnTo>
                  <a:pt x="808" y="372"/>
                </a:lnTo>
                <a:lnTo>
                  <a:pt x="796" y="389"/>
                </a:lnTo>
                <a:lnTo>
                  <a:pt x="808" y="379"/>
                </a:lnTo>
                <a:lnTo>
                  <a:pt x="845" y="395"/>
                </a:lnTo>
                <a:lnTo>
                  <a:pt x="834" y="404"/>
                </a:lnTo>
                <a:lnTo>
                  <a:pt x="854" y="400"/>
                </a:lnTo>
                <a:lnTo>
                  <a:pt x="845" y="413"/>
                </a:lnTo>
                <a:lnTo>
                  <a:pt x="857" y="406"/>
                </a:lnTo>
                <a:lnTo>
                  <a:pt x="860" y="435"/>
                </a:lnTo>
                <a:lnTo>
                  <a:pt x="845" y="426"/>
                </a:lnTo>
                <a:lnTo>
                  <a:pt x="844" y="435"/>
                </a:lnTo>
                <a:lnTo>
                  <a:pt x="830" y="435"/>
                </a:lnTo>
                <a:lnTo>
                  <a:pt x="808" y="410"/>
                </a:lnTo>
                <a:lnTo>
                  <a:pt x="760" y="397"/>
                </a:lnTo>
                <a:lnTo>
                  <a:pt x="794" y="414"/>
                </a:lnTo>
                <a:lnTo>
                  <a:pt x="750" y="422"/>
                </a:lnTo>
                <a:lnTo>
                  <a:pt x="738" y="435"/>
                </a:lnTo>
                <a:lnTo>
                  <a:pt x="778" y="440"/>
                </a:lnTo>
                <a:lnTo>
                  <a:pt x="744" y="447"/>
                </a:lnTo>
                <a:lnTo>
                  <a:pt x="796" y="439"/>
                </a:lnTo>
                <a:lnTo>
                  <a:pt x="849" y="450"/>
                </a:lnTo>
                <a:lnTo>
                  <a:pt x="782" y="485"/>
                </a:lnTo>
                <a:lnTo>
                  <a:pt x="717" y="500"/>
                </a:lnTo>
                <a:lnTo>
                  <a:pt x="692" y="502"/>
                </a:lnTo>
                <a:lnTo>
                  <a:pt x="678" y="486"/>
                </a:lnTo>
                <a:lnTo>
                  <a:pt x="687" y="502"/>
                </a:lnTo>
                <a:lnTo>
                  <a:pt x="666" y="512"/>
                </a:lnTo>
                <a:lnTo>
                  <a:pt x="641" y="548"/>
                </a:lnTo>
                <a:lnTo>
                  <a:pt x="621" y="545"/>
                </a:lnTo>
                <a:lnTo>
                  <a:pt x="619" y="559"/>
                </a:lnTo>
                <a:lnTo>
                  <a:pt x="599" y="560"/>
                </a:lnTo>
                <a:lnTo>
                  <a:pt x="589" y="557"/>
                </a:lnTo>
                <a:lnTo>
                  <a:pt x="600" y="549"/>
                </a:lnTo>
                <a:lnTo>
                  <a:pt x="588" y="545"/>
                </a:lnTo>
                <a:lnTo>
                  <a:pt x="581" y="567"/>
                </a:lnTo>
                <a:lnTo>
                  <a:pt x="550" y="570"/>
                </a:lnTo>
                <a:lnTo>
                  <a:pt x="550" y="581"/>
                </a:lnTo>
                <a:lnTo>
                  <a:pt x="530" y="585"/>
                </a:lnTo>
                <a:lnTo>
                  <a:pt x="546" y="598"/>
                </a:lnTo>
                <a:lnTo>
                  <a:pt x="528" y="600"/>
                </a:lnTo>
                <a:lnTo>
                  <a:pt x="544" y="613"/>
                </a:lnTo>
                <a:lnTo>
                  <a:pt x="530" y="613"/>
                </a:lnTo>
                <a:lnTo>
                  <a:pt x="540" y="616"/>
                </a:lnTo>
                <a:lnTo>
                  <a:pt x="530" y="631"/>
                </a:lnTo>
                <a:lnTo>
                  <a:pt x="516" y="628"/>
                </a:lnTo>
                <a:lnTo>
                  <a:pt x="528" y="635"/>
                </a:lnTo>
                <a:lnTo>
                  <a:pt x="507" y="641"/>
                </a:lnTo>
                <a:lnTo>
                  <a:pt x="516" y="661"/>
                </a:lnTo>
                <a:lnTo>
                  <a:pt x="507" y="690"/>
                </a:lnTo>
                <a:lnTo>
                  <a:pt x="492" y="692"/>
                </a:lnTo>
                <a:lnTo>
                  <a:pt x="502" y="702"/>
                </a:lnTo>
                <a:lnTo>
                  <a:pt x="467" y="702"/>
                </a:lnTo>
                <a:lnTo>
                  <a:pt x="462" y="681"/>
                </a:lnTo>
                <a:lnTo>
                  <a:pt x="418" y="685"/>
                </a:lnTo>
                <a:lnTo>
                  <a:pt x="426" y="679"/>
                </a:lnTo>
                <a:lnTo>
                  <a:pt x="403" y="671"/>
                </a:lnTo>
                <a:lnTo>
                  <a:pt x="415" y="668"/>
                </a:lnTo>
                <a:lnTo>
                  <a:pt x="395" y="667"/>
                </a:lnTo>
                <a:lnTo>
                  <a:pt x="403" y="654"/>
                </a:lnTo>
                <a:lnTo>
                  <a:pt x="392" y="657"/>
                </a:lnTo>
                <a:lnTo>
                  <a:pt x="361" y="616"/>
                </a:lnTo>
                <a:lnTo>
                  <a:pt x="360" y="603"/>
                </a:lnTo>
                <a:lnTo>
                  <a:pt x="385" y="592"/>
                </a:lnTo>
                <a:lnTo>
                  <a:pt x="373" y="586"/>
                </a:lnTo>
                <a:lnTo>
                  <a:pt x="350" y="602"/>
                </a:lnTo>
                <a:lnTo>
                  <a:pt x="348" y="572"/>
                </a:lnTo>
                <a:lnTo>
                  <a:pt x="329" y="557"/>
                </a:lnTo>
                <a:lnTo>
                  <a:pt x="334" y="533"/>
                </a:lnTo>
                <a:lnTo>
                  <a:pt x="320" y="523"/>
                </a:lnTo>
                <a:lnTo>
                  <a:pt x="339" y="504"/>
                </a:lnTo>
                <a:lnTo>
                  <a:pt x="329" y="500"/>
                </a:lnTo>
                <a:lnTo>
                  <a:pt x="369" y="500"/>
                </a:lnTo>
                <a:lnTo>
                  <a:pt x="364" y="492"/>
                </a:lnTo>
                <a:lnTo>
                  <a:pt x="336" y="492"/>
                </a:lnTo>
                <a:lnTo>
                  <a:pt x="378" y="475"/>
                </a:lnTo>
                <a:lnTo>
                  <a:pt x="369" y="469"/>
                </a:lnTo>
                <a:lnTo>
                  <a:pt x="378" y="448"/>
                </a:lnTo>
                <a:lnTo>
                  <a:pt x="345" y="447"/>
                </a:lnTo>
                <a:lnTo>
                  <a:pt x="309" y="430"/>
                </a:lnTo>
                <a:lnTo>
                  <a:pt x="373" y="440"/>
                </a:lnTo>
                <a:lnTo>
                  <a:pt x="363" y="432"/>
                </a:lnTo>
                <a:lnTo>
                  <a:pt x="373" y="429"/>
                </a:lnTo>
                <a:lnTo>
                  <a:pt x="347" y="418"/>
                </a:lnTo>
                <a:lnTo>
                  <a:pt x="357" y="410"/>
                </a:lnTo>
                <a:lnTo>
                  <a:pt x="343" y="417"/>
                </a:lnTo>
                <a:lnTo>
                  <a:pt x="353" y="407"/>
                </a:lnTo>
                <a:lnTo>
                  <a:pt x="334" y="410"/>
                </a:lnTo>
                <a:lnTo>
                  <a:pt x="353" y="401"/>
                </a:lnTo>
                <a:lnTo>
                  <a:pt x="325" y="391"/>
                </a:lnTo>
                <a:lnTo>
                  <a:pt x="318" y="407"/>
                </a:lnTo>
                <a:lnTo>
                  <a:pt x="294" y="410"/>
                </a:lnTo>
                <a:lnTo>
                  <a:pt x="289" y="401"/>
                </a:lnTo>
                <a:lnTo>
                  <a:pt x="304" y="392"/>
                </a:lnTo>
                <a:lnTo>
                  <a:pt x="292" y="391"/>
                </a:lnTo>
                <a:lnTo>
                  <a:pt x="309" y="366"/>
                </a:lnTo>
                <a:lnTo>
                  <a:pt x="290" y="360"/>
                </a:lnTo>
                <a:lnTo>
                  <a:pt x="299" y="349"/>
                </a:lnTo>
                <a:lnTo>
                  <a:pt x="271" y="318"/>
                </a:lnTo>
                <a:lnTo>
                  <a:pt x="280" y="317"/>
                </a:lnTo>
                <a:lnTo>
                  <a:pt x="241" y="289"/>
                </a:lnTo>
                <a:lnTo>
                  <a:pt x="241" y="277"/>
                </a:lnTo>
                <a:lnTo>
                  <a:pt x="201" y="265"/>
                </a:lnTo>
                <a:lnTo>
                  <a:pt x="163" y="259"/>
                </a:lnTo>
                <a:lnTo>
                  <a:pt x="127" y="268"/>
                </a:lnTo>
                <a:lnTo>
                  <a:pt x="101" y="262"/>
                </a:lnTo>
                <a:lnTo>
                  <a:pt x="111" y="274"/>
                </a:lnTo>
                <a:lnTo>
                  <a:pt x="79" y="268"/>
                </a:lnTo>
                <a:lnTo>
                  <a:pt x="57" y="256"/>
                </a:lnTo>
                <a:lnTo>
                  <a:pt x="79" y="247"/>
                </a:lnTo>
                <a:lnTo>
                  <a:pt x="25" y="238"/>
                </a:lnTo>
                <a:lnTo>
                  <a:pt x="44" y="229"/>
                </a:lnTo>
                <a:lnTo>
                  <a:pt x="112" y="232"/>
                </a:lnTo>
                <a:lnTo>
                  <a:pt x="122" y="227"/>
                </a:lnTo>
                <a:lnTo>
                  <a:pt x="109" y="222"/>
                </a:lnTo>
                <a:lnTo>
                  <a:pt x="121" y="217"/>
                </a:lnTo>
                <a:lnTo>
                  <a:pt x="61" y="220"/>
                </a:lnTo>
                <a:lnTo>
                  <a:pt x="0" y="19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0" name="Freeform 92"/>
          <p:cNvSpPr>
            <a:spLocks/>
          </p:cNvSpPr>
          <p:nvPr/>
        </p:nvSpPr>
        <p:spPr bwMode="auto">
          <a:xfrm>
            <a:off x="2106613" y="4030663"/>
            <a:ext cx="93662" cy="96837"/>
          </a:xfrm>
          <a:custGeom>
            <a:avLst/>
            <a:gdLst>
              <a:gd name="T0" fmla="*/ 0 w 68"/>
              <a:gd name="T1" fmla="*/ 2147483647 h 67"/>
              <a:gd name="T2" fmla="*/ 2147483647 w 68"/>
              <a:gd name="T3" fmla="*/ 2147483647 h 67"/>
              <a:gd name="T4" fmla="*/ 2147483647 w 68"/>
              <a:gd name="T5" fmla="*/ 2147483647 h 67"/>
              <a:gd name="T6" fmla="*/ 2147483647 w 68"/>
              <a:gd name="T7" fmla="*/ 2147483647 h 67"/>
              <a:gd name="T8" fmla="*/ 2147483647 w 68"/>
              <a:gd name="T9" fmla="*/ 0 h 67"/>
              <a:gd name="T10" fmla="*/ 2147483647 w 68"/>
              <a:gd name="T11" fmla="*/ 2147483647 h 67"/>
              <a:gd name="T12" fmla="*/ 2147483647 w 68"/>
              <a:gd name="T13" fmla="*/ 2147483647 h 67"/>
              <a:gd name="T14" fmla="*/ 2147483647 w 68"/>
              <a:gd name="T15" fmla="*/ 2147483647 h 67"/>
              <a:gd name="T16" fmla="*/ 2147483647 w 68"/>
              <a:gd name="T17" fmla="*/ 2147483647 h 67"/>
              <a:gd name="T18" fmla="*/ 0 w 68"/>
              <a:gd name="T19" fmla="*/ 2147483647 h 6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8"/>
              <a:gd name="T31" fmla="*/ 0 h 67"/>
              <a:gd name="T32" fmla="*/ 68 w 68"/>
              <a:gd name="T33" fmla="*/ 67 h 6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8" h="67">
                <a:moveTo>
                  <a:pt x="0" y="52"/>
                </a:moveTo>
                <a:lnTo>
                  <a:pt x="12" y="29"/>
                </a:lnTo>
                <a:lnTo>
                  <a:pt x="30" y="28"/>
                </a:lnTo>
                <a:lnTo>
                  <a:pt x="12" y="8"/>
                </a:lnTo>
                <a:lnTo>
                  <a:pt x="53" y="0"/>
                </a:lnTo>
                <a:lnTo>
                  <a:pt x="57" y="31"/>
                </a:lnTo>
                <a:lnTo>
                  <a:pt x="67" y="34"/>
                </a:lnTo>
                <a:lnTo>
                  <a:pt x="47" y="54"/>
                </a:lnTo>
                <a:lnTo>
                  <a:pt x="37" y="66"/>
                </a:lnTo>
                <a:lnTo>
                  <a:pt x="0" y="5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1" name="Freeform 93"/>
          <p:cNvSpPr>
            <a:spLocks/>
          </p:cNvSpPr>
          <p:nvPr/>
        </p:nvSpPr>
        <p:spPr bwMode="auto">
          <a:xfrm>
            <a:off x="3892550" y="4149725"/>
            <a:ext cx="171450" cy="127000"/>
          </a:xfrm>
          <a:custGeom>
            <a:avLst/>
            <a:gdLst>
              <a:gd name="T0" fmla="*/ 0 w 124"/>
              <a:gd name="T1" fmla="*/ 2147483647 h 87"/>
              <a:gd name="T2" fmla="*/ 2147483647 w 124"/>
              <a:gd name="T3" fmla="*/ 2147483647 h 87"/>
              <a:gd name="T4" fmla="*/ 2147483647 w 124"/>
              <a:gd name="T5" fmla="*/ 0 h 87"/>
              <a:gd name="T6" fmla="*/ 2147483647 w 124"/>
              <a:gd name="T7" fmla="*/ 2147483647 h 87"/>
              <a:gd name="T8" fmla="*/ 2147483647 w 124"/>
              <a:gd name="T9" fmla="*/ 2147483647 h 87"/>
              <a:gd name="T10" fmla="*/ 2147483647 w 124"/>
              <a:gd name="T11" fmla="*/ 2147483647 h 87"/>
              <a:gd name="T12" fmla="*/ 2147483647 w 124"/>
              <a:gd name="T13" fmla="*/ 2147483647 h 87"/>
              <a:gd name="T14" fmla="*/ 2147483647 w 124"/>
              <a:gd name="T15" fmla="*/ 2147483647 h 87"/>
              <a:gd name="T16" fmla="*/ 2147483647 w 124"/>
              <a:gd name="T17" fmla="*/ 2147483647 h 87"/>
              <a:gd name="T18" fmla="*/ 2147483647 w 124"/>
              <a:gd name="T19" fmla="*/ 2147483647 h 87"/>
              <a:gd name="T20" fmla="*/ 2147483647 w 124"/>
              <a:gd name="T21" fmla="*/ 2147483647 h 87"/>
              <a:gd name="T22" fmla="*/ 2147483647 w 124"/>
              <a:gd name="T23" fmla="*/ 2147483647 h 87"/>
              <a:gd name="T24" fmla="*/ 2147483647 w 124"/>
              <a:gd name="T25" fmla="*/ 2147483647 h 87"/>
              <a:gd name="T26" fmla="*/ 2147483647 w 124"/>
              <a:gd name="T27" fmla="*/ 2147483647 h 87"/>
              <a:gd name="T28" fmla="*/ 2147483647 w 124"/>
              <a:gd name="T29" fmla="*/ 2147483647 h 87"/>
              <a:gd name="T30" fmla="*/ 0 w 124"/>
              <a:gd name="T31" fmla="*/ 2147483647 h 8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24"/>
              <a:gd name="T49" fmla="*/ 0 h 87"/>
              <a:gd name="T50" fmla="*/ 124 w 124"/>
              <a:gd name="T51" fmla="*/ 87 h 8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24" h="87">
                <a:moveTo>
                  <a:pt x="0" y="28"/>
                </a:moveTo>
                <a:lnTo>
                  <a:pt x="22" y="16"/>
                </a:lnTo>
                <a:lnTo>
                  <a:pt x="22" y="0"/>
                </a:lnTo>
                <a:lnTo>
                  <a:pt x="62" y="5"/>
                </a:lnTo>
                <a:lnTo>
                  <a:pt x="74" y="12"/>
                </a:lnTo>
                <a:lnTo>
                  <a:pt x="100" y="3"/>
                </a:lnTo>
                <a:lnTo>
                  <a:pt x="118" y="40"/>
                </a:lnTo>
                <a:lnTo>
                  <a:pt x="123" y="71"/>
                </a:lnTo>
                <a:lnTo>
                  <a:pt x="114" y="67"/>
                </a:lnTo>
                <a:lnTo>
                  <a:pt x="109" y="83"/>
                </a:lnTo>
                <a:lnTo>
                  <a:pt x="93" y="86"/>
                </a:lnTo>
                <a:lnTo>
                  <a:pt x="92" y="71"/>
                </a:lnTo>
                <a:lnTo>
                  <a:pt x="79" y="69"/>
                </a:lnTo>
                <a:lnTo>
                  <a:pt x="64" y="44"/>
                </a:lnTo>
                <a:lnTo>
                  <a:pt x="30" y="58"/>
                </a:lnTo>
                <a:lnTo>
                  <a:pt x="0" y="2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2" name="Freeform 94"/>
          <p:cNvSpPr>
            <a:spLocks/>
          </p:cNvSpPr>
          <p:nvPr/>
        </p:nvSpPr>
        <p:spPr bwMode="auto">
          <a:xfrm>
            <a:off x="2824163" y="4252913"/>
            <a:ext cx="111125" cy="158750"/>
          </a:xfrm>
          <a:custGeom>
            <a:avLst/>
            <a:gdLst>
              <a:gd name="T0" fmla="*/ 0 w 81"/>
              <a:gd name="T1" fmla="*/ 2147483647 h 109"/>
              <a:gd name="T2" fmla="*/ 2147483647 w 81"/>
              <a:gd name="T3" fmla="*/ 2147483647 h 109"/>
              <a:gd name="T4" fmla="*/ 2147483647 w 81"/>
              <a:gd name="T5" fmla="*/ 2147483647 h 109"/>
              <a:gd name="T6" fmla="*/ 2147483647 w 81"/>
              <a:gd name="T7" fmla="*/ 2147483647 h 109"/>
              <a:gd name="T8" fmla="*/ 2147483647 w 81"/>
              <a:gd name="T9" fmla="*/ 2147483647 h 109"/>
              <a:gd name="T10" fmla="*/ 2147483647 w 81"/>
              <a:gd name="T11" fmla="*/ 2147483647 h 109"/>
              <a:gd name="T12" fmla="*/ 2147483647 w 81"/>
              <a:gd name="T13" fmla="*/ 2147483647 h 109"/>
              <a:gd name="T14" fmla="*/ 2147483647 w 81"/>
              <a:gd name="T15" fmla="*/ 2147483647 h 109"/>
              <a:gd name="T16" fmla="*/ 2147483647 w 81"/>
              <a:gd name="T17" fmla="*/ 0 h 109"/>
              <a:gd name="T18" fmla="*/ 2147483647 w 81"/>
              <a:gd name="T19" fmla="*/ 2147483647 h 109"/>
              <a:gd name="T20" fmla="*/ 2147483647 w 81"/>
              <a:gd name="T21" fmla="*/ 2147483647 h 109"/>
              <a:gd name="T22" fmla="*/ 0 w 81"/>
              <a:gd name="T23" fmla="*/ 2147483647 h 10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1"/>
              <a:gd name="T37" fmla="*/ 0 h 109"/>
              <a:gd name="T38" fmla="*/ 81 w 81"/>
              <a:gd name="T39" fmla="*/ 109 h 10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1" h="109">
                <a:moveTo>
                  <a:pt x="0" y="35"/>
                </a:moveTo>
                <a:lnTo>
                  <a:pt x="11" y="49"/>
                </a:lnTo>
                <a:lnTo>
                  <a:pt x="27" y="61"/>
                </a:lnTo>
                <a:lnTo>
                  <a:pt x="23" y="92"/>
                </a:lnTo>
                <a:lnTo>
                  <a:pt x="32" y="108"/>
                </a:lnTo>
                <a:lnTo>
                  <a:pt x="80" y="101"/>
                </a:lnTo>
                <a:lnTo>
                  <a:pt x="52" y="68"/>
                </a:lnTo>
                <a:lnTo>
                  <a:pt x="71" y="40"/>
                </a:lnTo>
                <a:lnTo>
                  <a:pt x="23" y="0"/>
                </a:lnTo>
                <a:lnTo>
                  <a:pt x="9" y="9"/>
                </a:lnTo>
                <a:lnTo>
                  <a:pt x="12" y="20"/>
                </a:lnTo>
                <a:lnTo>
                  <a:pt x="0" y="3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3" name="Freeform 95"/>
          <p:cNvSpPr>
            <a:spLocks/>
          </p:cNvSpPr>
          <p:nvPr/>
        </p:nvSpPr>
        <p:spPr bwMode="auto">
          <a:xfrm>
            <a:off x="2517775" y="3983038"/>
            <a:ext cx="61913" cy="47625"/>
          </a:xfrm>
          <a:custGeom>
            <a:avLst/>
            <a:gdLst>
              <a:gd name="T0" fmla="*/ 0 w 46"/>
              <a:gd name="T1" fmla="*/ 2147483647 h 32"/>
              <a:gd name="T2" fmla="*/ 2147483647 w 46"/>
              <a:gd name="T3" fmla="*/ 2147483647 h 32"/>
              <a:gd name="T4" fmla="*/ 2147483647 w 46"/>
              <a:gd name="T5" fmla="*/ 2147483647 h 32"/>
              <a:gd name="T6" fmla="*/ 2147483647 w 46"/>
              <a:gd name="T7" fmla="*/ 0 h 32"/>
              <a:gd name="T8" fmla="*/ 2147483647 w 46"/>
              <a:gd name="T9" fmla="*/ 2147483647 h 32"/>
              <a:gd name="T10" fmla="*/ 0 w 46"/>
              <a:gd name="T11" fmla="*/ 2147483647 h 3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6"/>
              <a:gd name="T19" fmla="*/ 0 h 32"/>
              <a:gd name="T20" fmla="*/ 46 w 46"/>
              <a:gd name="T21" fmla="*/ 32 h 3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6" h="32">
                <a:moveTo>
                  <a:pt x="0" y="23"/>
                </a:moveTo>
                <a:lnTo>
                  <a:pt x="34" y="21"/>
                </a:lnTo>
                <a:lnTo>
                  <a:pt x="18" y="1"/>
                </a:lnTo>
                <a:lnTo>
                  <a:pt x="45" y="0"/>
                </a:lnTo>
                <a:lnTo>
                  <a:pt x="45" y="31"/>
                </a:lnTo>
                <a:lnTo>
                  <a:pt x="0" y="2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4" name="Freeform 96"/>
          <p:cNvSpPr>
            <a:spLocks/>
          </p:cNvSpPr>
          <p:nvPr/>
        </p:nvSpPr>
        <p:spPr bwMode="auto">
          <a:xfrm>
            <a:off x="2170113" y="4075113"/>
            <a:ext cx="144462" cy="69850"/>
          </a:xfrm>
          <a:custGeom>
            <a:avLst/>
            <a:gdLst>
              <a:gd name="T0" fmla="*/ 0 w 105"/>
              <a:gd name="T1" fmla="*/ 2147483647 h 48"/>
              <a:gd name="T2" fmla="*/ 2147483647 w 105"/>
              <a:gd name="T3" fmla="*/ 2147483647 h 48"/>
              <a:gd name="T4" fmla="*/ 2147483647 w 105"/>
              <a:gd name="T5" fmla="*/ 0 h 48"/>
              <a:gd name="T6" fmla="*/ 2147483647 w 105"/>
              <a:gd name="T7" fmla="*/ 2147483647 h 48"/>
              <a:gd name="T8" fmla="*/ 2147483647 w 105"/>
              <a:gd name="T9" fmla="*/ 2147483647 h 48"/>
              <a:gd name="T10" fmla="*/ 2147483647 w 105"/>
              <a:gd name="T11" fmla="*/ 2147483647 h 48"/>
              <a:gd name="T12" fmla="*/ 2147483647 w 105"/>
              <a:gd name="T13" fmla="*/ 2147483647 h 48"/>
              <a:gd name="T14" fmla="*/ 0 w 105"/>
              <a:gd name="T15" fmla="*/ 2147483647 h 4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5"/>
              <a:gd name="T25" fmla="*/ 0 h 48"/>
              <a:gd name="T26" fmla="*/ 105 w 105"/>
              <a:gd name="T27" fmla="*/ 48 h 4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5" h="48">
                <a:moveTo>
                  <a:pt x="0" y="23"/>
                </a:moveTo>
                <a:lnTo>
                  <a:pt x="20" y="2"/>
                </a:lnTo>
                <a:lnTo>
                  <a:pt x="74" y="0"/>
                </a:lnTo>
                <a:lnTo>
                  <a:pt x="104" y="15"/>
                </a:lnTo>
                <a:lnTo>
                  <a:pt x="78" y="18"/>
                </a:lnTo>
                <a:lnTo>
                  <a:pt x="36" y="47"/>
                </a:lnTo>
                <a:lnTo>
                  <a:pt x="28" y="40"/>
                </a:lnTo>
                <a:lnTo>
                  <a:pt x="0" y="2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5" name="Freeform 97"/>
          <p:cNvSpPr>
            <a:spLocks/>
          </p:cNvSpPr>
          <p:nvPr/>
        </p:nvSpPr>
        <p:spPr bwMode="auto">
          <a:xfrm>
            <a:off x="4610100" y="3233738"/>
            <a:ext cx="158750" cy="80962"/>
          </a:xfrm>
          <a:custGeom>
            <a:avLst/>
            <a:gdLst>
              <a:gd name="T0" fmla="*/ 0 w 115"/>
              <a:gd name="T1" fmla="*/ 2147483647 h 56"/>
              <a:gd name="T2" fmla="*/ 2147483647 w 115"/>
              <a:gd name="T3" fmla="*/ 2147483647 h 56"/>
              <a:gd name="T4" fmla="*/ 2147483647 w 115"/>
              <a:gd name="T5" fmla="*/ 2147483647 h 56"/>
              <a:gd name="T6" fmla="*/ 2147483647 w 115"/>
              <a:gd name="T7" fmla="*/ 0 h 56"/>
              <a:gd name="T8" fmla="*/ 2147483647 w 115"/>
              <a:gd name="T9" fmla="*/ 2147483647 h 56"/>
              <a:gd name="T10" fmla="*/ 2147483647 w 115"/>
              <a:gd name="T11" fmla="*/ 2147483647 h 56"/>
              <a:gd name="T12" fmla="*/ 2147483647 w 115"/>
              <a:gd name="T13" fmla="*/ 2147483647 h 56"/>
              <a:gd name="T14" fmla="*/ 2147483647 w 115"/>
              <a:gd name="T15" fmla="*/ 2147483647 h 56"/>
              <a:gd name="T16" fmla="*/ 0 w 115"/>
              <a:gd name="T17" fmla="*/ 2147483647 h 5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5"/>
              <a:gd name="T28" fmla="*/ 0 h 56"/>
              <a:gd name="T29" fmla="*/ 115 w 115"/>
              <a:gd name="T30" fmla="*/ 56 h 5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5" h="56">
                <a:moveTo>
                  <a:pt x="0" y="33"/>
                </a:moveTo>
                <a:lnTo>
                  <a:pt x="19" y="9"/>
                </a:lnTo>
                <a:lnTo>
                  <a:pt x="42" y="14"/>
                </a:lnTo>
                <a:lnTo>
                  <a:pt x="79" y="0"/>
                </a:lnTo>
                <a:lnTo>
                  <a:pt x="102" y="2"/>
                </a:lnTo>
                <a:lnTo>
                  <a:pt x="114" y="12"/>
                </a:lnTo>
                <a:lnTo>
                  <a:pt x="69" y="48"/>
                </a:lnTo>
                <a:lnTo>
                  <a:pt x="32" y="55"/>
                </a:lnTo>
                <a:lnTo>
                  <a:pt x="0" y="3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6" name="Freeform 98"/>
          <p:cNvSpPr>
            <a:spLocks/>
          </p:cNvSpPr>
          <p:nvPr/>
        </p:nvSpPr>
        <p:spPr bwMode="auto">
          <a:xfrm>
            <a:off x="3673475" y="2633663"/>
            <a:ext cx="255588" cy="119062"/>
          </a:xfrm>
          <a:custGeom>
            <a:avLst/>
            <a:gdLst>
              <a:gd name="T0" fmla="*/ 0 w 186"/>
              <a:gd name="T1" fmla="*/ 2147483647 h 81"/>
              <a:gd name="T2" fmla="*/ 2147483647 w 186"/>
              <a:gd name="T3" fmla="*/ 2147483647 h 81"/>
              <a:gd name="T4" fmla="*/ 2147483647 w 186"/>
              <a:gd name="T5" fmla="*/ 2147483647 h 81"/>
              <a:gd name="T6" fmla="*/ 2147483647 w 186"/>
              <a:gd name="T7" fmla="*/ 2147483647 h 81"/>
              <a:gd name="T8" fmla="*/ 2147483647 w 186"/>
              <a:gd name="T9" fmla="*/ 2147483647 h 81"/>
              <a:gd name="T10" fmla="*/ 2147483647 w 186"/>
              <a:gd name="T11" fmla="*/ 2147483647 h 81"/>
              <a:gd name="T12" fmla="*/ 2147483647 w 186"/>
              <a:gd name="T13" fmla="*/ 0 h 81"/>
              <a:gd name="T14" fmla="*/ 2147483647 w 186"/>
              <a:gd name="T15" fmla="*/ 2147483647 h 81"/>
              <a:gd name="T16" fmla="*/ 2147483647 w 186"/>
              <a:gd name="T17" fmla="*/ 2147483647 h 81"/>
              <a:gd name="T18" fmla="*/ 2147483647 w 186"/>
              <a:gd name="T19" fmla="*/ 2147483647 h 81"/>
              <a:gd name="T20" fmla="*/ 2147483647 w 186"/>
              <a:gd name="T21" fmla="*/ 2147483647 h 81"/>
              <a:gd name="T22" fmla="*/ 2147483647 w 186"/>
              <a:gd name="T23" fmla="*/ 2147483647 h 81"/>
              <a:gd name="T24" fmla="*/ 2147483647 w 186"/>
              <a:gd name="T25" fmla="*/ 2147483647 h 81"/>
              <a:gd name="T26" fmla="*/ 2147483647 w 186"/>
              <a:gd name="T27" fmla="*/ 2147483647 h 81"/>
              <a:gd name="T28" fmla="*/ 2147483647 w 186"/>
              <a:gd name="T29" fmla="*/ 2147483647 h 81"/>
              <a:gd name="T30" fmla="*/ 2147483647 w 186"/>
              <a:gd name="T31" fmla="*/ 0 h 81"/>
              <a:gd name="T32" fmla="*/ 2147483647 w 186"/>
              <a:gd name="T33" fmla="*/ 2147483647 h 81"/>
              <a:gd name="T34" fmla="*/ 2147483647 w 186"/>
              <a:gd name="T35" fmla="*/ 2147483647 h 81"/>
              <a:gd name="T36" fmla="*/ 2147483647 w 186"/>
              <a:gd name="T37" fmla="*/ 2147483647 h 81"/>
              <a:gd name="T38" fmla="*/ 2147483647 w 186"/>
              <a:gd name="T39" fmla="*/ 2147483647 h 81"/>
              <a:gd name="T40" fmla="*/ 2147483647 w 186"/>
              <a:gd name="T41" fmla="*/ 2147483647 h 81"/>
              <a:gd name="T42" fmla="*/ 2147483647 w 186"/>
              <a:gd name="T43" fmla="*/ 2147483647 h 81"/>
              <a:gd name="T44" fmla="*/ 2147483647 w 186"/>
              <a:gd name="T45" fmla="*/ 2147483647 h 81"/>
              <a:gd name="T46" fmla="*/ 2147483647 w 186"/>
              <a:gd name="T47" fmla="*/ 2147483647 h 81"/>
              <a:gd name="T48" fmla="*/ 2147483647 w 186"/>
              <a:gd name="T49" fmla="*/ 2147483647 h 81"/>
              <a:gd name="T50" fmla="*/ 2147483647 w 186"/>
              <a:gd name="T51" fmla="*/ 2147483647 h 81"/>
              <a:gd name="T52" fmla="*/ 2147483647 w 186"/>
              <a:gd name="T53" fmla="*/ 2147483647 h 81"/>
              <a:gd name="T54" fmla="*/ 2147483647 w 186"/>
              <a:gd name="T55" fmla="*/ 2147483647 h 81"/>
              <a:gd name="T56" fmla="*/ 0 w 186"/>
              <a:gd name="T57" fmla="*/ 2147483647 h 81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86"/>
              <a:gd name="T88" fmla="*/ 0 h 81"/>
              <a:gd name="T89" fmla="*/ 186 w 186"/>
              <a:gd name="T90" fmla="*/ 81 h 81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86" h="81">
                <a:moveTo>
                  <a:pt x="0" y="28"/>
                </a:moveTo>
                <a:lnTo>
                  <a:pt x="12" y="24"/>
                </a:lnTo>
                <a:lnTo>
                  <a:pt x="5" y="17"/>
                </a:lnTo>
                <a:lnTo>
                  <a:pt x="21" y="21"/>
                </a:lnTo>
                <a:lnTo>
                  <a:pt x="14" y="9"/>
                </a:lnTo>
                <a:lnTo>
                  <a:pt x="31" y="17"/>
                </a:lnTo>
                <a:lnTo>
                  <a:pt x="23" y="0"/>
                </a:lnTo>
                <a:lnTo>
                  <a:pt x="52" y="14"/>
                </a:lnTo>
                <a:lnTo>
                  <a:pt x="56" y="32"/>
                </a:lnTo>
                <a:lnTo>
                  <a:pt x="69" y="12"/>
                </a:lnTo>
                <a:lnTo>
                  <a:pt x="84" y="20"/>
                </a:lnTo>
                <a:lnTo>
                  <a:pt x="97" y="8"/>
                </a:lnTo>
                <a:lnTo>
                  <a:pt x="106" y="23"/>
                </a:lnTo>
                <a:lnTo>
                  <a:pt x="105" y="9"/>
                </a:lnTo>
                <a:lnTo>
                  <a:pt x="134" y="9"/>
                </a:lnTo>
                <a:lnTo>
                  <a:pt x="138" y="0"/>
                </a:lnTo>
                <a:lnTo>
                  <a:pt x="150" y="8"/>
                </a:lnTo>
                <a:lnTo>
                  <a:pt x="167" y="5"/>
                </a:lnTo>
                <a:lnTo>
                  <a:pt x="157" y="12"/>
                </a:lnTo>
                <a:lnTo>
                  <a:pt x="185" y="36"/>
                </a:lnTo>
                <a:lnTo>
                  <a:pt x="162" y="58"/>
                </a:lnTo>
                <a:lnTo>
                  <a:pt x="91" y="80"/>
                </a:lnTo>
                <a:lnTo>
                  <a:pt x="30" y="70"/>
                </a:lnTo>
                <a:lnTo>
                  <a:pt x="44" y="49"/>
                </a:lnTo>
                <a:lnTo>
                  <a:pt x="10" y="42"/>
                </a:lnTo>
                <a:lnTo>
                  <a:pt x="43" y="38"/>
                </a:lnTo>
                <a:lnTo>
                  <a:pt x="33" y="34"/>
                </a:lnTo>
                <a:lnTo>
                  <a:pt x="43" y="28"/>
                </a:lnTo>
                <a:lnTo>
                  <a:pt x="0" y="2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7" name="Freeform 99"/>
          <p:cNvSpPr>
            <a:spLocks/>
          </p:cNvSpPr>
          <p:nvPr/>
        </p:nvSpPr>
        <p:spPr bwMode="auto">
          <a:xfrm>
            <a:off x="5811838" y="3578225"/>
            <a:ext cx="681037" cy="679450"/>
          </a:xfrm>
          <a:custGeom>
            <a:avLst/>
            <a:gdLst>
              <a:gd name="T0" fmla="*/ 0 w 494"/>
              <a:gd name="T1" fmla="*/ 2147483647 h 465"/>
              <a:gd name="T2" fmla="*/ 2147483647 w 494"/>
              <a:gd name="T3" fmla="*/ 2147483647 h 465"/>
              <a:gd name="T4" fmla="*/ 2147483647 w 494"/>
              <a:gd name="T5" fmla="*/ 2147483647 h 465"/>
              <a:gd name="T6" fmla="*/ 2147483647 w 494"/>
              <a:gd name="T7" fmla="*/ 2147483647 h 465"/>
              <a:gd name="T8" fmla="*/ 2147483647 w 494"/>
              <a:gd name="T9" fmla="*/ 2147483647 h 465"/>
              <a:gd name="T10" fmla="*/ 2147483647 w 494"/>
              <a:gd name="T11" fmla="*/ 2147483647 h 465"/>
              <a:gd name="T12" fmla="*/ 2147483647 w 494"/>
              <a:gd name="T13" fmla="*/ 2147483647 h 465"/>
              <a:gd name="T14" fmla="*/ 2147483647 w 494"/>
              <a:gd name="T15" fmla="*/ 2147483647 h 465"/>
              <a:gd name="T16" fmla="*/ 2147483647 w 494"/>
              <a:gd name="T17" fmla="*/ 2147483647 h 465"/>
              <a:gd name="T18" fmla="*/ 2147483647 w 494"/>
              <a:gd name="T19" fmla="*/ 2147483647 h 465"/>
              <a:gd name="T20" fmla="*/ 2147483647 w 494"/>
              <a:gd name="T21" fmla="*/ 2147483647 h 465"/>
              <a:gd name="T22" fmla="*/ 2147483647 w 494"/>
              <a:gd name="T23" fmla="*/ 2147483647 h 465"/>
              <a:gd name="T24" fmla="*/ 2147483647 w 494"/>
              <a:gd name="T25" fmla="*/ 2147483647 h 465"/>
              <a:gd name="T26" fmla="*/ 2147483647 w 494"/>
              <a:gd name="T27" fmla="*/ 0 h 465"/>
              <a:gd name="T28" fmla="*/ 2147483647 w 494"/>
              <a:gd name="T29" fmla="*/ 2147483647 h 465"/>
              <a:gd name="T30" fmla="*/ 2147483647 w 494"/>
              <a:gd name="T31" fmla="*/ 2147483647 h 465"/>
              <a:gd name="T32" fmla="*/ 2147483647 w 494"/>
              <a:gd name="T33" fmla="*/ 2147483647 h 465"/>
              <a:gd name="T34" fmla="*/ 2147483647 w 494"/>
              <a:gd name="T35" fmla="*/ 2147483647 h 465"/>
              <a:gd name="T36" fmla="*/ 2147483647 w 494"/>
              <a:gd name="T37" fmla="*/ 2147483647 h 465"/>
              <a:gd name="T38" fmla="*/ 2147483647 w 494"/>
              <a:gd name="T39" fmla="*/ 2147483647 h 465"/>
              <a:gd name="T40" fmla="*/ 2147483647 w 494"/>
              <a:gd name="T41" fmla="*/ 2147483647 h 465"/>
              <a:gd name="T42" fmla="*/ 2147483647 w 494"/>
              <a:gd name="T43" fmla="*/ 2147483647 h 465"/>
              <a:gd name="T44" fmla="*/ 2147483647 w 494"/>
              <a:gd name="T45" fmla="*/ 2147483647 h 465"/>
              <a:gd name="T46" fmla="*/ 2147483647 w 494"/>
              <a:gd name="T47" fmla="*/ 2147483647 h 465"/>
              <a:gd name="T48" fmla="*/ 2147483647 w 494"/>
              <a:gd name="T49" fmla="*/ 2147483647 h 465"/>
              <a:gd name="T50" fmla="*/ 2147483647 w 494"/>
              <a:gd name="T51" fmla="*/ 2147483647 h 465"/>
              <a:gd name="T52" fmla="*/ 2147483647 w 494"/>
              <a:gd name="T53" fmla="*/ 2147483647 h 465"/>
              <a:gd name="T54" fmla="*/ 2147483647 w 494"/>
              <a:gd name="T55" fmla="*/ 2147483647 h 465"/>
              <a:gd name="T56" fmla="*/ 2147483647 w 494"/>
              <a:gd name="T57" fmla="*/ 2147483647 h 465"/>
              <a:gd name="T58" fmla="*/ 2147483647 w 494"/>
              <a:gd name="T59" fmla="*/ 2147483647 h 465"/>
              <a:gd name="T60" fmla="*/ 2147483647 w 494"/>
              <a:gd name="T61" fmla="*/ 2147483647 h 465"/>
              <a:gd name="T62" fmla="*/ 2147483647 w 494"/>
              <a:gd name="T63" fmla="*/ 2147483647 h 465"/>
              <a:gd name="T64" fmla="*/ 2147483647 w 494"/>
              <a:gd name="T65" fmla="*/ 2147483647 h 465"/>
              <a:gd name="T66" fmla="*/ 2147483647 w 494"/>
              <a:gd name="T67" fmla="*/ 2147483647 h 465"/>
              <a:gd name="T68" fmla="*/ 2147483647 w 494"/>
              <a:gd name="T69" fmla="*/ 2147483647 h 465"/>
              <a:gd name="T70" fmla="*/ 2147483647 w 494"/>
              <a:gd name="T71" fmla="*/ 2147483647 h 465"/>
              <a:gd name="T72" fmla="*/ 2147483647 w 494"/>
              <a:gd name="T73" fmla="*/ 2147483647 h 465"/>
              <a:gd name="T74" fmla="*/ 2147483647 w 494"/>
              <a:gd name="T75" fmla="*/ 2147483647 h 465"/>
              <a:gd name="T76" fmla="*/ 2147483647 w 494"/>
              <a:gd name="T77" fmla="*/ 2147483647 h 465"/>
              <a:gd name="T78" fmla="*/ 2147483647 w 494"/>
              <a:gd name="T79" fmla="*/ 2147483647 h 465"/>
              <a:gd name="T80" fmla="*/ 2147483647 w 494"/>
              <a:gd name="T81" fmla="*/ 2147483647 h 465"/>
              <a:gd name="T82" fmla="*/ 2147483647 w 494"/>
              <a:gd name="T83" fmla="*/ 2147483647 h 465"/>
              <a:gd name="T84" fmla="*/ 2147483647 w 494"/>
              <a:gd name="T85" fmla="*/ 2147483647 h 465"/>
              <a:gd name="T86" fmla="*/ 2147483647 w 494"/>
              <a:gd name="T87" fmla="*/ 2147483647 h 465"/>
              <a:gd name="T88" fmla="*/ 2147483647 w 494"/>
              <a:gd name="T89" fmla="*/ 2147483647 h 465"/>
              <a:gd name="T90" fmla="*/ 2147483647 w 494"/>
              <a:gd name="T91" fmla="*/ 2147483647 h 465"/>
              <a:gd name="T92" fmla="*/ 2147483647 w 494"/>
              <a:gd name="T93" fmla="*/ 2147483647 h 465"/>
              <a:gd name="T94" fmla="*/ 2147483647 w 494"/>
              <a:gd name="T95" fmla="*/ 2147483647 h 465"/>
              <a:gd name="T96" fmla="*/ 2147483647 w 494"/>
              <a:gd name="T97" fmla="*/ 2147483647 h 465"/>
              <a:gd name="T98" fmla="*/ 2147483647 w 494"/>
              <a:gd name="T99" fmla="*/ 2147483647 h 465"/>
              <a:gd name="T100" fmla="*/ 2147483647 w 494"/>
              <a:gd name="T101" fmla="*/ 2147483647 h 465"/>
              <a:gd name="T102" fmla="*/ 2147483647 w 494"/>
              <a:gd name="T103" fmla="*/ 2147483647 h 465"/>
              <a:gd name="T104" fmla="*/ 2147483647 w 494"/>
              <a:gd name="T105" fmla="*/ 2147483647 h 465"/>
              <a:gd name="T106" fmla="*/ 2147483647 w 494"/>
              <a:gd name="T107" fmla="*/ 2147483647 h 465"/>
              <a:gd name="T108" fmla="*/ 2147483647 w 494"/>
              <a:gd name="T109" fmla="*/ 2147483647 h 465"/>
              <a:gd name="T110" fmla="*/ 2147483647 w 494"/>
              <a:gd name="T111" fmla="*/ 2147483647 h 465"/>
              <a:gd name="T112" fmla="*/ 2147483647 w 494"/>
              <a:gd name="T113" fmla="*/ 2147483647 h 465"/>
              <a:gd name="T114" fmla="*/ 2147483647 w 494"/>
              <a:gd name="T115" fmla="*/ 2147483647 h 465"/>
              <a:gd name="T116" fmla="*/ 2147483647 w 494"/>
              <a:gd name="T117" fmla="*/ 2147483647 h 465"/>
              <a:gd name="T118" fmla="*/ 2147483647 w 494"/>
              <a:gd name="T119" fmla="*/ 2147483647 h 465"/>
              <a:gd name="T120" fmla="*/ 2147483647 w 494"/>
              <a:gd name="T121" fmla="*/ 2147483647 h 465"/>
              <a:gd name="T122" fmla="*/ 0 w 494"/>
              <a:gd name="T123" fmla="*/ 2147483647 h 46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94"/>
              <a:gd name="T187" fmla="*/ 0 h 465"/>
              <a:gd name="T188" fmla="*/ 494 w 494"/>
              <a:gd name="T189" fmla="*/ 465 h 46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94" h="465">
                <a:moveTo>
                  <a:pt x="0" y="212"/>
                </a:moveTo>
                <a:lnTo>
                  <a:pt x="14" y="201"/>
                </a:lnTo>
                <a:lnTo>
                  <a:pt x="51" y="201"/>
                </a:lnTo>
                <a:lnTo>
                  <a:pt x="26" y="154"/>
                </a:lnTo>
                <a:lnTo>
                  <a:pt x="41" y="141"/>
                </a:lnTo>
                <a:lnTo>
                  <a:pt x="63" y="142"/>
                </a:lnTo>
                <a:lnTo>
                  <a:pt x="114" y="88"/>
                </a:lnTo>
                <a:lnTo>
                  <a:pt x="110" y="76"/>
                </a:lnTo>
                <a:lnTo>
                  <a:pt x="122" y="66"/>
                </a:lnTo>
                <a:lnTo>
                  <a:pt x="100" y="49"/>
                </a:lnTo>
                <a:lnTo>
                  <a:pt x="99" y="23"/>
                </a:lnTo>
                <a:lnTo>
                  <a:pt x="148" y="23"/>
                </a:lnTo>
                <a:lnTo>
                  <a:pt x="162" y="9"/>
                </a:lnTo>
                <a:lnTo>
                  <a:pt x="189" y="0"/>
                </a:lnTo>
                <a:lnTo>
                  <a:pt x="206" y="8"/>
                </a:lnTo>
                <a:lnTo>
                  <a:pt x="183" y="37"/>
                </a:lnTo>
                <a:lnTo>
                  <a:pt x="194" y="59"/>
                </a:lnTo>
                <a:lnTo>
                  <a:pt x="174" y="62"/>
                </a:lnTo>
                <a:lnTo>
                  <a:pt x="183" y="90"/>
                </a:lnTo>
                <a:lnTo>
                  <a:pt x="219" y="102"/>
                </a:lnTo>
                <a:lnTo>
                  <a:pt x="201" y="127"/>
                </a:lnTo>
                <a:lnTo>
                  <a:pt x="247" y="151"/>
                </a:lnTo>
                <a:lnTo>
                  <a:pt x="335" y="169"/>
                </a:lnTo>
                <a:lnTo>
                  <a:pt x="337" y="142"/>
                </a:lnTo>
                <a:lnTo>
                  <a:pt x="347" y="141"/>
                </a:lnTo>
                <a:lnTo>
                  <a:pt x="351" y="151"/>
                </a:lnTo>
                <a:lnTo>
                  <a:pt x="356" y="162"/>
                </a:lnTo>
                <a:lnTo>
                  <a:pt x="402" y="159"/>
                </a:lnTo>
                <a:lnTo>
                  <a:pt x="398" y="144"/>
                </a:lnTo>
                <a:lnTo>
                  <a:pt x="470" y="114"/>
                </a:lnTo>
                <a:lnTo>
                  <a:pt x="477" y="133"/>
                </a:lnTo>
                <a:lnTo>
                  <a:pt x="493" y="138"/>
                </a:lnTo>
                <a:lnTo>
                  <a:pt x="486" y="155"/>
                </a:lnTo>
                <a:lnTo>
                  <a:pt x="458" y="166"/>
                </a:lnTo>
                <a:lnTo>
                  <a:pt x="413" y="242"/>
                </a:lnTo>
                <a:lnTo>
                  <a:pt x="405" y="212"/>
                </a:lnTo>
                <a:lnTo>
                  <a:pt x="395" y="224"/>
                </a:lnTo>
                <a:lnTo>
                  <a:pt x="387" y="209"/>
                </a:lnTo>
                <a:lnTo>
                  <a:pt x="405" y="190"/>
                </a:lnTo>
                <a:lnTo>
                  <a:pt x="369" y="187"/>
                </a:lnTo>
                <a:lnTo>
                  <a:pt x="342" y="165"/>
                </a:lnTo>
                <a:lnTo>
                  <a:pt x="336" y="176"/>
                </a:lnTo>
                <a:lnTo>
                  <a:pt x="345" y="187"/>
                </a:lnTo>
                <a:lnTo>
                  <a:pt x="334" y="194"/>
                </a:lnTo>
                <a:lnTo>
                  <a:pt x="343" y="201"/>
                </a:lnTo>
                <a:lnTo>
                  <a:pt x="350" y="247"/>
                </a:lnTo>
                <a:lnTo>
                  <a:pt x="336" y="240"/>
                </a:lnTo>
                <a:lnTo>
                  <a:pt x="306" y="274"/>
                </a:lnTo>
                <a:lnTo>
                  <a:pt x="206" y="344"/>
                </a:lnTo>
                <a:lnTo>
                  <a:pt x="198" y="430"/>
                </a:lnTo>
                <a:lnTo>
                  <a:pt x="157" y="464"/>
                </a:lnTo>
                <a:lnTo>
                  <a:pt x="119" y="398"/>
                </a:lnTo>
                <a:lnTo>
                  <a:pt x="103" y="344"/>
                </a:lnTo>
                <a:lnTo>
                  <a:pt x="88" y="333"/>
                </a:lnTo>
                <a:lnTo>
                  <a:pt x="79" y="236"/>
                </a:lnTo>
                <a:lnTo>
                  <a:pt x="70" y="234"/>
                </a:lnTo>
                <a:lnTo>
                  <a:pt x="63" y="255"/>
                </a:lnTo>
                <a:lnTo>
                  <a:pt x="40" y="260"/>
                </a:lnTo>
                <a:lnTo>
                  <a:pt x="15" y="234"/>
                </a:lnTo>
                <a:lnTo>
                  <a:pt x="38" y="222"/>
                </a:lnTo>
                <a:lnTo>
                  <a:pt x="15" y="227"/>
                </a:lnTo>
                <a:lnTo>
                  <a:pt x="0" y="21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8" name="Freeform 100"/>
          <p:cNvSpPr>
            <a:spLocks/>
          </p:cNvSpPr>
          <p:nvPr/>
        </p:nvSpPr>
        <p:spPr bwMode="auto">
          <a:xfrm>
            <a:off x="6443663" y="4316413"/>
            <a:ext cx="250825" cy="265112"/>
          </a:xfrm>
          <a:custGeom>
            <a:avLst/>
            <a:gdLst>
              <a:gd name="T0" fmla="*/ 0 w 182"/>
              <a:gd name="T1" fmla="*/ 0 h 181"/>
              <a:gd name="T2" fmla="*/ 2147483647 w 182"/>
              <a:gd name="T3" fmla="*/ 2147483647 h 181"/>
              <a:gd name="T4" fmla="*/ 2147483647 w 182"/>
              <a:gd name="T5" fmla="*/ 2147483647 h 181"/>
              <a:gd name="T6" fmla="*/ 2147483647 w 182"/>
              <a:gd name="T7" fmla="*/ 2147483647 h 181"/>
              <a:gd name="T8" fmla="*/ 2147483647 w 182"/>
              <a:gd name="T9" fmla="*/ 2147483647 h 181"/>
              <a:gd name="T10" fmla="*/ 2147483647 w 182"/>
              <a:gd name="T11" fmla="*/ 2147483647 h 181"/>
              <a:gd name="T12" fmla="*/ 2147483647 w 182"/>
              <a:gd name="T13" fmla="*/ 2147483647 h 181"/>
              <a:gd name="T14" fmla="*/ 2147483647 w 182"/>
              <a:gd name="T15" fmla="*/ 2147483647 h 181"/>
              <a:gd name="T16" fmla="*/ 2147483647 w 182"/>
              <a:gd name="T17" fmla="*/ 2147483647 h 181"/>
              <a:gd name="T18" fmla="*/ 2147483647 w 182"/>
              <a:gd name="T19" fmla="*/ 2147483647 h 181"/>
              <a:gd name="T20" fmla="*/ 2147483647 w 182"/>
              <a:gd name="T21" fmla="*/ 2147483647 h 181"/>
              <a:gd name="T22" fmla="*/ 2147483647 w 182"/>
              <a:gd name="T23" fmla="*/ 2147483647 h 181"/>
              <a:gd name="T24" fmla="*/ 0 w 182"/>
              <a:gd name="T25" fmla="*/ 0 h 18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82"/>
              <a:gd name="T40" fmla="*/ 0 h 181"/>
              <a:gd name="T41" fmla="*/ 182 w 182"/>
              <a:gd name="T42" fmla="*/ 181 h 18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82" h="181">
                <a:moveTo>
                  <a:pt x="0" y="0"/>
                </a:moveTo>
                <a:lnTo>
                  <a:pt x="39" y="6"/>
                </a:lnTo>
                <a:lnTo>
                  <a:pt x="91" y="52"/>
                </a:lnTo>
                <a:lnTo>
                  <a:pt x="131" y="72"/>
                </a:lnTo>
                <a:lnTo>
                  <a:pt x="127" y="84"/>
                </a:lnTo>
                <a:lnTo>
                  <a:pt x="140" y="84"/>
                </a:lnTo>
                <a:lnTo>
                  <a:pt x="139" y="100"/>
                </a:lnTo>
                <a:lnTo>
                  <a:pt x="181" y="134"/>
                </a:lnTo>
                <a:lnTo>
                  <a:pt x="176" y="179"/>
                </a:lnTo>
                <a:lnTo>
                  <a:pt x="159" y="180"/>
                </a:lnTo>
                <a:lnTo>
                  <a:pt x="121" y="151"/>
                </a:lnTo>
                <a:lnTo>
                  <a:pt x="60" y="6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9" name="Freeform 101"/>
          <p:cNvSpPr>
            <a:spLocks/>
          </p:cNvSpPr>
          <p:nvPr/>
        </p:nvSpPr>
        <p:spPr bwMode="auto">
          <a:xfrm>
            <a:off x="6677025" y="4583113"/>
            <a:ext cx="211138" cy="63500"/>
          </a:xfrm>
          <a:custGeom>
            <a:avLst/>
            <a:gdLst>
              <a:gd name="T0" fmla="*/ 0 w 154"/>
              <a:gd name="T1" fmla="*/ 2147483647 h 44"/>
              <a:gd name="T2" fmla="*/ 2147483647 w 154"/>
              <a:gd name="T3" fmla="*/ 0 h 44"/>
              <a:gd name="T4" fmla="*/ 2147483647 w 154"/>
              <a:gd name="T5" fmla="*/ 2147483647 h 44"/>
              <a:gd name="T6" fmla="*/ 2147483647 w 154"/>
              <a:gd name="T7" fmla="*/ 2147483647 h 44"/>
              <a:gd name="T8" fmla="*/ 2147483647 w 154"/>
              <a:gd name="T9" fmla="*/ 2147483647 h 44"/>
              <a:gd name="T10" fmla="*/ 2147483647 w 154"/>
              <a:gd name="T11" fmla="*/ 2147483647 h 44"/>
              <a:gd name="T12" fmla="*/ 2147483647 w 154"/>
              <a:gd name="T13" fmla="*/ 2147483647 h 44"/>
              <a:gd name="T14" fmla="*/ 0 w 154"/>
              <a:gd name="T15" fmla="*/ 2147483647 h 4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4"/>
              <a:gd name="T25" fmla="*/ 0 h 44"/>
              <a:gd name="T26" fmla="*/ 154 w 154"/>
              <a:gd name="T27" fmla="*/ 44 h 4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4" h="44">
                <a:moveTo>
                  <a:pt x="0" y="12"/>
                </a:moveTo>
                <a:lnTo>
                  <a:pt x="11" y="0"/>
                </a:lnTo>
                <a:lnTo>
                  <a:pt x="118" y="13"/>
                </a:lnTo>
                <a:lnTo>
                  <a:pt x="130" y="26"/>
                </a:lnTo>
                <a:lnTo>
                  <a:pt x="151" y="28"/>
                </a:lnTo>
                <a:lnTo>
                  <a:pt x="153" y="43"/>
                </a:lnTo>
                <a:lnTo>
                  <a:pt x="27" y="22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0" name="Freeform 102"/>
          <p:cNvSpPr>
            <a:spLocks/>
          </p:cNvSpPr>
          <p:nvPr/>
        </p:nvSpPr>
        <p:spPr bwMode="auto">
          <a:xfrm>
            <a:off x="6762750" y="4343400"/>
            <a:ext cx="230188" cy="195263"/>
          </a:xfrm>
          <a:custGeom>
            <a:avLst/>
            <a:gdLst>
              <a:gd name="T0" fmla="*/ 0 w 168"/>
              <a:gd name="T1" fmla="*/ 2147483647 h 134"/>
              <a:gd name="T2" fmla="*/ 2147483647 w 168"/>
              <a:gd name="T3" fmla="*/ 2147483647 h 134"/>
              <a:gd name="T4" fmla="*/ 2147483647 w 168"/>
              <a:gd name="T5" fmla="*/ 2147483647 h 134"/>
              <a:gd name="T6" fmla="*/ 2147483647 w 168"/>
              <a:gd name="T7" fmla="*/ 2147483647 h 134"/>
              <a:gd name="T8" fmla="*/ 2147483647 w 168"/>
              <a:gd name="T9" fmla="*/ 2147483647 h 134"/>
              <a:gd name="T10" fmla="*/ 2147483647 w 168"/>
              <a:gd name="T11" fmla="*/ 0 h 134"/>
              <a:gd name="T12" fmla="*/ 2147483647 w 168"/>
              <a:gd name="T13" fmla="*/ 2147483647 h 134"/>
              <a:gd name="T14" fmla="*/ 2147483647 w 168"/>
              <a:gd name="T15" fmla="*/ 2147483647 h 134"/>
              <a:gd name="T16" fmla="*/ 2147483647 w 168"/>
              <a:gd name="T17" fmla="*/ 2147483647 h 134"/>
              <a:gd name="T18" fmla="*/ 2147483647 w 168"/>
              <a:gd name="T19" fmla="*/ 2147483647 h 134"/>
              <a:gd name="T20" fmla="*/ 2147483647 w 168"/>
              <a:gd name="T21" fmla="*/ 2147483647 h 134"/>
              <a:gd name="T22" fmla="*/ 2147483647 w 168"/>
              <a:gd name="T23" fmla="*/ 2147483647 h 134"/>
              <a:gd name="T24" fmla="*/ 2147483647 w 168"/>
              <a:gd name="T25" fmla="*/ 2147483647 h 134"/>
              <a:gd name="T26" fmla="*/ 2147483647 w 168"/>
              <a:gd name="T27" fmla="*/ 2147483647 h 134"/>
              <a:gd name="T28" fmla="*/ 2147483647 w 168"/>
              <a:gd name="T29" fmla="*/ 2147483647 h 134"/>
              <a:gd name="T30" fmla="*/ 2147483647 w 168"/>
              <a:gd name="T31" fmla="*/ 2147483647 h 134"/>
              <a:gd name="T32" fmla="*/ 2147483647 w 168"/>
              <a:gd name="T33" fmla="*/ 2147483647 h 134"/>
              <a:gd name="T34" fmla="*/ 0 w 168"/>
              <a:gd name="T35" fmla="*/ 2147483647 h 13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68"/>
              <a:gd name="T55" fmla="*/ 0 h 134"/>
              <a:gd name="T56" fmla="*/ 168 w 168"/>
              <a:gd name="T57" fmla="*/ 134 h 13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68" h="134">
                <a:moveTo>
                  <a:pt x="0" y="62"/>
                </a:moveTo>
                <a:lnTo>
                  <a:pt x="10" y="43"/>
                </a:lnTo>
                <a:lnTo>
                  <a:pt x="26" y="55"/>
                </a:lnTo>
                <a:lnTo>
                  <a:pt x="75" y="50"/>
                </a:lnTo>
                <a:lnTo>
                  <a:pt x="92" y="43"/>
                </a:lnTo>
                <a:lnTo>
                  <a:pt x="114" y="0"/>
                </a:lnTo>
                <a:lnTo>
                  <a:pt x="145" y="4"/>
                </a:lnTo>
                <a:lnTo>
                  <a:pt x="137" y="14"/>
                </a:lnTo>
                <a:lnTo>
                  <a:pt x="167" y="55"/>
                </a:lnTo>
                <a:lnTo>
                  <a:pt x="151" y="53"/>
                </a:lnTo>
                <a:lnTo>
                  <a:pt x="121" y="97"/>
                </a:lnTo>
                <a:lnTo>
                  <a:pt x="116" y="126"/>
                </a:lnTo>
                <a:lnTo>
                  <a:pt x="98" y="133"/>
                </a:lnTo>
                <a:lnTo>
                  <a:pt x="68" y="118"/>
                </a:lnTo>
                <a:lnTo>
                  <a:pt x="48" y="125"/>
                </a:lnTo>
                <a:lnTo>
                  <a:pt x="45" y="112"/>
                </a:lnTo>
                <a:lnTo>
                  <a:pt x="21" y="116"/>
                </a:lnTo>
                <a:lnTo>
                  <a:pt x="0" y="6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1" name="Freeform 103"/>
          <p:cNvSpPr>
            <a:spLocks/>
          </p:cNvSpPr>
          <p:nvPr/>
        </p:nvSpPr>
        <p:spPr bwMode="auto">
          <a:xfrm>
            <a:off x="6940550" y="4637088"/>
            <a:ext cx="55563" cy="19050"/>
          </a:xfrm>
          <a:custGeom>
            <a:avLst/>
            <a:gdLst>
              <a:gd name="T0" fmla="*/ 0 w 41"/>
              <a:gd name="T1" fmla="*/ 2147483647 h 13"/>
              <a:gd name="T2" fmla="*/ 2147483647 w 41"/>
              <a:gd name="T3" fmla="*/ 2147483647 h 13"/>
              <a:gd name="T4" fmla="*/ 2147483647 w 41"/>
              <a:gd name="T5" fmla="*/ 2147483647 h 13"/>
              <a:gd name="T6" fmla="*/ 2147483647 w 41"/>
              <a:gd name="T7" fmla="*/ 0 h 13"/>
              <a:gd name="T8" fmla="*/ 0 w 41"/>
              <a:gd name="T9" fmla="*/ 2147483647 h 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1"/>
              <a:gd name="T16" fmla="*/ 0 h 13"/>
              <a:gd name="T17" fmla="*/ 41 w 41"/>
              <a:gd name="T18" fmla="*/ 13 h 1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1" h="13">
                <a:moveTo>
                  <a:pt x="0" y="4"/>
                </a:moveTo>
                <a:lnTo>
                  <a:pt x="5" y="12"/>
                </a:lnTo>
                <a:lnTo>
                  <a:pt x="40" y="6"/>
                </a:lnTo>
                <a:lnTo>
                  <a:pt x="15" y="0"/>
                </a:lnTo>
                <a:lnTo>
                  <a:pt x="0" y="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2" name="Freeform 104"/>
          <p:cNvSpPr>
            <a:spLocks/>
          </p:cNvSpPr>
          <p:nvPr/>
        </p:nvSpPr>
        <p:spPr bwMode="auto">
          <a:xfrm>
            <a:off x="6988175" y="4405313"/>
            <a:ext cx="147638" cy="168275"/>
          </a:xfrm>
          <a:custGeom>
            <a:avLst/>
            <a:gdLst>
              <a:gd name="T0" fmla="*/ 0 w 107"/>
              <a:gd name="T1" fmla="*/ 2147483647 h 115"/>
              <a:gd name="T2" fmla="*/ 2147483647 w 107"/>
              <a:gd name="T3" fmla="*/ 2147483647 h 115"/>
              <a:gd name="T4" fmla="*/ 2147483647 w 107"/>
              <a:gd name="T5" fmla="*/ 2147483647 h 115"/>
              <a:gd name="T6" fmla="*/ 2147483647 w 107"/>
              <a:gd name="T7" fmla="*/ 2147483647 h 115"/>
              <a:gd name="T8" fmla="*/ 2147483647 w 107"/>
              <a:gd name="T9" fmla="*/ 2147483647 h 115"/>
              <a:gd name="T10" fmla="*/ 2147483647 w 107"/>
              <a:gd name="T11" fmla="*/ 2147483647 h 115"/>
              <a:gd name="T12" fmla="*/ 2147483647 w 107"/>
              <a:gd name="T13" fmla="*/ 2147483647 h 115"/>
              <a:gd name="T14" fmla="*/ 2147483647 w 107"/>
              <a:gd name="T15" fmla="*/ 2147483647 h 115"/>
              <a:gd name="T16" fmla="*/ 2147483647 w 107"/>
              <a:gd name="T17" fmla="*/ 2147483647 h 115"/>
              <a:gd name="T18" fmla="*/ 2147483647 w 107"/>
              <a:gd name="T19" fmla="*/ 2147483647 h 115"/>
              <a:gd name="T20" fmla="*/ 2147483647 w 107"/>
              <a:gd name="T21" fmla="*/ 2147483647 h 115"/>
              <a:gd name="T22" fmla="*/ 2147483647 w 107"/>
              <a:gd name="T23" fmla="*/ 2147483647 h 115"/>
              <a:gd name="T24" fmla="*/ 2147483647 w 107"/>
              <a:gd name="T25" fmla="*/ 2147483647 h 115"/>
              <a:gd name="T26" fmla="*/ 2147483647 w 107"/>
              <a:gd name="T27" fmla="*/ 2147483647 h 115"/>
              <a:gd name="T28" fmla="*/ 2147483647 w 107"/>
              <a:gd name="T29" fmla="*/ 0 h 115"/>
              <a:gd name="T30" fmla="*/ 2147483647 w 107"/>
              <a:gd name="T31" fmla="*/ 2147483647 h 115"/>
              <a:gd name="T32" fmla="*/ 2147483647 w 107"/>
              <a:gd name="T33" fmla="*/ 2147483647 h 115"/>
              <a:gd name="T34" fmla="*/ 2147483647 w 107"/>
              <a:gd name="T35" fmla="*/ 2147483647 h 115"/>
              <a:gd name="T36" fmla="*/ 0 w 107"/>
              <a:gd name="T37" fmla="*/ 2147483647 h 1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7"/>
              <a:gd name="T58" fmla="*/ 0 h 115"/>
              <a:gd name="T59" fmla="*/ 107 w 107"/>
              <a:gd name="T60" fmla="*/ 115 h 11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7" h="115">
                <a:moveTo>
                  <a:pt x="0" y="67"/>
                </a:moveTo>
                <a:lnTo>
                  <a:pt x="14" y="90"/>
                </a:lnTo>
                <a:lnTo>
                  <a:pt x="10" y="109"/>
                </a:lnTo>
                <a:lnTo>
                  <a:pt x="27" y="114"/>
                </a:lnTo>
                <a:lnTo>
                  <a:pt x="26" y="72"/>
                </a:lnTo>
                <a:lnTo>
                  <a:pt x="36" y="67"/>
                </a:lnTo>
                <a:lnTo>
                  <a:pt x="37" y="83"/>
                </a:lnTo>
                <a:lnTo>
                  <a:pt x="46" y="102"/>
                </a:lnTo>
                <a:lnTo>
                  <a:pt x="67" y="95"/>
                </a:lnTo>
                <a:lnTo>
                  <a:pt x="42" y="54"/>
                </a:lnTo>
                <a:lnTo>
                  <a:pt x="77" y="37"/>
                </a:lnTo>
                <a:lnTo>
                  <a:pt x="31" y="47"/>
                </a:lnTo>
                <a:lnTo>
                  <a:pt x="25" y="22"/>
                </a:lnTo>
                <a:lnTo>
                  <a:pt x="92" y="20"/>
                </a:lnTo>
                <a:lnTo>
                  <a:pt x="106" y="0"/>
                </a:lnTo>
                <a:lnTo>
                  <a:pt x="85" y="12"/>
                </a:lnTo>
                <a:lnTo>
                  <a:pt x="36" y="5"/>
                </a:lnTo>
                <a:lnTo>
                  <a:pt x="20" y="15"/>
                </a:lnTo>
                <a:lnTo>
                  <a:pt x="0" y="6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3" name="Freeform 105"/>
          <p:cNvSpPr>
            <a:spLocks/>
          </p:cNvSpPr>
          <p:nvPr/>
        </p:nvSpPr>
        <p:spPr bwMode="auto">
          <a:xfrm>
            <a:off x="7102475" y="4638675"/>
            <a:ext cx="82550" cy="42863"/>
          </a:xfrm>
          <a:custGeom>
            <a:avLst/>
            <a:gdLst>
              <a:gd name="T0" fmla="*/ 0 w 60"/>
              <a:gd name="T1" fmla="*/ 2147483647 h 30"/>
              <a:gd name="T2" fmla="*/ 2147483647 w 60"/>
              <a:gd name="T3" fmla="*/ 2147483647 h 30"/>
              <a:gd name="T4" fmla="*/ 2147483647 w 60"/>
              <a:gd name="T5" fmla="*/ 0 h 30"/>
              <a:gd name="T6" fmla="*/ 2147483647 w 60"/>
              <a:gd name="T7" fmla="*/ 2147483647 h 30"/>
              <a:gd name="T8" fmla="*/ 0 w 60"/>
              <a:gd name="T9" fmla="*/ 2147483647 h 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0"/>
              <a:gd name="T16" fmla="*/ 0 h 30"/>
              <a:gd name="T17" fmla="*/ 60 w 60"/>
              <a:gd name="T18" fmla="*/ 30 h 3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0" h="30">
                <a:moveTo>
                  <a:pt x="0" y="20"/>
                </a:moveTo>
                <a:lnTo>
                  <a:pt x="5" y="29"/>
                </a:lnTo>
                <a:lnTo>
                  <a:pt x="59" y="0"/>
                </a:lnTo>
                <a:lnTo>
                  <a:pt x="18" y="10"/>
                </a:lnTo>
                <a:lnTo>
                  <a:pt x="0" y="2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4" name="Freeform 106"/>
          <p:cNvSpPr>
            <a:spLocks/>
          </p:cNvSpPr>
          <p:nvPr/>
        </p:nvSpPr>
        <p:spPr bwMode="auto">
          <a:xfrm>
            <a:off x="7185025" y="4392613"/>
            <a:ext cx="28575" cy="73025"/>
          </a:xfrm>
          <a:custGeom>
            <a:avLst/>
            <a:gdLst>
              <a:gd name="T0" fmla="*/ 0 w 21"/>
              <a:gd name="T1" fmla="*/ 2147483647 h 50"/>
              <a:gd name="T2" fmla="*/ 2147483647 w 21"/>
              <a:gd name="T3" fmla="*/ 2147483647 h 50"/>
              <a:gd name="T4" fmla="*/ 2147483647 w 21"/>
              <a:gd name="T5" fmla="*/ 2147483647 h 50"/>
              <a:gd name="T6" fmla="*/ 2147483647 w 21"/>
              <a:gd name="T7" fmla="*/ 2147483647 h 50"/>
              <a:gd name="T8" fmla="*/ 2147483647 w 21"/>
              <a:gd name="T9" fmla="*/ 2147483647 h 50"/>
              <a:gd name="T10" fmla="*/ 2147483647 w 21"/>
              <a:gd name="T11" fmla="*/ 2147483647 h 50"/>
              <a:gd name="T12" fmla="*/ 2147483647 w 21"/>
              <a:gd name="T13" fmla="*/ 2147483647 h 50"/>
              <a:gd name="T14" fmla="*/ 2147483647 w 21"/>
              <a:gd name="T15" fmla="*/ 0 h 50"/>
              <a:gd name="T16" fmla="*/ 0 w 21"/>
              <a:gd name="T17" fmla="*/ 2147483647 h 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1"/>
              <a:gd name="T28" fmla="*/ 0 h 50"/>
              <a:gd name="T29" fmla="*/ 21 w 21"/>
              <a:gd name="T30" fmla="*/ 50 h 5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1" h="50">
                <a:moveTo>
                  <a:pt x="0" y="19"/>
                </a:moveTo>
                <a:lnTo>
                  <a:pt x="5" y="40"/>
                </a:lnTo>
                <a:lnTo>
                  <a:pt x="18" y="49"/>
                </a:lnTo>
                <a:lnTo>
                  <a:pt x="9" y="29"/>
                </a:lnTo>
                <a:lnTo>
                  <a:pt x="20" y="26"/>
                </a:lnTo>
                <a:lnTo>
                  <a:pt x="20" y="11"/>
                </a:lnTo>
                <a:lnTo>
                  <a:pt x="5" y="21"/>
                </a:lnTo>
                <a:lnTo>
                  <a:pt x="11" y="0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5" name="Freeform 107"/>
          <p:cNvSpPr>
            <a:spLocks/>
          </p:cNvSpPr>
          <p:nvPr/>
        </p:nvSpPr>
        <p:spPr bwMode="auto">
          <a:xfrm>
            <a:off x="7197725" y="4511675"/>
            <a:ext cx="68263" cy="20638"/>
          </a:xfrm>
          <a:custGeom>
            <a:avLst/>
            <a:gdLst>
              <a:gd name="T0" fmla="*/ 0 w 50"/>
              <a:gd name="T1" fmla="*/ 2147483647 h 14"/>
              <a:gd name="T2" fmla="*/ 2147483647 w 50"/>
              <a:gd name="T3" fmla="*/ 0 h 14"/>
              <a:gd name="T4" fmla="*/ 2147483647 w 50"/>
              <a:gd name="T5" fmla="*/ 2147483647 h 14"/>
              <a:gd name="T6" fmla="*/ 0 w 50"/>
              <a:gd name="T7" fmla="*/ 2147483647 h 14"/>
              <a:gd name="T8" fmla="*/ 0 60000 65536"/>
              <a:gd name="T9" fmla="*/ 0 60000 65536"/>
              <a:gd name="T10" fmla="*/ 0 60000 65536"/>
              <a:gd name="T11" fmla="*/ 0 60000 65536"/>
              <a:gd name="T12" fmla="*/ 0 w 50"/>
              <a:gd name="T13" fmla="*/ 0 h 14"/>
              <a:gd name="T14" fmla="*/ 50 w 50"/>
              <a:gd name="T15" fmla="*/ 14 h 1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0" h="14">
                <a:moveTo>
                  <a:pt x="0" y="3"/>
                </a:moveTo>
                <a:lnTo>
                  <a:pt x="28" y="0"/>
                </a:lnTo>
                <a:lnTo>
                  <a:pt x="49" y="13"/>
                </a:lnTo>
                <a:lnTo>
                  <a:pt x="0" y="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6" name="Freeform 108"/>
          <p:cNvSpPr>
            <a:spLocks/>
          </p:cNvSpPr>
          <p:nvPr/>
        </p:nvSpPr>
        <p:spPr bwMode="auto">
          <a:xfrm>
            <a:off x="7269163" y="4451350"/>
            <a:ext cx="241300" cy="206375"/>
          </a:xfrm>
          <a:custGeom>
            <a:avLst/>
            <a:gdLst>
              <a:gd name="T0" fmla="*/ 0 w 176"/>
              <a:gd name="T1" fmla="*/ 2147483647 h 141"/>
              <a:gd name="T2" fmla="*/ 2147483647 w 176"/>
              <a:gd name="T3" fmla="*/ 2147483647 h 141"/>
              <a:gd name="T4" fmla="*/ 2147483647 w 176"/>
              <a:gd name="T5" fmla="*/ 2147483647 h 141"/>
              <a:gd name="T6" fmla="*/ 2147483647 w 176"/>
              <a:gd name="T7" fmla="*/ 2147483647 h 141"/>
              <a:gd name="T8" fmla="*/ 2147483647 w 176"/>
              <a:gd name="T9" fmla="*/ 2147483647 h 141"/>
              <a:gd name="T10" fmla="*/ 2147483647 w 176"/>
              <a:gd name="T11" fmla="*/ 2147483647 h 141"/>
              <a:gd name="T12" fmla="*/ 2147483647 w 176"/>
              <a:gd name="T13" fmla="*/ 2147483647 h 141"/>
              <a:gd name="T14" fmla="*/ 2147483647 w 176"/>
              <a:gd name="T15" fmla="*/ 2147483647 h 141"/>
              <a:gd name="T16" fmla="*/ 2147483647 w 176"/>
              <a:gd name="T17" fmla="*/ 2147483647 h 141"/>
              <a:gd name="T18" fmla="*/ 2147483647 w 176"/>
              <a:gd name="T19" fmla="*/ 2147483647 h 141"/>
              <a:gd name="T20" fmla="*/ 2147483647 w 176"/>
              <a:gd name="T21" fmla="*/ 2147483647 h 141"/>
              <a:gd name="T22" fmla="*/ 2147483647 w 176"/>
              <a:gd name="T23" fmla="*/ 2147483647 h 141"/>
              <a:gd name="T24" fmla="*/ 2147483647 w 176"/>
              <a:gd name="T25" fmla="*/ 2147483647 h 141"/>
              <a:gd name="T26" fmla="*/ 2147483647 w 176"/>
              <a:gd name="T27" fmla="*/ 2147483647 h 141"/>
              <a:gd name="T28" fmla="*/ 2147483647 w 176"/>
              <a:gd name="T29" fmla="*/ 2147483647 h 141"/>
              <a:gd name="T30" fmla="*/ 2147483647 w 176"/>
              <a:gd name="T31" fmla="*/ 2147483647 h 141"/>
              <a:gd name="T32" fmla="*/ 2147483647 w 176"/>
              <a:gd name="T33" fmla="*/ 2147483647 h 141"/>
              <a:gd name="T34" fmla="*/ 2147483647 w 176"/>
              <a:gd name="T35" fmla="*/ 2147483647 h 141"/>
              <a:gd name="T36" fmla="*/ 2147483647 w 176"/>
              <a:gd name="T37" fmla="*/ 0 h 141"/>
              <a:gd name="T38" fmla="*/ 0 w 176"/>
              <a:gd name="T39" fmla="*/ 2147483647 h 14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76"/>
              <a:gd name="T61" fmla="*/ 0 h 141"/>
              <a:gd name="T62" fmla="*/ 176 w 176"/>
              <a:gd name="T63" fmla="*/ 141 h 14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76" h="141">
                <a:moveTo>
                  <a:pt x="0" y="16"/>
                </a:moveTo>
                <a:lnTo>
                  <a:pt x="24" y="30"/>
                </a:lnTo>
                <a:lnTo>
                  <a:pt x="50" y="27"/>
                </a:lnTo>
                <a:lnTo>
                  <a:pt x="17" y="37"/>
                </a:lnTo>
                <a:lnTo>
                  <a:pt x="32" y="58"/>
                </a:lnTo>
                <a:lnTo>
                  <a:pt x="48" y="41"/>
                </a:lnTo>
                <a:lnTo>
                  <a:pt x="57" y="58"/>
                </a:lnTo>
                <a:lnTo>
                  <a:pt x="122" y="81"/>
                </a:lnTo>
                <a:lnTo>
                  <a:pt x="137" y="114"/>
                </a:lnTo>
                <a:lnTo>
                  <a:pt x="125" y="112"/>
                </a:lnTo>
                <a:lnTo>
                  <a:pt x="115" y="127"/>
                </a:lnTo>
                <a:lnTo>
                  <a:pt x="153" y="121"/>
                </a:lnTo>
                <a:lnTo>
                  <a:pt x="175" y="140"/>
                </a:lnTo>
                <a:lnTo>
                  <a:pt x="170" y="36"/>
                </a:lnTo>
                <a:lnTo>
                  <a:pt x="117" y="16"/>
                </a:lnTo>
                <a:lnTo>
                  <a:pt x="71" y="47"/>
                </a:lnTo>
                <a:lnTo>
                  <a:pt x="55" y="33"/>
                </a:lnTo>
                <a:lnTo>
                  <a:pt x="50" y="7"/>
                </a:lnTo>
                <a:lnTo>
                  <a:pt x="24" y="0"/>
                </a:lnTo>
                <a:lnTo>
                  <a:pt x="0" y="1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7" name="Freeform 109"/>
          <p:cNvSpPr>
            <a:spLocks/>
          </p:cNvSpPr>
          <p:nvPr/>
        </p:nvSpPr>
        <p:spPr bwMode="auto">
          <a:xfrm>
            <a:off x="7272338" y="4608513"/>
            <a:ext cx="12700" cy="17462"/>
          </a:xfrm>
          <a:custGeom>
            <a:avLst/>
            <a:gdLst>
              <a:gd name="T0" fmla="*/ 0 w 10"/>
              <a:gd name="T1" fmla="*/ 2147483647 h 11"/>
              <a:gd name="T2" fmla="*/ 2147483647 w 10"/>
              <a:gd name="T3" fmla="*/ 0 h 11"/>
              <a:gd name="T4" fmla="*/ 2147483647 w 10"/>
              <a:gd name="T5" fmla="*/ 2147483647 h 11"/>
              <a:gd name="T6" fmla="*/ 0 w 10"/>
              <a:gd name="T7" fmla="*/ 2147483647 h 11"/>
              <a:gd name="T8" fmla="*/ 0 60000 65536"/>
              <a:gd name="T9" fmla="*/ 0 60000 65536"/>
              <a:gd name="T10" fmla="*/ 0 60000 65536"/>
              <a:gd name="T11" fmla="*/ 0 60000 65536"/>
              <a:gd name="T12" fmla="*/ 0 w 10"/>
              <a:gd name="T13" fmla="*/ 0 h 11"/>
              <a:gd name="T14" fmla="*/ 10 w 10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" h="11">
                <a:moveTo>
                  <a:pt x="0" y="10"/>
                </a:moveTo>
                <a:lnTo>
                  <a:pt x="6" y="0"/>
                </a:lnTo>
                <a:lnTo>
                  <a:pt x="9" y="7"/>
                </a:lnTo>
                <a:lnTo>
                  <a:pt x="0" y="1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8" name="Freeform 110"/>
          <p:cNvSpPr>
            <a:spLocks/>
          </p:cNvSpPr>
          <p:nvPr/>
        </p:nvSpPr>
        <p:spPr bwMode="auto">
          <a:xfrm>
            <a:off x="5259388" y="3478213"/>
            <a:ext cx="444500" cy="376237"/>
          </a:xfrm>
          <a:custGeom>
            <a:avLst/>
            <a:gdLst>
              <a:gd name="T0" fmla="*/ 0 w 322"/>
              <a:gd name="T1" fmla="*/ 2147483647 h 258"/>
              <a:gd name="T2" fmla="*/ 2147483647 w 322"/>
              <a:gd name="T3" fmla="*/ 0 h 258"/>
              <a:gd name="T4" fmla="*/ 2147483647 w 322"/>
              <a:gd name="T5" fmla="*/ 2147483647 h 258"/>
              <a:gd name="T6" fmla="*/ 2147483647 w 322"/>
              <a:gd name="T7" fmla="*/ 2147483647 h 258"/>
              <a:gd name="T8" fmla="*/ 2147483647 w 322"/>
              <a:gd name="T9" fmla="*/ 2147483647 h 258"/>
              <a:gd name="T10" fmla="*/ 2147483647 w 322"/>
              <a:gd name="T11" fmla="*/ 2147483647 h 258"/>
              <a:gd name="T12" fmla="*/ 2147483647 w 322"/>
              <a:gd name="T13" fmla="*/ 2147483647 h 258"/>
              <a:gd name="T14" fmla="*/ 2147483647 w 322"/>
              <a:gd name="T15" fmla="*/ 2147483647 h 258"/>
              <a:gd name="T16" fmla="*/ 2147483647 w 322"/>
              <a:gd name="T17" fmla="*/ 2147483647 h 258"/>
              <a:gd name="T18" fmla="*/ 2147483647 w 322"/>
              <a:gd name="T19" fmla="*/ 2147483647 h 258"/>
              <a:gd name="T20" fmla="*/ 2147483647 w 322"/>
              <a:gd name="T21" fmla="*/ 2147483647 h 258"/>
              <a:gd name="T22" fmla="*/ 2147483647 w 322"/>
              <a:gd name="T23" fmla="*/ 2147483647 h 258"/>
              <a:gd name="T24" fmla="*/ 2147483647 w 322"/>
              <a:gd name="T25" fmla="*/ 2147483647 h 258"/>
              <a:gd name="T26" fmla="*/ 2147483647 w 322"/>
              <a:gd name="T27" fmla="*/ 2147483647 h 258"/>
              <a:gd name="T28" fmla="*/ 2147483647 w 322"/>
              <a:gd name="T29" fmla="*/ 2147483647 h 258"/>
              <a:gd name="T30" fmla="*/ 2147483647 w 322"/>
              <a:gd name="T31" fmla="*/ 2147483647 h 258"/>
              <a:gd name="T32" fmla="*/ 2147483647 w 322"/>
              <a:gd name="T33" fmla="*/ 2147483647 h 258"/>
              <a:gd name="T34" fmla="*/ 2147483647 w 322"/>
              <a:gd name="T35" fmla="*/ 2147483647 h 258"/>
              <a:gd name="T36" fmla="*/ 2147483647 w 322"/>
              <a:gd name="T37" fmla="*/ 2147483647 h 258"/>
              <a:gd name="T38" fmla="*/ 2147483647 w 322"/>
              <a:gd name="T39" fmla="*/ 2147483647 h 258"/>
              <a:gd name="T40" fmla="*/ 2147483647 w 322"/>
              <a:gd name="T41" fmla="*/ 2147483647 h 258"/>
              <a:gd name="T42" fmla="*/ 2147483647 w 322"/>
              <a:gd name="T43" fmla="*/ 2147483647 h 258"/>
              <a:gd name="T44" fmla="*/ 2147483647 w 322"/>
              <a:gd name="T45" fmla="*/ 2147483647 h 258"/>
              <a:gd name="T46" fmla="*/ 2147483647 w 322"/>
              <a:gd name="T47" fmla="*/ 2147483647 h 258"/>
              <a:gd name="T48" fmla="*/ 2147483647 w 322"/>
              <a:gd name="T49" fmla="*/ 2147483647 h 258"/>
              <a:gd name="T50" fmla="*/ 2147483647 w 322"/>
              <a:gd name="T51" fmla="*/ 2147483647 h 258"/>
              <a:gd name="T52" fmla="*/ 2147483647 w 322"/>
              <a:gd name="T53" fmla="*/ 2147483647 h 258"/>
              <a:gd name="T54" fmla="*/ 2147483647 w 322"/>
              <a:gd name="T55" fmla="*/ 2147483647 h 258"/>
              <a:gd name="T56" fmla="*/ 2147483647 w 322"/>
              <a:gd name="T57" fmla="*/ 2147483647 h 258"/>
              <a:gd name="T58" fmla="*/ 2147483647 w 322"/>
              <a:gd name="T59" fmla="*/ 2147483647 h 258"/>
              <a:gd name="T60" fmla="*/ 2147483647 w 322"/>
              <a:gd name="T61" fmla="*/ 2147483647 h 258"/>
              <a:gd name="T62" fmla="*/ 0 w 322"/>
              <a:gd name="T63" fmla="*/ 2147483647 h 2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22"/>
              <a:gd name="T97" fmla="*/ 0 h 258"/>
              <a:gd name="T98" fmla="*/ 322 w 322"/>
              <a:gd name="T99" fmla="*/ 258 h 2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22" h="258">
                <a:moveTo>
                  <a:pt x="0" y="8"/>
                </a:moveTo>
                <a:lnTo>
                  <a:pt x="9" y="0"/>
                </a:lnTo>
                <a:lnTo>
                  <a:pt x="33" y="17"/>
                </a:lnTo>
                <a:lnTo>
                  <a:pt x="63" y="3"/>
                </a:lnTo>
                <a:lnTo>
                  <a:pt x="65" y="19"/>
                </a:lnTo>
                <a:lnTo>
                  <a:pt x="80" y="24"/>
                </a:lnTo>
                <a:lnTo>
                  <a:pt x="83" y="41"/>
                </a:lnTo>
                <a:lnTo>
                  <a:pt x="127" y="59"/>
                </a:lnTo>
                <a:lnTo>
                  <a:pt x="167" y="55"/>
                </a:lnTo>
                <a:lnTo>
                  <a:pt x="164" y="43"/>
                </a:lnTo>
                <a:lnTo>
                  <a:pt x="219" y="27"/>
                </a:lnTo>
                <a:lnTo>
                  <a:pt x="285" y="59"/>
                </a:lnTo>
                <a:lnTo>
                  <a:pt x="288" y="72"/>
                </a:lnTo>
                <a:lnTo>
                  <a:pt x="275" y="102"/>
                </a:lnTo>
                <a:lnTo>
                  <a:pt x="279" y="145"/>
                </a:lnTo>
                <a:lnTo>
                  <a:pt x="295" y="156"/>
                </a:lnTo>
                <a:lnTo>
                  <a:pt x="281" y="178"/>
                </a:lnTo>
                <a:lnTo>
                  <a:pt x="321" y="224"/>
                </a:lnTo>
                <a:lnTo>
                  <a:pt x="294" y="257"/>
                </a:lnTo>
                <a:lnTo>
                  <a:pt x="223" y="249"/>
                </a:lnTo>
                <a:lnTo>
                  <a:pt x="207" y="226"/>
                </a:lnTo>
                <a:lnTo>
                  <a:pt x="159" y="233"/>
                </a:lnTo>
                <a:lnTo>
                  <a:pt x="122" y="212"/>
                </a:lnTo>
                <a:lnTo>
                  <a:pt x="99" y="174"/>
                </a:lnTo>
                <a:lnTo>
                  <a:pt x="79" y="167"/>
                </a:lnTo>
                <a:lnTo>
                  <a:pt x="74" y="174"/>
                </a:lnTo>
                <a:lnTo>
                  <a:pt x="53" y="134"/>
                </a:lnTo>
                <a:lnTo>
                  <a:pt x="21" y="109"/>
                </a:lnTo>
                <a:lnTo>
                  <a:pt x="37" y="72"/>
                </a:lnTo>
                <a:lnTo>
                  <a:pt x="22" y="69"/>
                </a:lnTo>
                <a:lnTo>
                  <a:pt x="11" y="48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19" name="Freeform 111"/>
          <p:cNvSpPr>
            <a:spLocks/>
          </p:cNvSpPr>
          <p:nvPr/>
        </p:nvSpPr>
        <p:spPr bwMode="auto">
          <a:xfrm>
            <a:off x="5132388" y="3548063"/>
            <a:ext cx="230187" cy="207962"/>
          </a:xfrm>
          <a:custGeom>
            <a:avLst/>
            <a:gdLst>
              <a:gd name="T0" fmla="*/ 0 w 168"/>
              <a:gd name="T1" fmla="*/ 2147483647 h 143"/>
              <a:gd name="T2" fmla="*/ 2147483647 w 168"/>
              <a:gd name="T3" fmla="*/ 2147483647 h 143"/>
              <a:gd name="T4" fmla="*/ 2147483647 w 168"/>
              <a:gd name="T5" fmla="*/ 2147483647 h 143"/>
              <a:gd name="T6" fmla="*/ 2147483647 w 168"/>
              <a:gd name="T7" fmla="*/ 2147483647 h 143"/>
              <a:gd name="T8" fmla="*/ 2147483647 w 168"/>
              <a:gd name="T9" fmla="*/ 2147483647 h 143"/>
              <a:gd name="T10" fmla="*/ 2147483647 w 168"/>
              <a:gd name="T11" fmla="*/ 2147483647 h 143"/>
              <a:gd name="T12" fmla="*/ 2147483647 w 168"/>
              <a:gd name="T13" fmla="*/ 2147483647 h 143"/>
              <a:gd name="T14" fmla="*/ 2147483647 w 168"/>
              <a:gd name="T15" fmla="*/ 2147483647 h 143"/>
              <a:gd name="T16" fmla="*/ 2147483647 w 168"/>
              <a:gd name="T17" fmla="*/ 2147483647 h 143"/>
              <a:gd name="T18" fmla="*/ 2147483647 w 168"/>
              <a:gd name="T19" fmla="*/ 2147483647 h 143"/>
              <a:gd name="T20" fmla="*/ 2147483647 w 168"/>
              <a:gd name="T21" fmla="*/ 2147483647 h 143"/>
              <a:gd name="T22" fmla="*/ 2147483647 w 168"/>
              <a:gd name="T23" fmla="*/ 2147483647 h 143"/>
              <a:gd name="T24" fmla="*/ 2147483647 w 168"/>
              <a:gd name="T25" fmla="*/ 0 h 143"/>
              <a:gd name="T26" fmla="*/ 2147483647 w 168"/>
              <a:gd name="T27" fmla="*/ 0 h 143"/>
              <a:gd name="T28" fmla="*/ 2147483647 w 168"/>
              <a:gd name="T29" fmla="*/ 2147483647 h 143"/>
              <a:gd name="T30" fmla="*/ 2147483647 w 168"/>
              <a:gd name="T31" fmla="*/ 2147483647 h 143"/>
              <a:gd name="T32" fmla="*/ 0 w 168"/>
              <a:gd name="T33" fmla="*/ 2147483647 h 14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68"/>
              <a:gd name="T52" fmla="*/ 0 h 143"/>
              <a:gd name="T53" fmla="*/ 168 w 168"/>
              <a:gd name="T54" fmla="*/ 143 h 14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68" h="143">
                <a:moveTo>
                  <a:pt x="0" y="69"/>
                </a:moveTo>
                <a:lnTo>
                  <a:pt x="9" y="89"/>
                </a:lnTo>
                <a:lnTo>
                  <a:pt x="83" y="120"/>
                </a:lnTo>
                <a:lnTo>
                  <a:pt x="85" y="134"/>
                </a:lnTo>
                <a:lnTo>
                  <a:pt x="104" y="141"/>
                </a:lnTo>
                <a:lnTo>
                  <a:pt x="134" y="142"/>
                </a:lnTo>
                <a:lnTo>
                  <a:pt x="160" y="127"/>
                </a:lnTo>
                <a:lnTo>
                  <a:pt x="167" y="126"/>
                </a:lnTo>
                <a:lnTo>
                  <a:pt x="146" y="85"/>
                </a:lnTo>
                <a:lnTo>
                  <a:pt x="114" y="61"/>
                </a:lnTo>
                <a:lnTo>
                  <a:pt x="130" y="24"/>
                </a:lnTo>
                <a:lnTo>
                  <a:pt x="115" y="21"/>
                </a:lnTo>
                <a:lnTo>
                  <a:pt x="104" y="0"/>
                </a:lnTo>
                <a:lnTo>
                  <a:pt x="66" y="0"/>
                </a:lnTo>
                <a:lnTo>
                  <a:pt x="47" y="14"/>
                </a:lnTo>
                <a:lnTo>
                  <a:pt x="41" y="48"/>
                </a:lnTo>
                <a:lnTo>
                  <a:pt x="0" y="6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0" name="Freeform 112"/>
          <p:cNvSpPr>
            <a:spLocks/>
          </p:cNvSpPr>
          <p:nvPr/>
        </p:nvSpPr>
        <p:spPr bwMode="auto">
          <a:xfrm>
            <a:off x="5273675" y="3754438"/>
            <a:ext cx="44450" cy="11112"/>
          </a:xfrm>
          <a:custGeom>
            <a:avLst/>
            <a:gdLst>
              <a:gd name="T0" fmla="*/ 0 w 32"/>
              <a:gd name="T1" fmla="*/ 0 h 8"/>
              <a:gd name="T2" fmla="*/ 2147483647 w 32"/>
              <a:gd name="T3" fmla="*/ 2147483647 h 8"/>
              <a:gd name="T4" fmla="*/ 2147483647 w 32"/>
              <a:gd name="T5" fmla="*/ 2147483647 h 8"/>
              <a:gd name="T6" fmla="*/ 0 w 32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  <a:gd name="T12" fmla="*/ 0 w 32"/>
              <a:gd name="T13" fmla="*/ 0 h 8"/>
              <a:gd name="T14" fmla="*/ 32 w 32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2" h="8">
                <a:moveTo>
                  <a:pt x="0" y="0"/>
                </a:moveTo>
                <a:lnTo>
                  <a:pt x="16" y="7"/>
                </a:lnTo>
                <a:lnTo>
                  <a:pt x="31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1" name="Freeform 113"/>
          <p:cNvSpPr>
            <a:spLocks/>
          </p:cNvSpPr>
          <p:nvPr/>
        </p:nvSpPr>
        <p:spPr bwMode="auto">
          <a:xfrm>
            <a:off x="4002088" y="3032125"/>
            <a:ext cx="100012" cy="111125"/>
          </a:xfrm>
          <a:custGeom>
            <a:avLst/>
            <a:gdLst>
              <a:gd name="T0" fmla="*/ 0 w 72"/>
              <a:gd name="T1" fmla="*/ 2147483647 h 76"/>
              <a:gd name="T2" fmla="*/ 2147483647 w 72"/>
              <a:gd name="T3" fmla="*/ 2147483647 h 76"/>
              <a:gd name="T4" fmla="*/ 2147483647 w 72"/>
              <a:gd name="T5" fmla="*/ 2147483647 h 76"/>
              <a:gd name="T6" fmla="*/ 2147483647 w 72"/>
              <a:gd name="T7" fmla="*/ 2147483647 h 76"/>
              <a:gd name="T8" fmla="*/ 2147483647 w 72"/>
              <a:gd name="T9" fmla="*/ 2147483647 h 76"/>
              <a:gd name="T10" fmla="*/ 2147483647 w 72"/>
              <a:gd name="T11" fmla="*/ 2147483647 h 76"/>
              <a:gd name="T12" fmla="*/ 2147483647 w 72"/>
              <a:gd name="T13" fmla="*/ 2147483647 h 76"/>
              <a:gd name="T14" fmla="*/ 2147483647 w 72"/>
              <a:gd name="T15" fmla="*/ 2147483647 h 76"/>
              <a:gd name="T16" fmla="*/ 2147483647 w 72"/>
              <a:gd name="T17" fmla="*/ 2147483647 h 76"/>
              <a:gd name="T18" fmla="*/ 2147483647 w 72"/>
              <a:gd name="T19" fmla="*/ 0 h 76"/>
              <a:gd name="T20" fmla="*/ 2147483647 w 72"/>
              <a:gd name="T21" fmla="*/ 2147483647 h 76"/>
              <a:gd name="T22" fmla="*/ 2147483647 w 72"/>
              <a:gd name="T23" fmla="*/ 2147483647 h 76"/>
              <a:gd name="T24" fmla="*/ 2147483647 w 72"/>
              <a:gd name="T25" fmla="*/ 2147483647 h 76"/>
              <a:gd name="T26" fmla="*/ 2147483647 w 72"/>
              <a:gd name="T27" fmla="*/ 2147483647 h 76"/>
              <a:gd name="T28" fmla="*/ 2147483647 w 72"/>
              <a:gd name="T29" fmla="*/ 2147483647 h 76"/>
              <a:gd name="T30" fmla="*/ 2147483647 w 72"/>
              <a:gd name="T31" fmla="*/ 2147483647 h 76"/>
              <a:gd name="T32" fmla="*/ 2147483647 w 72"/>
              <a:gd name="T33" fmla="*/ 2147483647 h 76"/>
              <a:gd name="T34" fmla="*/ 0 w 72"/>
              <a:gd name="T35" fmla="*/ 2147483647 h 7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2"/>
              <a:gd name="T55" fmla="*/ 0 h 76"/>
              <a:gd name="T56" fmla="*/ 72 w 72"/>
              <a:gd name="T57" fmla="*/ 76 h 7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2" h="76">
                <a:moveTo>
                  <a:pt x="0" y="63"/>
                </a:moveTo>
                <a:lnTo>
                  <a:pt x="11" y="69"/>
                </a:lnTo>
                <a:lnTo>
                  <a:pt x="5" y="75"/>
                </a:lnTo>
                <a:lnTo>
                  <a:pt x="66" y="63"/>
                </a:lnTo>
                <a:lnTo>
                  <a:pt x="71" y="25"/>
                </a:lnTo>
                <a:lnTo>
                  <a:pt x="64" y="15"/>
                </a:lnTo>
                <a:lnTo>
                  <a:pt x="45" y="21"/>
                </a:lnTo>
                <a:lnTo>
                  <a:pt x="39" y="14"/>
                </a:lnTo>
                <a:lnTo>
                  <a:pt x="46" y="5"/>
                </a:lnTo>
                <a:lnTo>
                  <a:pt x="39" y="0"/>
                </a:lnTo>
                <a:lnTo>
                  <a:pt x="30" y="20"/>
                </a:lnTo>
                <a:lnTo>
                  <a:pt x="4" y="25"/>
                </a:lnTo>
                <a:lnTo>
                  <a:pt x="14" y="29"/>
                </a:lnTo>
                <a:lnTo>
                  <a:pt x="9" y="39"/>
                </a:lnTo>
                <a:lnTo>
                  <a:pt x="24" y="42"/>
                </a:lnTo>
                <a:lnTo>
                  <a:pt x="10" y="55"/>
                </a:lnTo>
                <a:lnTo>
                  <a:pt x="26" y="53"/>
                </a:lnTo>
                <a:lnTo>
                  <a:pt x="0" y="6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2" name="Freeform 114"/>
          <p:cNvSpPr>
            <a:spLocks/>
          </p:cNvSpPr>
          <p:nvPr/>
        </p:nvSpPr>
        <p:spPr bwMode="auto">
          <a:xfrm>
            <a:off x="5027613" y="3651250"/>
            <a:ext cx="36512" cy="100013"/>
          </a:xfrm>
          <a:custGeom>
            <a:avLst/>
            <a:gdLst>
              <a:gd name="T0" fmla="*/ 0 w 27"/>
              <a:gd name="T1" fmla="*/ 2147483647 h 68"/>
              <a:gd name="T2" fmla="*/ 2147483647 w 27"/>
              <a:gd name="T3" fmla="*/ 2147483647 h 68"/>
              <a:gd name="T4" fmla="*/ 2147483647 w 27"/>
              <a:gd name="T5" fmla="*/ 2147483647 h 68"/>
              <a:gd name="T6" fmla="*/ 2147483647 w 27"/>
              <a:gd name="T7" fmla="*/ 2147483647 h 68"/>
              <a:gd name="T8" fmla="*/ 2147483647 w 27"/>
              <a:gd name="T9" fmla="*/ 2147483647 h 68"/>
              <a:gd name="T10" fmla="*/ 2147483647 w 27"/>
              <a:gd name="T11" fmla="*/ 2147483647 h 68"/>
              <a:gd name="T12" fmla="*/ 2147483647 w 27"/>
              <a:gd name="T13" fmla="*/ 0 h 68"/>
              <a:gd name="T14" fmla="*/ 2147483647 w 27"/>
              <a:gd name="T15" fmla="*/ 2147483647 h 68"/>
              <a:gd name="T16" fmla="*/ 0 w 27"/>
              <a:gd name="T17" fmla="*/ 2147483647 h 6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7"/>
              <a:gd name="T28" fmla="*/ 0 h 68"/>
              <a:gd name="T29" fmla="*/ 27 w 27"/>
              <a:gd name="T30" fmla="*/ 68 h 6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7" h="68">
                <a:moveTo>
                  <a:pt x="0" y="35"/>
                </a:moveTo>
                <a:lnTo>
                  <a:pt x="14" y="67"/>
                </a:lnTo>
                <a:lnTo>
                  <a:pt x="22" y="31"/>
                </a:lnTo>
                <a:lnTo>
                  <a:pt x="12" y="35"/>
                </a:lnTo>
                <a:lnTo>
                  <a:pt x="14" y="18"/>
                </a:lnTo>
                <a:lnTo>
                  <a:pt x="24" y="10"/>
                </a:lnTo>
                <a:lnTo>
                  <a:pt x="26" y="0"/>
                </a:lnTo>
                <a:lnTo>
                  <a:pt x="16" y="2"/>
                </a:lnTo>
                <a:lnTo>
                  <a:pt x="0" y="3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3" name="Freeform 115"/>
          <p:cNvSpPr>
            <a:spLocks/>
          </p:cNvSpPr>
          <p:nvPr/>
        </p:nvSpPr>
        <p:spPr bwMode="auto">
          <a:xfrm>
            <a:off x="4395788" y="3275013"/>
            <a:ext cx="273050" cy="255587"/>
          </a:xfrm>
          <a:custGeom>
            <a:avLst/>
            <a:gdLst>
              <a:gd name="T0" fmla="*/ 0 w 198"/>
              <a:gd name="T1" fmla="*/ 2147483647 h 174"/>
              <a:gd name="T2" fmla="*/ 2147483647 w 198"/>
              <a:gd name="T3" fmla="*/ 2147483647 h 174"/>
              <a:gd name="T4" fmla="*/ 2147483647 w 198"/>
              <a:gd name="T5" fmla="*/ 2147483647 h 174"/>
              <a:gd name="T6" fmla="*/ 2147483647 w 198"/>
              <a:gd name="T7" fmla="*/ 2147483647 h 174"/>
              <a:gd name="T8" fmla="*/ 2147483647 w 198"/>
              <a:gd name="T9" fmla="*/ 2147483647 h 174"/>
              <a:gd name="T10" fmla="*/ 2147483647 w 198"/>
              <a:gd name="T11" fmla="*/ 0 h 174"/>
              <a:gd name="T12" fmla="*/ 2147483647 w 198"/>
              <a:gd name="T13" fmla="*/ 2147483647 h 174"/>
              <a:gd name="T14" fmla="*/ 2147483647 w 198"/>
              <a:gd name="T15" fmla="*/ 2147483647 h 174"/>
              <a:gd name="T16" fmla="*/ 2147483647 w 198"/>
              <a:gd name="T17" fmla="*/ 2147483647 h 174"/>
              <a:gd name="T18" fmla="*/ 2147483647 w 198"/>
              <a:gd name="T19" fmla="*/ 2147483647 h 174"/>
              <a:gd name="T20" fmla="*/ 2147483647 w 198"/>
              <a:gd name="T21" fmla="*/ 2147483647 h 174"/>
              <a:gd name="T22" fmla="*/ 2147483647 w 198"/>
              <a:gd name="T23" fmla="*/ 2147483647 h 174"/>
              <a:gd name="T24" fmla="*/ 2147483647 w 198"/>
              <a:gd name="T25" fmla="*/ 2147483647 h 174"/>
              <a:gd name="T26" fmla="*/ 2147483647 w 198"/>
              <a:gd name="T27" fmla="*/ 2147483647 h 174"/>
              <a:gd name="T28" fmla="*/ 2147483647 w 198"/>
              <a:gd name="T29" fmla="*/ 2147483647 h 174"/>
              <a:gd name="T30" fmla="*/ 2147483647 w 198"/>
              <a:gd name="T31" fmla="*/ 2147483647 h 174"/>
              <a:gd name="T32" fmla="*/ 2147483647 w 198"/>
              <a:gd name="T33" fmla="*/ 2147483647 h 174"/>
              <a:gd name="T34" fmla="*/ 2147483647 w 198"/>
              <a:gd name="T35" fmla="*/ 2147483647 h 174"/>
              <a:gd name="T36" fmla="*/ 2147483647 w 198"/>
              <a:gd name="T37" fmla="*/ 2147483647 h 174"/>
              <a:gd name="T38" fmla="*/ 2147483647 w 198"/>
              <a:gd name="T39" fmla="*/ 2147483647 h 174"/>
              <a:gd name="T40" fmla="*/ 2147483647 w 198"/>
              <a:gd name="T41" fmla="*/ 2147483647 h 174"/>
              <a:gd name="T42" fmla="*/ 2147483647 w 198"/>
              <a:gd name="T43" fmla="*/ 2147483647 h 174"/>
              <a:gd name="T44" fmla="*/ 0 w 198"/>
              <a:gd name="T45" fmla="*/ 2147483647 h 1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98"/>
              <a:gd name="T70" fmla="*/ 0 h 174"/>
              <a:gd name="T71" fmla="*/ 198 w 198"/>
              <a:gd name="T72" fmla="*/ 174 h 17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98" h="174">
                <a:moveTo>
                  <a:pt x="0" y="43"/>
                </a:moveTo>
                <a:lnTo>
                  <a:pt x="4" y="23"/>
                </a:lnTo>
                <a:lnTo>
                  <a:pt x="27" y="13"/>
                </a:lnTo>
                <a:lnTo>
                  <a:pt x="37" y="23"/>
                </a:lnTo>
                <a:lnTo>
                  <a:pt x="62" y="3"/>
                </a:lnTo>
                <a:lnTo>
                  <a:pt x="89" y="0"/>
                </a:lnTo>
                <a:lnTo>
                  <a:pt x="115" y="13"/>
                </a:lnTo>
                <a:lnTo>
                  <a:pt x="115" y="31"/>
                </a:lnTo>
                <a:lnTo>
                  <a:pt x="91" y="33"/>
                </a:lnTo>
                <a:lnTo>
                  <a:pt x="96" y="57"/>
                </a:lnTo>
                <a:lnTo>
                  <a:pt x="133" y="96"/>
                </a:lnTo>
                <a:lnTo>
                  <a:pt x="155" y="99"/>
                </a:lnTo>
                <a:lnTo>
                  <a:pt x="153" y="108"/>
                </a:lnTo>
                <a:lnTo>
                  <a:pt x="197" y="134"/>
                </a:lnTo>
                <a:lnTo>
                  <a:pt x="167" y="129"/>
                </a:lnTo>
                <a:lnTo>
                  <a:pt x="174" y="153"/>
                </a:lnTo>
                <a:lnTo>
                  <a:pt x="155" y="173"/>
                </a:lnTo>
                <a:lnTo>
                  <a:pt x="148" y="134"/>
                </a:lnTo>
                <a:lnTo>
                  <a:pt x="74" y="89"/>
                </a:lnTo>
                <a:lnTo>
                  <a:pt x="58" y="59"/>
                </a:lnTo>
                <a:lnTo>
                  <a:pt x="34" y="52"/>
                </a:lnTo>
                <a:lnTo>
                  <a:pt x="14" y="64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4" name="Freeform 116"/>
          <p:cNvSpPr>
            <a:spLocks/>
          </p:cNvSpPr>
          <p:nvPr/>
        </p:nvSpPr>
        <p:spPr bwMode="auto">
          <a:xfrm>
            <a:off x="4429125" y="3438525"/>
            <a:ext cx="36513" cy="61913"/>
          </a:xfrm>
          <a:custGeom>
            <a:avLst/>
            <a:gdLst>
              <a:gd name="T0" fmla="*/ 0 w 26"/>
              <a:gd name="T1" fmla="*/ 2147483647 h 43"/>
              <a:gd name="T2" fmla="*/ 2147483647 w 26"/>
              <a:gd name="T3" fmla="*/ 2147483647 h 43"/>
              <a:gd name="T4" fmla="*/ 2147483647 w 26"/>
              <a:gd name="T5" fmla="*/ 2147483647 h 43"/>
              <a:gd name="T6" fmla="*/ 2147483647 w 26"/>
              <a:gd name="T7" fmla="*/ 2147483647 h 43"/>
              <a:gd name="T8" fmla="*/ 2147483647 w 26"/>
              <a:gd name="T9" fmla="*/ 0 h 43"/>
              <a:gd name="T10" fmla="*/ 0 w 26"/>
              <a:gd name="T11" fmla="*/ 2147483647 h 4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43"/>
              <a:gd name="T20" fmla="*/ 26 w 26"/>
              <a:gd name="T21" fmla="*/ 43 h 4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43">
                <a:moveTo>
                  <a:pt x="0" y="6"/>
                </a:moveTo>
                <a:lnTo>
                  <a:pt x="5" y="39"/>
                </a:lnTo>
                <a:lnTo>
                  <a:pt x="14" y="42"/>
                </a:lnTo>
                <a:lnTo>
                  <a:pt x="25" y="16"/>
                </a:lnTo>
                <a:lnTo>
                  <a:pt x="15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5" name="Freeform 117"/>
          <p:cNvSpPr>
            <a:spLocks/>
          </p:cNvSpPr>
          <p:nvPr/>
        </p:nvSpPr>
        <p:spPr bwMode="auto">
          <a:xfrm>
            <a:off x="4530725" y="3519488"/>
            <a:ext cx="69850" cy="42862"/>
          </a:xfrm>
          <a:custGeom>
            <a:avLst/>
            <a:gdLst>
              <a:gd name="T0" fmla="*/ 0 w 51"/>
              <a:gd name="T1" fmla="*/ 2147483647 h 29"/>
              <a:gd name="T2" fmla="*/ 2147483647 w 51"/>
              <a:gd name="T3" fmla="*/ 2147483647 h 29"/>
              <a:gd name="T4" fmla="*/ 2147483647 w 51"/>
              <a:gd name="T5" fmla="*/ 0 h 29"/>
              <a:gd name="T6" fmla="*/ 0 w 51"/>
              <a:gd name="T7" fmla="*/ 2147483647 h 29"/>
              <a:gd name="T8" fmla="*/ 0 60000 65536"/>
              <a:gd name="T9" fmla="*/ 0 60000 65536"/>
              <a:gd name="T10" fmla="*/ 0 60000 65536"/>
              <a:gd name="T11" fmla="*/ 0 60000 65536"/>
              <a:gd name="T12" fmla="*/ 0 w 51"/>
              <a:gd name="T13" fmla="*/ 0 h 29"/>
              <a:gd name="T14" fmla="*/ 51 w 51"/>
              <a:gd name="T15" fmla="*/ 29 h 2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1" h="29">
                <a:moveTo>
                  <a:pt x="0" y="7"/>
                </a:moveTo>
                <a:lnTo>
                  <a:pt x="43" y="28"/>
                </a:lnTo>
                <a:lnTo>
                  <a:pt x="50" y="0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6" name="Freeform 118"/>
          <p:cNvSpPr>
            <a:spLocks/>
          </p:cNvSpPr>
          <p:nvPr/>
        </p:nvSpPr>
        <p:spPr bwMode="auto">
          <a:xfrm>
            <a:off x="4041775" y="4197350"/>
            <a:ext cx="138113" cy="146050"/>
          </a:xfrm>
          <a:custGeom>
            <a:avLst/>
            <a:gdLst>
              <a:gd name="T0" fmla="*/ 0 w 101"/>
              <a:gd name="T1" fmla="*/ 2147483647 h 100"/>
              <a:gd name="T2" fmla="*/ 2147483647 w 101"/>
              <a:gd name="T3" fmla="*/ 2147483647 h 100"/>
              <a:gd name="T4" fmla="*/ 2147483647 w 101"/>
              <a:gd name="T5" fmla="*/ 2147483647 h 100"/>
              <a:gd name="T6" fmla="*/ 2147483647 w 101"/>
              <a:gd name="T7" fmla="*/ 2147483647 h 100"/>
              <a:gd name="T8" fmla="*/ 2147483647 w 101"/>
              <a:gd name="T9" fmla="*/ 2147483647 h 100"/>
              <a:gd name="T10" fmla="*/ 2147483647 w 101"/>
              <a:gd name="T11" fmla="*/ 0 h 100"/>
              <a:gd name="T12" fmla="*/ 2147483647 w 101"/>
              <a:gd name="T13" fmla="*/ 2147483647 h 100"/>
              <a:gd name="T14" fmla="*/ 2147483647 w 101"/>
              <a:gd name="T15" fmla="*/ 2147483647 h 100"/>
              <a:gd name="T16" fmla="*/ 2147483647 w 101"/>
              <a:gd name="T17" fmla="*/ 2147483647 h 100"/>
              <a:gd name="T18" fmla="*/ 2147483647 w 101"/>
              <a:gd name="T19" fmla="*/ 2147483647 h 100"/>
              <a:gd name="T20" fmla="*/ 2147483647 w 101"/>
              <a:gd name="T21" fmla="*/ 2147483647 h 100"/>
              <a:gd name="T22" fmla="*/ 2147483647 w 101"/>
              <a:gd name="T23" fmla="*/ 2147483647 h 100"/>
              <a:gd name="T24" fmla="*/ 0 w 101"/>
              <a:gd name="T25" fmla="*/ 2147483647 h 10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1"/>
              <a:gd name="T40" fmla="*/ 0 h 100"/>
              <a:gd name="T41" fmla="*/ 101 w 101"/>
              <a:gd name="T42" fmla="*/ 100 h 10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1" h="100">
                <a:moveTo>
                  <a:pt x="0" y="66"/>
                </a:moveTo>
                <a:lnTo>
                  <a:pt x="1" y="50"/>
                </a:lnTo>
                <a:lnTo>
                  <a:pt x="6" y="35"/>
                </a:lnTo>
                <a:lnTo>
                  <a:pt x="15" y="38"/>
                </a:lnTo>
                <a:lnTo>
                  <a:pt x="10" y="7"/>
                </a:lnTo>
                <a:lnTo>
                  <a:pt x="40" y="0"/>
                </a:lnTo>
                <a:lnTo>
                  <a:pt x="56" y="5"/>
                </a:lnTo>
                <a:lnTo>
                  <a:pt x="64" y="15"/>
                </a:lnTo>
                <a:lnTo>
                  <a:pt x="100" y="17"/>
                </a:lnTo>
                <a:lnTo>
                  <a:pt x="93" y="89"/>
                </a:lnTo>
                <a:lnTo>
                  <a:pt x="17" y="99"/>
                </a:lnTo>
                <a:lnTo>
                  <a:pt x="19" y="76"/>
                </a:lnTo>
                <a:lnTo>
                  <a:pt x="0" y="6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7" name="Freeform 119"/>
          <p:cNvSpPr>
            <a:spLocks/>
          </p:cNvSpPr>
          <p:nvPr/>
        </p:nvSpPr>
        <p:spPr bwMode="auto">
          <a:xfrm>
            <a:off x="7237413" y="3636963"/>
            <a:ext cx="57150" cy="65087"/>
          </a:xfrm>
          <a:custGeom>
            <a:avLst/>
            <a:gdLst>
              <a:gd name="T0" fmla="*/ 0 w 42"/>
              <a:gd name="T1" fmla="*/ 2147483647 h 45"/>
              <a:gd name="T2" fmla="*/ 2147483647 w 42"/>
              <a:gd name="T3" fmla="*/ 2147483647 h 45"/>
              <a:gd name="T4" fmla="*/ 2147483647 w 42"/>
              <a:gd name="T5" fmla="*/ 2147483647 h 45"/>
              <a:gd name="T6" fmla="*/ 2147483647 w 42"/>
              <a:gd name="T7" fmla="*/ 2147483647 h 45"/>
              <a:gd name="T8" fmla="*/ 2147483647 w 42"/>
              <a:gd name="T9" fmla="*/ 2147483647 h 45"/>
              <a:gd name="T10" fmla="*/ 2147483647 w 42"/>
              <a:gd name="T11" fmla="*/ 2147483647 h 45"/>
              <a:gd name="T12" fmla="*/ 2147483647 w 42"/>
              <a:gd name="T13" fmla="*/ 2147483647 h 45"/>
              <a:gd name="T14" fmla="*/ 2147483647 w 42"/>
              <a:gd name="T15" fmla="*/ 2147483647 h 45"/>
              <a:gd name="T16" fmla="*/ 2147483647 w 42"/>
              <a:gd name="T17" fmla="*/ 0 h 45"/>
              <a:gd name="T18" fmla="*/ 0 w 42"/>
              <a:gd name="T19" fmla="*/ 2147483647 h 4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2"/>
              <a:gd name="T31" fmla="*/ 0 h 45"/>
              <a:gd name="T32" fmla="*/ 42 w 42"/>
              <a:gd name="T33" fmla="*/ 45 h 4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2" h="45">
                <a:moveTo>
                  <a:pt x="0" y="12"/>
                </a:moveTo>
                <a:lnTo>
                  <a:pt x="4" y="22"/>
                </a:lnTo>
                <a:lnTo>
                  <a:pt x="12" y="12"/>
                </a:lnTo>
                <a:lnTo>
                  <a:pt x="16" y="19"/>
                </a:lnTo>
                <a:lnTo>
                  <a:pt x="12" y="44"/>
                </a:lnTo>
                <a:lnTo>
                  <a:pt x="30" y="44"/>
                </a:lnTo>
                <a:lnTo>
                  <a:pt x="41" y="17"/>
                </a:lnTo>
                <a:lnTo>
                  <a:pt x="35" y="3"/>
                </a:lnTo>
                <a:lnTo>
                  <a:pt x="16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8" name="Freeform 120"/>
          <p:cNvSpPr>
            <a:spLocks/>
          </p:cNvSpPr>
          <p:nvPr/>
        </p:nvSpPr>
        <p:spPr bwMode="auto">
          <a:xfrm>
            <a:off x="7269163" y="3435350"/>
            <a:ext cx="260350" cy="211138"/>
          </a:xfrm>
          <a:custGeom>
            <a:avLst/>
            <a:gdLst>
              <a:gd name="T0" fmla="*/ 0 w 189"/>
              <a:gd name="T1" fmla="*/ 2147483647 h 145"/>
              <a:gd name="T2" fmla="*/ 2147483647 w 189"/>
              <a:gd name="T3" fmla="*/ 2147483647 h 145"/>
              <a:gd name="T4" fmla="*/ 2147483647 w 189"/>
              <a:gd name="T5" fmla="*/ 2147483647 h 145"/>
              <a:gd name="T6" fmla="*/ 2147483647 w 189"/>
              <a:gd name="T7" fmla="*/ 2147483647 h 145"/>
              <a:gd name="T8" fmla="*/ 2147483647 w 189"/>
              <a:gd name="T9" fmla="*/ 2147483647 h 145"/>
              <a:gd name="T10" fmla="*/ 2147483647 w 189"/>
              <a:gd name="T11" fmla="*/ 2147483647 h 145"/>
              <a:gd name="T12" fmla="*/ 2147483647 w 189"/>
              <a:gd name="T13" fmla="*/ 2147483647 h 145"/>
              <a:gd name="T14" fmla="*/ 2147483647 w 189"/>
              <a:gd name="T15" fmla="*/ 2147483647 h 145"/>
              <a:gd name="T16" fmla="*/ 2147483647 w 189"/>
              <a:gd name="T17" fmla="*/ 2147483647 h 145"/>
              <a:gd name="T18" fmla="*/ 2147483647 w 189"/>
              <a:gd name="T19" fmla="*/ 2147483647 h 145"/>
              <a:gd name="T20" fmla="*/ 2147483647 w 189"/>
              <a:gd name="T21" fmla="*/ 0 h 145"/>
              <a:gd name="T22" fmla="*/ 2147483647 w 189"/>
              <a:gd name="T23" fmla="*/ 2147483647 h 145"/>
              <a:gd name="T24" fmla="*/ 2147483647 w 189"/>
              <a:gd name="T25" fmla="*/ 2147483647 h 145"/>
              <a:gd name="T26" fmla="*/ 2147483647 w 189"/>
              <a:gd name="T27" fmla="*/ 2147483647 h 145"/>
              <a:gd name="T28" fmla="*/ 2147483647 w 189"/>
              <a:gd name="T29" fmla="*/ 2147483647 h 145"/>
              <a:gd name="T30" fmla="*/ 2147483647 w 189"/>
              <a:gd name="T31" fmla="*/ 2147483647 h 145"/>
              <a:gd name="T32" fmla="*/ 2147483647 w 189"/>
              <a:gd name="T33" fmla="*/ 2147483647 h 145"/>
              <a:gd name="T34" fmla="*/ 2147483647 w 189"/>
              <a:gd name="T35" fmla="*/ 2147483647 h 145"/>
              <a:gd name="T36" fmla="*/ 2147483647 w 189"/>
              <a:gd name="T37" fmla="*/ 2147483647 h 145"/>
              <a:gd name="T38" fmla="*/ 2147483647 w 189"/>
              <a:gd name="T39" fmla="*/ 2147483647 h 145"/>
              <a:gd name="T40" fmla="*/ 2147483647 w 189"/>
              <a:gd name="T41" fmla="*/ 2147483647 h 145"/>
              <a:gd name="T42" fmla="*/ 2147483647 w 189"/>
              <a:gd name="T43" fmla="*/ 2147483647 h 145"/>
              <a:gd name="T44" fmla="*/ 2147483647 w 189"/>
              <a:gd name="T45" fmla="*/ 2147483647 h 145"/>
              <a:gd name="T46" fmla="*/ 0 w 189"/>
              <a:gd name="T47" fmla="*/ 2147483647 h 14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89"/>
              <a:gd name="T73" fmla="*/ 0 h 145"/>
              <a:gd name="T74" fmla="*/ 189 w 189"/>
              <a:gd name="T75" fmla="*/ 145 h 14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89" h="145">
                <a:moveTo>
                  <a:pt x="0" y="136"/>
                </a:moveTo>
                <a:lnTo>
                  <a:pt x="32" y="107"/>
                </a:lnTo>
                <a:lnTo>
                  <a:pt x="79" y="107"/>
                </a:lnTo>
                <a:lnTo>
                  <a:pt x="99" y="77"/>
                </a:lnTo>
                <a:lnTo>
                  <a:pt x="108" y="73"/>
                </a:lnTo>
                <a:lnTo>
                  <a:pt x="109" y="86"/>
                </a:lnTo>
                <a:lnTo>
                  <a:pt x="129" y="73"/>
                </a:lnTo>
                <a:lnTo>
                  <a:pt x="150" y="48"/>
                </a:lnTo>
                <a:lnTo>
                  <a:pt x="157" y="8"/>
                </a:lnTo>
                <a:lnTo>
                  <a:pt x="171" y="10"/>
                </a:lnTo>
                <a:lnTo>
                  <a:pt x="167" y="0"/>
                </a:lnTo>
                <a:lnTo>
                  <a:pt x="176" y="1"/>
                </a:lnTo>
                <a:lnTo>
                  <a:pt x="188" y="36"/>
                </a:lnTo>
                <a:lnTo>
                  <a:pt x="171" y="60"/>
                </a:lnTo>
                <a:lnTo>
                  <a:pt x="171" y="82"/>
                </a:lnTo>
                <a:lnTo>
                  <a:pt x="160" y="115"/>
                </a:lnTo>
                <a:lnTo>
                  <a:pt x="151" y="120"/>
                </a:lnTo>
                <a:lnTo>
                  <a:pt x="151" y="106"/>
                </a:lnTo>
                <a:lnTo>
                  <a:pt x="122" y="125"/>
                </a:lnTo>
                <a:lnTo>
                  <a:pt x="99" y="117"/>
                </a:lnTo>
                <a:lnTo>
                  <a:pt x="99" y="131"/>
                </a:lnTo>
                <a:lnTo>
                  <a:pt x="80" y="144"/>
                </a:lnTo>
                <a:lnTo>
                  <a:pt x="75" y="123"/>
                </a:lnTo>
                <a:lnTo>
                  <a:pt x="0" y="13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9" name="Freeform 121"/>
          <p:cNvSpPr>
            <a:spLocks/>
          </p:cNvSpPr>
          <p:nvPr/>
        </p:nvSpPr>
        <p:spPr bwMode="auto">
          <a:xfrm>
            <a:off x="7296150" y="3625850"/>
            <a:ext cx="58738" cy="41275"/>
          </a:xfrm>
          <a:custGeom>
            <a:avLst/>
            <a:gdLst>
              <a:gd name="T0" fmla="*/ 0 w 43"/>
              <a:gd name="T1" fmla="*/ 2147483647 h 28"/>
              <a:gd name="T2" fmla="*/ 2147483647 w 43"/>
              <a:gd name="T3" fmla="*/ 2147483647 h 28"/>
              <a:gd name="T4" fmla="*/ 2147483647 w 43"/>
              <a:gd name="T5" fmla="*/ 2147483647 h 28"/>
              <a:gd name="T6" fmla="*/ 2147483647 w 43"/>
              <a:gd name="T7" fmla="*/ 0 h 28"/>
              <a:gd name="T8" fmla="*/ 0 w 43"/>
              <a:gd name="T9" fmla="*/ 2147483647 h 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"/>
              <a:gd name="T16" fmla="*/ 0 h 28"/>
              <a:gd name="T17" fmla="*/ 43 w 43"/>
              <a:gd name="T18" fmla="*/ 28 h 2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" h="28">
                <a:moveTo>
                  <a:pt x="0" y="15"/>
                </a:moveTo>
                <a:lnTo>
                  <a:pt x="15" y="27"/>
                </a:lnTo>
                <a:lnTo>
                  <a:pt x="37" y="16"/>
                </a:lnTo>
                <a:lnTo>
                  <a:pt x="42" y="0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0" name="Freeform 122"/>
          <p:cNvSpPr>
            <a:spLocks/>
          </p:cNvSpPr>
          <p:nvPr/>
        </p:nvSpPr>
        <p:spPr bwMode="auto">
          <a:xfrm>
            <a:off x="7473950" y="3321050"/>
            <a:ext cx="139700" cy="115888"/>
          </a:xfrm>
          <a:custGeom>
            <a:avLst/>
            <a:gdLst>
              <a:gd name="T0" fmla="*/ 0 w 101"/>
              <a:gd name="T1" fmla="*/ 2147483647 h 79"/>
              <a:gd name="T2" fmla="*/ 2147483647 w 101"/>
              <a:gd name="T3" fmla="*/ 2147483647 h 79"/>
              <a:gd name="T4" fmla="*/ 2147483647 w 101"/>
              <a:gd name="T5" fmla="*/ 2147483647 h 79"/>
              <a:gd name="T6" fmla="*/ 2147483647 w 101"/>
              <a:gd name="T7" fmla="*/ 2147483647 h 79"/>
              <a:gd name="T8" fmla="*/ 2147483647 w 101"/>
              <a:gd name="T9" fmla="*/ 2147483647 h 79"/>
              <a:gd name="T10" fmla="*/ 2147483647 w 101"/>
              <a:gd name="T11" fmla="*/ 2147483647 h 79"/>
              <a:gd name="T12" fmla="*/ 2147483647 w 101"/>
              <a:gd name="T13" fmla="*/ 2147483647 h 79"/>
              <a:gd name="T14" fmla="*/ 2147483647 w 101"/>
              <a:gd name="T15" fmla="*/ 2147483647 h 79"/>
              <a:gd name="T16" fmla="*/ 2147483647 w 101"/>
              <a:gd name="T17" fmla="*/ 2147483647 h 79"/>
              <a:gd name="T18" fmla="*/ 2147483647 w 101"/>
              <a:gd name="T19" fmla="*/ 2147483647 h 79"/>
              <a:gd name="T20" fmla="*/ 2147483647 w 101"/>
              <a:gd name="T21" fmla="*/ 0 h 79"/>
              <a:gd name="T22" fmla="*/ 2147483647 w 101"/>
              <a:gd name="T23" fmla="*/ 2147483647 h 79"/>
              <a:gd name="T24" fmla="*/ 2147483647 w 101"/>
              <a:gd name="T25" fmla="*/ 2147483647 h 79"/>
              <a:gd name="T26" fmla="*/ 0 w 101"/>
              <a:gd name="T27" fmla="*/ 2147483647 h 7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01"/>
              <a:gd name="T43" fmla="*/ 0 h 79"/>
              <a:gd name="T44" fmla="*/ 101 w 101"/>
              <a:gd name="T45" fmla="*/ 79 h 7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01" h="79">
                <a:moveTo>
                  <a:pt x="0" y="57"/>
                </a:moveTo>
                <a:lnTo>
                  <a:pt x="3" y="78"/>
                </a:lnTo>
                <a:lnTo>
                  <a:pt x="23" y="71"/>
                </a:lnTo>
                <a:lnTo>
                  <a:pt x="9" y="58"/>
                </a:lnTo>
                <a:lnTo>
                  <a:pt x="58" y="69"/>
                </a:lnTo>
                <a:lnTo>
                  <a:pt x="68" y="50"/>
                </a:lnTo>
                <a:lnTo>
                  <a:pt x="100" y="43"/>
                </a:lnTo>
                <a:lnTo>
                  <a:pt x="89" y="34"/>
                </a:lnTo>
                <a:lnTo>
                  <a:pt x="92" y="24"/>
                </a:lnTo>
                <a:lnTo>
                  <a:pt x="66" y="26"/>
                </a:lnTo>
                <a:lnTo>
                  <a:pt x="35" y="0"/>
                </a:lnTo>
                <a:lnTo>
                  <a:pt x="24" y="43"/>
                </a:lnTo>
                <a:lnTo>
                  <a:pt x="9" y="43"/>
                </a:lnTo>
                <a:lnTo>
                  <a:pt x="0" y="5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1" name="Freeform 123"/>
          <p:cNvSpPr>
            <a:spLocks/>
          </p:cNvSpPr>
          <p:nvPr/>
        </p:nvSpPr>
        <p:spPr bwMode="auto">
          <a:xfrm>
            <a:off x="5041900" y="3649663"/>
            <a:ext cx="101600" cy="106362"/>
          </a:xfrm>
          <a:custGeom>
            <a:avLst/>
            <a:gdLst>
              <a:gd name="T0" fmla="*/ 0 w 74"/>
              <a:gd name="T1" fmla="*/ 2147483647 h 72"/>
              <a:gd name="T2" fmla="*/ 2147483647 w 74"/>
              <a:gd name="T3" fmla="*/ 2147483647 h 72"/>
              <a:gd name="T4" fmla="*/ 2147483647 w 74"/>
              <a:gd name="T5" fmla="*/ 2147483647 h 72"/>
              <a:gd name="T6" fmla="*/ 2147483647 w 74"/>
              <a:gd name="T7" fmla="*/ 2147483647 h 72"/>
              <a:gd name="T8" fmla="*/ 2147483647 w 74"/>
              <a:gd name="T9" fmla="*/ 0 h 72"/>
              <a:gd name="T10" fmla="*/ 2147483647 w 74"/>
              <a:gd name="T11" fmla="*/ 2147483647 h 72"/>
              <a:gd name="T12" fmla="*/ 2147483647 w 74"/>
              <a:gd name="T13" fmla="*/ 2147483647 h 72"/>
              <a:gd name="T14" fmla="*/ 2147483647 w 74"/>
              <a:gd name="T15" fmla="*/ 2147483647 h 72"/>
              <a:gd name="T16" fmla="*/ 2147483647 w 74"/>
              <a:gd name="T17" fmla="*/ 2147483647 h 72"/>
              <a:gd name="T18" fmla="*/ 2147483647 w 74"/>
              <a:gd name="T19" fmla="*/ 2147483647 h 72"/>
              <a:gd name="T20" fmla="*/ 2147483647 w 74"/>
              <a:gd name="T21" fmla="*/ 2147483647 h 72"/>
              <a:gd name="T22" fmla="*/ 2147483647 w 74"/>
              <a:gd name="T23" fmla="*/ 2147483647 h 72"/>
              <a:gd name="T24" fmla="*/ 0 w 74"/>
              <a:gd name="T25" fmla="*/ 2147483647 h 7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4"/>
              <a:gd name="T40" fmla="*/ 0 h 72"/>
              <a:gd name="T41" fmla="*/ 74 w 74"/>
              <a:gd name="T42" fmla="*/ 72 h 7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4" h="72">
                <a:moveTo>
                  <a:pt x="0" y="36"/>
                </a:moveTo>
                <a:lnTo>
                  <a:pt x="1" y="19"/>
                </a:lnTo>
                <a:lnTo>
                  <a:pt x="11" y="11"/>
                </a:lnTo>
                <a:lnTo>
                  <a:pt x="30" y="18"/>
                </a:lnTo>
                <a:lnTo>
                  <a:pt x="64" y="0"/>
                </a:lnTo>
                <a:lnTo>
                  <a:pt x="73" y="19"/>
                </a:lnTo>
                <a:lnTo>
                  <a:pt x="35" y="31"/>
                </a:lnTo>
                <a:lnTo>
                  <a:pt x="53" y="47"/>
                </a:lnTo>
                <a:lnTo>
                  <a:pt x="45" y="57"/>
                </a:lnTo>
                <a:lnTo>
                  <a:pt x="21" y="71"/>
                </a:lnTo>
                <a:lnTo>
                  <a:pt x="1" y="68"/>
                </a:lnTo>
                <a:lnTo>
                  <a:pt x="10" y="32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2" name="Freeform 124"/>
          <p:cNvSpPr>
            <a:spLocks/>
          </p:cNvSpPr>
          <p:nvPr/>
        </p:nvSpPr>
        <p:spPr bwMode="auto">
          <a:xfrm>
            <a:off x="5027613" y="4338638"/>
            <a:ext cx="184150" cy="214312"/>
          </a:xfrm>
          <a:custGeom>
            <a:avLst/>
            <a:gdLst>
              <a:gd name="T0" fmla="*/ 0 w 134"/>
              <a:gd name="T1" fmla="*/ 2147483647 h 146"/>
              <a:gd name="T2" fmla="*/ 2147483647 w 134"/>
              <a:gd name="T3" fmla="*/ 2147483647 h 146"/>
              <a:gd name="T4" fmla="*/ 0 w 134"/>
              <a:gd name="T5" fmla="*/ 2147483647 h 146"/>
              <a:gd name="T6" fmla="*/ 2147483647 w 134"/>
              <a:gd name="T7" fmla="*/ 2147483647 h 146"/>
              <a:gd name="T8" fmla="*/ 2147483647 w 134"/>
              <a:gd name="T9" fmla="*/ 2147483647 h 146"/>
              <a:gd name="T10" fmla="*/ 2147483647 w 134"/>
              <a:gd name="T11" fmla="*/ 2147483647 h 146"/>
              <a:gd name="T12" fmla="*/ 2147483647 w 134"/>
              <a:gd name="T13" fmla="*/ 2147483647 h 146"/>
              <a:gd name="T14" fmla="*/ 2147483647 w 134"/>
              <a:gd name="T15" fmla="*/ 2147483647 h 146"/>
              <a:gd name="T16" fmla="*/ 2147483647 w 134"/>
              <a:gd name="T17" fmla="*/ 2147483647 h 146"/>
              <a:gd name="T18" fmla="*/ 2147483647 w 134"/>
              <a:gd name="T19" fmla="*/ 2147483647 h 146"/>
              <a:gd name="T20" fmla="*/ 2147483647 w 134"/>
              <a:gd name="T21" fmla="*/ 2147483647 h 146"/>
              <a:gd name="T22" fmla="*/ 2147483647 w 134"/>
              <a:gd name="T23" fmla="*/ 0 h 146"/>
              <a:gd name="T24" fmla="*/ 0 w 134"/>
              <a:gd name="T25" fmla="*/ 2147483647 h 14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4"/>
              <a:gd name="T40" fmla="*/ 0 h 146"/>
              <a:gd name="T41" fmla="*/ 134 w 134"/>
              <a:gd name="T42" fmla="*/ 146 h 14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4" h="146">
                <a:moveTo>
                  <a:pt x="0" y="9"/>
                </a:moveTo>
                <a:lnTo>
                  <a:pt x="16" y="39"/>
                </a:lnTo>
                <a:lnTo>
                  <a:pt x="0" y="68"/>
                </a:lnTo>
                <a:lnTo>
                  <a:pt x="14" y="77"/>
                </a:lnTo>
                <a:lnTo>
                  <a:pt x="4" y="87"/>
                </a:lnTo>
                <a:lnTo>
                  <a:pt x="91" y="145"/>
                </a:lnTo>
                <a:lnTo>
                  <a:pt x="127" y="99"/>
                </a:lnTo>
                <a:lnTo>
                  <a:pt x="118" y="86"/>
                </a:lnTo>
                <a:lnTo>
                  <a:pt x="118" y="28"/>
                </a:lnTo>
                <a:lnTo>
                  <a:pt x="133" y="10"/>
                </a:lnTo>
                <a:lnTo>
                  <a:pt x="83" y="17"/>
                </a:lnTo>
                <a:lnTo>
                  <a:pt x="30" y="0"/>
                </a:lnTo>
                <a:lnTo>
                  <a:pt x="0" y="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3" name="Freeform 125"/>
          <p:cNvSpPr>
            <a:spLocks/>
          </p:cNvSpPr>
          <p:nvPr/>
        </p:nvSpPr>
        <p:spPr bwMode="auto">
          <a:xfrm>
            <a:off x="7115175" y="3394075"/>
            <a:ext cx="147638" cy="142875"/>
          </a:xfrm>
          <a:custGeom>
            <a:avLst/>
            <a:gdLst>
              <a:gd name="T0" fmla="*/ 0 w 108"/>
              <a:gd name="T1" fmla="*/ 2147483647 h 98"/>
              <a:gd name="T2" fmla="*/ 2147483647 w 108"/>
              <a:gd name="T3" fmla="*/ 2147483647 h 98"/>
              <a:gd name="T4" fmla="*/ 2147483647 w 108"/>
              <a:gd name="T5" fmla="*/ 2147483647 h 98"/>
              <a:gd name="T6" fmla="*/ 2147483647 w 108"/>
              <a:gd name="T7" fmla="*/ 2147483647 h 98"/>
              <a:gd name="T8" fmla="*/ 2147483647 w 108"/>
              <a:gd name="T9" fmla="*/ 2147483647 h 98"/>
              <a:gd name="T10" fmla="*/ 2147483647 w 108"/>
              <a:gd name="T11" fmla="*/ 2147483647 h 98"/>
              <a:gd name="T12" fmla="*/ 2147483647 w 108"/>
              <a:gd name="T13" fmla="*/ 2147483647 h 98"/>
              <a:gd name="T14" fmla="*/ 2147483647 w 108"/>
              <a:gd name="T15" fmla="*/ 2147483647 h 98"/>
              <a:gd name="T16" fmla="*/ 2147483647 w 108"/>
              <a:gd name="T17" fmla="*/ 2147483647 h 98"/>
              <a:gd name="T18" fmla="*/ 2147483647 w 108"/>
              <a:gd name="T19" fmla="*/ 0 h 98"/>
              <a:gd name="T20" fmla="*/ 2147483647 w 108"/>
              <a:gd name="T21" fmla="*/ 2147483647 h 98"/>
              <a:gd name="T22" fmla="*/ 2147483647 w 108"/>
              <a:gd name="T23" fmla="*/ 2147483647 h 98"/>
              <a:gd name="T24" fmla="*/ 2147483647 w 108"/>
              <a:gd name="T25" fmla="*/ 2147483647 h 98"/>
              <a:gd name="T26" fmla="*/ 0 w 108"/>
              <a:gd name="T27" fmla="*/ 2147483647 h 9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08"/>
              <a:gd name="T43" fmla="*/ 0 h 98"/>
              <a:gd name="T44" fmla="*/ 108 w 108"/>
              <a:gd name="T45" fmla="*/ 98 h 9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08" h="98">
                <a:moveTo>
                  <a:pt x="0" y="55"/>
                </a:moveTo>
                <a:lnTo>
                  <a:pt x="19" y="64"/>
                </a:lnTo>
                <a:lnTo>
                  <a:pt x="7" y="90"/>
                </a:lnTo>
                <a:lnTo>
                  <a:pt x="37" y="97"/>
                </a:lnTo>
                <a:lnTo>
                  <a:pt x="68" y="82"/>
                </a:lnTo>
                <a:lnTo>
                  <a:pt x="54" y="58"/>
                </a:lnTo>
                <a:lnTo>
                  <a:pt x="91" y="38"/>
                </a:lnTo>
                <a:lnTo>
                  <a:pt x="107" y="9"/>
                </a:lnTo>
                <a:lnTo>
                  <a:pt x="105" y="7"/>
                </a:lnTo>
                <a:lnTo>
                  <a:pt x="98" y="0"/>
                </a:lnTo>
                <a:lnTo>
                  <a:pt x="66" y="18"/>
                </a:lnTo>
                <a:lnTo>
                  <a:pt x="66" y="29"/>
                </a:lnTo>
                <a:lnTo>
                  <a:pt x="44" y="27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4" name="Freeform 126"/>
          <p:cNvSpPr>
            <a:spLocks/>
          </p:cNvSpPr>
          <p:nvPr/>
        </p:nvSpPr>
        <p:spPr bwMode="auto">
          <a:xfrm>
            <a:off x="7158038" y="3514725"/>
            <a:ext cx="80962" cy="111125"/>
          </a:xfrm>
          <a:custGeom>
            <a:avLst/>
            <a:gdLst>
              <a:gd name="T0" fmla="*/ 0 w 58"/>
              <a:gd name="T1" fmla="*/ 2147483647 h 75"/>
              <a:gd name="T2" fmla="*/ 2147483647 w 58"/>
              <a:gd name="T3" fmla="*/ 2147483647 h 75"/>
              <a:gd name="T4" fmla="*/ 2147483647 w 58"/>
              <a:gd name="T5" fmla="*/ 0 h 75"/>
              <a:gd name="T6" fmla="*/ 2147483647 w 58"/>
              <a:gd name="T7" fmla="*/ 2147483647 h 75"/>
              <a:gd name="T8" fmla="*/ 2147483647 w 58"/>
              <a:gd name="T9" fmla="*/ 2147483647 h 75"/>
              <a:gd name="T10" fmla="*/ 0 w 58"/>
              <a:gd name="T11" fmla="*/ 2147483647 h 7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8"/>
              <a:gd name="T19" fmla="*/ 0 h 75"/>
              <a:gd name="T20" fmla="*/ 58 w 58"/>
              <a:gd name="T21" fmla="*/ 75 h 7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8" h="75">
                <a:moveTo>
                  <a:pt x="0" y="74"/>
                </a:moveTo>
                <a:lnTo>
                  <a:pt x="5" y="15"/>
                </a:lnTo>
                <a:lnTo>
                  <a:pt x="37" y="0"/>
                </a:lnTo>
                <a:lnTo>
                  <a:pt x="57" y="44"/>
                </a:lnTo>
                <a:lnTo>
                  <a:pt x="37" y="67"/>
                </a:lnTo>
                <a:lnTo>
                  <a:pt x="0" y="7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5" name="Freeform 127"/>
          <p:cNvSpPr>
            <a:spLocks/>
          </p:cNvSpPr>
          <p:nvPr/>
        </p:nvSpPr>
        <p:spPr bwMode="auto">
          <a:xfrm>
            <a:off x="5316538" y="3733800"/>
            <a:ext cx="46037" cy="38100"/>
          </a:xfrm>
          <a:custGeom>
            <a:avLst/>
            <a:gdLst>
              <a:gd name="T0" fmla="*/ 0 w 33"/>
              <a:gd name="T1" fmla="*/ 2147483647 h 26"/>
              <a:gd name="T2" fmla="*/ 2147483647 w 33"/>
              <a:gd name="T3" fmla="*/ 0 h 26"/>
              <a:gd name="T4" fmla="*/ 2147483647 w 33"/>
              <a:gd name="T5" fmla="*/ 2147483647 h 26"/>
              <a:gd name="T6" fmla="*/ 0 w 33"/>
              <a:gd name="T7" fmla="*/ 2147483647 h 26"/>
              <a:gd name="T8" fmla="*/ 0 60000 65536"/>
              <a:gd name="T9" fmla="*/ 0 60000 65536"/>
              <a:gd name="T10" fmla="*/ 0 60000 65536"/>
              <a:gd name="T11" fmla="*/ 0 60000 65536"/>
              <a:gd name="T12" fmla="*/ 0 w 33"/>
              <a:gd name="T13" fmla="*/ 0 h 26"/>
              <a:gd name="T14" fmla="*/ 33 w 33"/>
              <a:gd name="T15" fmla="*/ 26 h 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3" h="26">
                <a:moveTo>
                  <a:pt x="0" y="15"/>
                </a:moveTo>
                <a:lnTo>
                  <a:pt x="27" y="0"/>
                </a:lnTo>
                <a:lnTo>
                  <a:pt x="32" y="25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6" name="Freeform 128"/>
          <p:cNvSpPr>
            <a:spLocks/>
          </p:cNvSpPr>
          <p:nvPr/>
        </p:nvSpPr>
        <p:spPr bwMode="auto">
          <a:xfrm>
            <a:off x="6556375" y="3919538"/>
            <a:ext cx="169863" cy="195262"/>
          </a:xfrm>
          <a:custGeom>
            <a:avLst/>
            <a:gdLst>
              <a:gd name="T0" fmla="*/ 0 w 123"/>
              <a:gd name="T1" fmla="*/ 2147483647 h 134"/>
              <a:gd name="T2" fmla="*/ 2147483647 w 123"/>
              <a:gd name="T3" fmla="*/ 2147483647 h 134"/>
              <a:gd name="T4" fmla="*/ 2147483647 w 123"/>
              <a:gd name="T5" fmla="*/ 2147483647 h 134"/>
              <a:gd name="T6" fmla="*/ 2147483647 w 123"/>
              <a:gd name="T7" fmla="*/ 2147483647 h 134"/>
              <a:gd name="T8" fmla="*/ 2147483647 w 123"/>
              <a:gd name="T9" fmla="*/ 2147483647 h 134"/>
              <a:gd name="T10" fmla="*/ 2147483647 w 123"/>
              <a:gd name="T11" fmla="*/ 2147483647 h 134"/>
              <a:gd name="T12" fmla="*/ 2147483647 w 123"/>
              <a:gd name="T13" fmla="*/ 2147483647 h 134"/>
              <a:gd name="T14" fmla="*/ 2147483647 w 123"/>
              <a:gd name="T15" fmla="*/ 2147483647 h 134"/>
              <a:gd name="T16" fmla="*/ 2147483647 w 123"/>
              <a:gd name="T17" fmla="*/ 2147483647 h 134"/>
              <a:gd name="T18" fmla="*/ 2147483647 w 123"/>
              <a:gd name="T19" fmla="*/ 2147483647 h 134"/>
              <a:gd name="T20" fmla="*/ 2147483647 w 123"/>
              <a:gd name="T21" fmla="*/ 2147483647 h 134"/>
              <a:gd name="T22" fmla="*/ 2147483647 w 123"/>
              <a:gd name="T23" fmla="*/ 2147483647 h 134"/>
              <a:gd name="T24" fmla="*/ 2147483647 w 123"/>
              <a:gd name="T25" fmla="*/ 0 h 134"/>
              <a:gd name="T26" fmla="*/ 2147483647 w 123"/>
              <a:gd name="T27" fmla="*/ 2147483647 h 134"/>
              <a:gd name="T28" fmla="*/ 2147483647 w 123"/>
              <a:gd name="T29" fmla="*/ 2147483647 h 134"/>
              <a:gd name="T30" fmla="*/ 2147483647 w 123"/>
              <a:gd name="T31" fmla="*/ 2147483647 h 134"/>
              <a:gd name="T32" fmla="*/ 0 w 123"/>
              <a:gd name="T33" fmla="*/ 2147483647 h 13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3"/>
              <a:gd name="T52" fmla="*/ 0 h 134"/>
              <a:gd name="T53" fmla="*/ 123 w 123"/>
              <a:gd name="T54" fmla="*/ 134 h 13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3" h="134">
                <a:moveTo>
                  <a:pt x="0" y="29"/>
                </a:moveTo>
                <a:lnTo>
                  <a:pt x="17" y="47"/>
                </a:lnTo>
                <a:lnTo>
                  <a:pt x="14" y="80"/>
                </a:lnTo>
                <a:lnTo>
                  <a:pt x="57" y="66"/>
                </a:lnTo>
                <a:lnTo>
                  <a:pt x="73" y="80"/>
                </a:lnTo>
                <a:lnTo>
                  <a:pt x="89" y="111"/>
                </a:lnTo>
                <a:lnTo>
                  <a:pt x="85" y="133"/>
                </a:lnTo>
                <a:lnTo>
                  <a:pt x="122" y="126"/>
                </a:lnTo>
                <a:lnTo>
                  <a:pt x="104" y="83"/>
                </a:lnTo>
                <a:lnTo>
                  <a:pt x="63" y="51"/>
                </a:lnTo>
                <a:lnTo>
                  <a:pt x="74" y="36"/>
                </a:lnTo>
                <a:lnTo>
                  <a:pt x="51" y="25"/>
                </a:lnTo>
                <a:lnTo>
                  <a:pt x="32" y="0"/>
                </a:lnTo>
                <a:lnTo>
                  <a:pt x="25" y="1"/>
                </a:lnTo>
                <a:lnTo>
                  <a:pt x="26" y="19"/>
                </a:lnTo>
                <a:lnTo>
                  <a:pt x="17" y="13"/>
                </a:lnTo>
                <a:lnTo>
                  <a:pt x="0" y="2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7" name="Freeform 129"/>
          <p:cNvSpPr>
            <a:spLocks/>
          </p:cNvSpPr>
          <p:nvPr/>
        </p:nvSpPr>
        <p:spPr bwMode="auto">
          <a:xfrm>
            <a:off x="5049838" y="3613150"/>
            <a:ext cx="41275" cy="42863"/>
          </a:xfrm>
          <a:custGeom>
            <a:avLst/>
            <a:gdLst>
              <a:gd name="T0" fmla="*/ 0 w 30"/>
              <a:gd name="T1" fmla="*/ 2147483647 h 29"/>
              <a:gd name="T2" fmla="*/ 2147483647 w 30"/>
              <a:gd name="T3" fmla="*/ 2147483647 h 29"/>
              <a:gd name="T4" fmla="*/ 2147483647 w 30"/>
              <a:gd name="T5" fmla="*/ 2147483647 h 29"/>
              <a:gd name="T6" fmla="*/ 2147483647 w 30"/>
              <a:gd name="T7" fmla="*/ 0 h 29"/>
              <a:gd name="T8" fmla="*/ 0 w 30"/>
              <a:gd name="T9" fmla="*/ 2147483647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"/>
              <a:gd name="T16" fmla="*/ 0 h 29"/>
              <a:gd name="T17" fmla="*/ 30 w 30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" h="29">
                <a:moveTo>
                  <a:pt x="0" y="28"/>
                </a:moveTo>
                <a:lnTo>
                  <a:pt x="10" y="26"/>
                </a:lnTo>
                <a:lnTo>
                  <a:pt x="29" y="7"/>
                </a:lnTo>
                <a:lnTo>
                  <a:pt x="16" y="0"/>
                </a:lnTo>
                <a:lnTo>
                  <a:pt x="0" y="2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8" name="Freeform 130"/>
          <p:cNvSpPr>
            <a:spLocks/>
          </p:cNvSpPr>
          <p:nvPr/>
        </p:nvSpPr>
        <p:spPr bwMode="auto">
          <a:xfrm>
            <a:off x="3973513" y="4249738"/>
            <a:ext cx="93662" cy="93662"/>
          </a:xfrm>
          <a:custGeom>
            <a:avLst/>
            <a:gdLst>
              <a:gd name="T0" fmla="*/ 0 w 68"/>
              <a:gd name="T1" fmla="*/ 2147483647 h 64"/>
              <a:gd name="T2" fmla="*/ 2147483647 w 68"/>
              <a:gd name="T3" fmla="*/ 0 h 64"/>
              <a:gd name="T4" fmla="*/ 2147483647 w 68"/>
              <a:gd name="T5" fmla="*/ 2147483647 h 64"/>
              <a:gd name="T6" fmla="*/ 2147483647 w 68"/>
              <a:gd name="T7" fmla="*/ 2147483647 h 64"/>
              <a:gd name="T8" fmla="*/ 2147483647 w 68"/>
              <a:gd name="T9" fmla="*/ 2147483647 h 64"/>
              <a:gd name="T10" fmla="*/ 2147483647 w 68"/>
              <a:gd name="T11" fmla="*/ 2147483647 h 64"/>
              <a:gd name="T12" fmla="*/ 2147483647 w 68"/>
              <a:gd name="T13" fmla="*/ 2147483647 h 64"/>
              <a:gd name="T14" fmla="*/ 2147483647 w 68"/>
              <a:gd name="T15" fmla="*/ 2147483647 h 64"/>
              <a:gd name="T16" fmla="*/ 0 w 68"/>
              <a:gd name="T17" fmla="*/ 2147483647 h 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8"/>
              <a:gd name="T28" fmla="*/ 0 h 64"/>
              <a:gd name="T29" fmla="*/ 68 w 68"/>
              <a:gd name="T30" fmla="*/ 64 h 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8" h="64">
                <a:moveTo>
                  <a:pt x="0" y="23"/>
                </a:moveTo>
                <a:lnTo>
                  <a:pt x="19" y="0"/>
                </a:lnTo>
                <a:lnTo>
                  <a:pt x="33" y="2"/>
                </a:lnTo>
                <a:lnTo>
                  <a:pt x="34" y="18"/>
                </a:lnTo>
                <a:lnTo>
                  <a:pt x="50" y="14"/>
                </a:lnTo>
                <a:lnTo>
                  <a:pt x="49" y="30"/>
                </a:lnTo>
                <a:lnTo>
                  <a:pt x="67" y="40"/>
                </a:lnTo>
                <a:lnTo>
                  <a:pt x="66" y="63"/>
                </a:lnTo>
                <a:lnTo>
                  <a:pt x="0" y="2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39" name="Freeform 131"/>
          <p:cNvSpPr>
            <a:spLocks/>
          </p:cNvSpPr>
          <p:nvPr/>
        </p:nvSpPr>
        <p:spPr bwMode="auto">
          <a:xfrm>
            <a:off x="4454525" y="3654425"/>
            <a:ext cx="365125" cy="339725"/>
          </a:xfrm>
          <a:custGeom>
            <a:avLst/>
            <a:gdLst>
              <a:gd name="T0" fmla="*/ 0 w 265"/>
              <a:gd name="T1" fmla="*/ 2147483647 h 232"/>
              <a:gd name="T2" fmla="*/ 0 w 265"/>
              <a:gd name="T3" fmla="*/ 2147483647 h 232"/>
              <a:gd name="T4" fmla="*/ 2147483647 w 265"/>
              <a:gd name="T5" fmla="*/ 0 h 232"/>
              <a:gd name="T6" fmla="*/ 2147483647 w 265"/>
              <a:gd name="T7" fmla="*/ 2147483647 h 232"/>
              <a:gd name="T8" fmla="*/ 2147483647 w 265"/>
              <a:gd name="T9" fmla="*/ 2147483647 h 232"/>
              <a:gd name="T10" fmla="*/ 2147483647 w 265"/>
              <a:gd name="T11" fmla="*/ 2147483647 h 232"/>
              <a:gd name="T12" fmla="*/ 2147483647 w 265"/>
              <a:gd name="T13" fmla="*/ 2147483647 h 232"/>
              <a:gd name="T14" fmla="*/ 2147483647 w 265"/>
              <a:gd name="T15" fmla="*/ 2147483647 h 232"/>
              <a:gd name="T16" fmla="*/ 2147483647 w 265"/>
              <a:gd name="T17" fmla="*/ 2147483647 h 232"/>
              <a:gd name="T18" fmla="*/ 2147483647 w 265"/>
              <a:gd name="T19" fmla="*/ 2147483647 h 232"/>
              <a:gd name="T20" fmla="*/ 2147483647 w 265"/>
              <a:gd name="T21" fmla="*/ 2147483647 h 232"/>
              <a:gd name="T22" fmla="*/ 2147483647 w 265"/>
              <a:gd name="T23" fmla="*/ 2147483647 h 232"/>
              <a:gd name="T24" fmla="*/ 2147483647 w 265"/>
              <a:gd name="T25" fmla="*/ 2147483647 h 232"/>
              <a:gd name="T26" fmla="*/ 2147483647 w 265"/>
              <a:gd name="T27" fmla="*/ 2147483647 h 232"/>
              <a:gd name="T28" fmla="*/ 2147483647 w 265"/>
              <a:gd name="T29" fmla="*/ 2147483647 h 232"/>
              <a:gd name="T30" fmla="*/ 2147483647 w 265"/>
              <a:gd name="T31" fmla="*/ 2147483647 h 232"/>
              <a:gd name="T32" fmla="*/ 2147483647 w 265"/>
              <a:gd name="T33" fmla="*/ 2147483647 h 232"/>
              <a:gd name="T34" fmla="*/ 2147483647 w 265"/>
              <a:gd name="T35" fmla="*/ 2147483647 h 232"/>
              <a:gd name="T36" fmla="*/ 0 w 265"/>
              <a:gd name="T37" fmla="*/ 2147483647 h 23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65"/>
              <a:gd name="T58" fmla="*/ 0 h 232"/>
              <a:gd name="T59" fmla="*/ 265 w 265"/>
              <a:gd name="T60" fmla="*/ 232 h 23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65" h="232">
                <a:moveTo>
                  <a:pt x="0" y="120"/>
                </a:moveTo>
                <a:lnTo>
                  <a:pt x="0" y="50"/>
                </a:lnTo>
                <a:lnTo>
                  <a:pt x="33" y="0"/>
                </a:lnTo>
                <a:lnTo>
                  <a:pt x="97" y="14"/>
                </a:lnTo>
                <a:lnTo>
                  <a:pt x="107" y="33"/>
                </a:lnTo>
                <a:lnTo>
                  <a:pt x="159" y="50"/>
                </a:lnTo>
                <a:lnTo>
                  <a:pt x="175" y="43"/>
                </a:lnTo>
                <a:lnTo>
                  <a:pt x="177" y="19"/>
                </a:lnTo>
                <a:lnTo>
                  <a:pt x="193" y="7"/>
                </a:lnTo>
                <a:lnTo>
                  <a:pt x="264" y="27"/>
                </a:lnTo>
                <a:lnTo>
                  <a:pt x="255" y="53"/>
                </a:lnTo>
                <a:lnTo>
                  <a:pt x="264" y="189"/>
                </a:lnTo>
                <a:lnTo>
                  <a:pt x="264" y="219"/>
                </a:lnTo>
                <a:lnTo>
                  <a:pt x="249" y="221"/>
                </a:lnTo>
                <a:lnTo>
                  <a:pt x="249" y="231"/>
                </a:lnTo>
                <a:lnTo>
                  <a:pt x="113" y="166"/>
                </a:lnTo>
                <a:lnTo>
                  <a:pt x="95" y="173"/>
                </a:lnTo>
                <a:lnTo>
                  <a:pt x="40" y="164"/>
                </a:lnTo>
                <a:lnTo>
                  <a:pt x="0" y="12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0" name="Freeform 132"/>
          <p:cNvSpPr>
            <a:spLocks/>
          </p:cNvSpPr>
          <p:nvPr/>
        </p:nvSpPr>
        <p:spPr bwMode="auto">
          <a:xfrm>
            <a:off x="4373563" y="3184525"/>
            <a:ext cx="11112" cy="17463"/>
          </a:xfrm>
          <a:custGeom>
            <a:avLst/>
            <a:gdLst>
              <a:gd name="T0" fmla="*/ 0 w 8"/>
              <a:gd name="T1" fmla="*/ 2147483647 h 12"/>
              <a:gd name="T2" fmla="*/ 2147483647 w 8"/>
              <a:gd name="T3" fmla="*/ 0 h 12"/>
              <a:gd name="T4" fmla="*/ 2147483647 w 8"/>
              <a:gd name="T5" fmla="*/ 2147483647 h 12"/>
              <a:gd name="T6" fmla="*/ 0 w 8"/>
              <a:gd name="T7" fmla="*/ 2147483647 h 12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12"/>
              <a:gd name="T14" fmla="*/ 8 w 8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12">
                <a:moveTo>
                  <a:pt x="0" y="10"/>
                </a:moveTo>
                <a:lnTo>
                  <a:pt x="4" y="0"/>
                </a:lnTo>
                <a:lnTo>
                  <a:pt x="7" y="11"/>
                </a:lnTo>
                <a:lnTo>
                  <a:pt x="0" y="1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1" name="Freeform 133"/>
          <p:cNvSpPr>
            <a:spLocks/>
          </p:cNvSpPr>
          <p:nvPr/>
        </p:nvSpPr>
        <p:spPr bwMode="auto">
          <a:xfrm>
            <a:off x="5237163" y="4725988"/>
            <a:ext cx="165100" cy="322262"/>
          </a:xfrm>
          <a:custGeom>
            <a:avLst/>
            <a:gdLst>
              <a:gd name="T0" fmla="*/ 0 w 120"/>
              <a:gd name="T1" fmla="*/ 2147483647 h 220"/>
              <a:gd name="T2" fmla="*/ 2147483647 w 120"/>
              <a:gd name="T3" fmla="*/ 2147483647 h 220"/>
              <a:gd name="T4" fmla="*/ 2147483647 w 120"/>
              <a:gd name="T5" fmla="*/ 2147483647 h 220"/>
              <a:gd name="T6" fmla="*/ 2147483647 w 120"/>
              <a:gd name="T7" fmla="*/ 2147483647 h 220"/>
              <a:gd name="T8" fmla="*/ 2147483647 w 120"/>
              <a:gd name="T9" fmla="*/ 2147483647 h 220"/>
              <a:gd name="T10" fmla="*/ 2147483647 w 120"/>
              <a:gd name="T11" fmla="*/ 2147483647 h 220"/>
              <a:gd name="T12" fmla="*/ 2147483647 w 120"/>
              <a:gd name="T13" fmla="*/ 0 h 220"/>
              <a:gd name="T14" fmla="*/ 2147483647 w 120"/>
              <a:gd name="T15" fmla="*/ 2147483647 h 220"/>
              <a:gd name="T16" fmla="*/ 2147483647 w 120"/>
              <a:gd name="T17" fmla="*/ 2147483647 h 220"/>
              <a:gd name="T18" fmla="*/ 2147483647 w 120"/>
              <a:gd name="T19" fmla="*/ 2147483647 h 220"/>
              <a:gd name="T20" fmla="*/ 2147483647 w 120"/>
              <a:gd name="T21" fmla="*/ 2147483647 h 220"/>
              <a:gd name="T22" fmla="*/ 2147483647 w 120"/>
              <a:gd name="T23" fmla="*/ 2147483647 h 220"/>
              <a:gd name="T24" fmla="*/ 2147483647 w 120"/>
              <a:gd name="T25" fmla="*/ 2147483647 h 220"/>
              <a:gd name="T26" fmla="*/ 0 w 120"/>
              <a:gd name="T27" fmla="*/ 2147483647 h 22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0"/>
              <a:gd name="T43" fmla="*/ 0 h 220"/>
              <a:gd name="T44" fmla="*/ 120 w 120"/>
              <a:gd name="T45" fmla="*/ 220 h 22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0" h="220">
                <a:moveTo>
                  <a:pt x="0" y="155"/>
                </a:moveTo>
                <a:lnTo>
                  <a:pt x="10" y="200"/>
                </a:lnTo>
                <a:lnTo>
                  <a:pt x="32" y="219"/>
                </a:lnTo>
                <a:lnTo>
                  <a:pt x="69" y="200"/>
                </a:lnTo>
                <a:lnTo>
                  <a:pt x="110" y="52"/>
                </a:lnTo>
                <a:lnTo>
                  <a:pt x="119" y="57"/>
                </a:lnTo>
                <a:lnTo>
                  <a:pt x="100" y="0"/>
                </a:lnTo>
                <a:lnTo>
                  <a:pt x="77" y="23"/>
                </a:lnTo>
                <a:lnTo>
                  <a:pt x="79" y="39"/>
                </a:lnTo>
                <a:lnTo>
                  <a:pt x="53" y="57"/>
                </a:lnTo>
                <a:lnTo>
                  <a:pt x="20" y="65"/>
                </a:lnTo>
                <a:lnTo>
                  <a:pt x="12" y="86"/>
                </a:lnTo>
                <a:lnTo>
                  <a:pt x="21" y="123"/>
                </a:lnTo>
                <a:lnTo>
                  <a:pt x="0" y="15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2" name="Freeform 134"/>
          <p:cNvSpPr>
            <a:spLocks/>
          </p:cNvSpPr>
          <p:nvPr/>
        </p:nvSpPr>
        <p:spPr bwMode="auto">
          <a:xfrm>
            <a:off x="4995863" y="4660900"/>
            <a:ext cx="74612" cy="180975"/>
          </a:xfrm>
          <a:custGeom>
            <a:avLst/>
            <a:gdLst>
              <a:gd name="T0" fmla="*/ 0 w 55"/>
              <a:gd name="T1" fmla="*/ 2147483647 h 124"/>
              <a:gd name="T2" fmla="*/ 2147483647 w 55"/>
              <a:gd name="T3" fmla="*/ 2147483647 h 124"/>
              <a:gd name="T4" fmla="*/ 2147483647 w 55"/>
              <a:gd name="T5" fmla="*/ 2147483647 h 124"/>
              <a:gd name="T6" fmla="*/ 2147483647 w 55"/>
              <a:gd name="T7" fmla="*/ 2147483647 h 124"/>
              <a:gd name="T8" fmla="*/ 2147483647 w 55"/>
              <a:gd name="T9" fmla="*/ 2147483647 h 124"/>
              <a:gd name="T10" fmla="*/ 2147483647 w 55"/>
              <a:gd name="T11" fmla="*/ 2147483647 h 124"/>
              <a:gd name="T12" fmla="*/ 2147483647 w 55"/>
              <a:gd name="T13" fmla="*/ 2147483647 h 124"/>
              <a:gd name="T14" fmla="*/ 2147483647 w 55"/>
              <a:gd name="T15" fmla="*/ 2147483647 h 124"/>
              <a:gd name="T16" fmla="*/ 2147483647 w 55"/>
              <a:gd name="T17" fmla="*/ 2147483647 h 124"/>
              <a:gd name="T18" fmla="*/ 2147483647 w 55"/>
              <a:gd name="T19" fmla="*/ 2147483647 h 124"/>
              <a:gd name="T20" fmla="*/ 2147483647 w 55"/>
              <a:gd name="T21" fmla="*/ 2147483647 h 124"/>
              <a:gd name="T22" fmla="*/ 2147483647 w 55"/>
              <a:gd name="T23" fmla="*/ 0 h 124"/>
              <a:gd name="T24" fmla="*/ 2147483647 w 55"/>
              <a:gd name="T25" fmla="*/ 2147483647 h 124"/>
              <a:gd name="T26" fmla="*/ 0 w 55"/>
              <a:gd name="T27" fmla="*/ 2147483647 h 12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5"/>
              <a:gd name="T43" fmla="*/ 0 h 124"/>
              <a:gd name="T44" fmla="*/ 55 w 55"/>
              <a:gd name="T45" fmla="*/ 124 h 12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5" h="124">
                <a:moveTo>
                  <a:pt x="0" y="68"/>
                </a:moveTo>
                <a:lnTo>
                  <a:pt x="7" y="74"/>
                </a:lnTo>
                <a:lnTo>
                  <a:pt x="29" y="82"/>
                </a:lnTo>
                <a:lnTo>
                  <a:pt x="27" y="103"/>
                </a:lnTo>
                <a:lnTo>
                  <a:pt x="44" y="123"/>
                </a:lnTo>
                <a:lnTo>
                  <a:pt x="54" y="89"/>
                </a:lnTo>
                <a:lnTo>
                  <a:pt x="36" y="66"/>
                </a:lnTo>
                <a:lnTo>
                  <a:pt x="42" y="79"/>
                </a:lnTo>
                <a:lnTo>
                  <a:pt x="32" y="78"/>
                </a:lnTo>
                <a:lnTo>
                  <a:pt x="22" y="47"/>
                </a:lnTo>
                <a:lnTo>
                  <a:pt x="20" y="6"/>
                </a:lnTo>
                <a:lnTo>
                  <a:pt x="5" y="0"/>
                </a:lnTo>
                <a:lnTo>
                  <a:pt x="17" y="21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3" name="Freeform 135"/>
          <p:cNvSpPr>
            <a:spLocks/>
          </p:cNvSpPr>
          <p:nvPr/>
        </p:nvSpPr>
        <p:spPr bwMode="auto">
          <a:xfrm>
            <a:off x="3959225" y="3857625"/>
            <a:ext cx="376238" cy="350838"/>
          </a:xfrm>
          <a:custGeom>
            <a:avLst/>
            <a:gdLst>
              <a:gd name="T0" fmla="*/ 0 w 274"/>
              <a:gd name="T1" fmla="*/ 2147483647 h 240"/>
              <a:gd name="T2" fmla="*/ 2147483647 w 274"/>
              <a:gd name="T3" fmla="*/ 2147483647 h 240"/>
              <a:gd name="T4" fmla="*/ 2147483647 w 274"/>
              <a:gd name="T5" fmla="*/ 2147483647 h 240"/>
              <a:gd name="T6" fmla="*/ 2147483647 w 274"/>
              <a:gd name="T7" fmla="*/ 2147483647 h 240"/>
              <a:gd name="T8" fmla="*/ 2147483647 w 274"/>
              <a:gd name="T9" fmla="*/ 0 h 240"/>
              <a:gd name="T10" fmla="*/ 2147483647 w 274"/>
              <a:gd name="T11" fmla="*/ 0 h 240"/>
              <a:gd name="T12" fmla="*/ 2147483647 w 274"/>
              <a:gd name="T13" fmla="*/ 2147483647 h 240"/>
              <a:gd name="T14" fmla="*/ 2147483647 w 274"/>
              <a:gd name="T15" fmla="*/ 2147483647 h 240"/>
              <a:gd name="T16" fmla="*/ 2147483647 w 274"/>
              <a:gd name="T17" fmla="*/ 2147483647 h 240"/>
              <a:gd name="T18" fmla="*/ 2147483647 w 274"/>
              <a:gd name="T19" fmla="*/ 2147483647 h 240"/>
              <a:gd name="T20" fmla="*/ 2147483647 w 274"/>
              <a:gd name="T21" fmla="*/ 2147483647 h 240"/>
              <a:gd name="T22" fmla="*/ 2147483647 w 274"/>
              <a:gd name="T23" fmla="*/ 2147483647 h 240"/>
              <a:gd name="T24" fmla="*/ 2147483647 w 274"/>
              <a:gd name="T25" fmla="*/ 2147483647 h 240"/>
              <a:gd name="T26" fmla="*/ 2147483647 w 274"/>
              <a:gd name="T27" fmla="*/ 2147483647 h 240"/>
              <a:gd name="T28" fmla="*/ 2147483647 w 274"/>
              <a:gd name="T29" fmla="*/ 2147483647 h 240"/>
              <a:gd name="T30" fmla="*/ 2147483647 w 274"/>
              <a:gd name="T31" fmla="*/ 2147483647 h 240"/>
              <a:gd name="T32" fmla="*/ 2147483647 w 274"/>
              <a:gd name="T33" fmla="*/ 2147483647 h 240"/>
              <a:gd name="T34" fmla="*/ 2147483647 w 274"/>
              <a:gd name="T35" fmla="*/ 2147483647 h 240"/>
              <a:gd name="T36" fmla="*/ 2147483647 w 274"/>
              <a:gd name="T37" fmla="*/ 2147483647 h 240"/>
              <a:gd name="T38" fmla="*/ 0 w 274"/>
              <a:gd name="T39" fmla="*/ 2147483647 h 24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74"/>
              <a:gd name="T61" fmla="*/ 0 h 240"/>
              <a:gd name="T62" fmla="*/ 274 w 274"/>
              <a:gd name="T63" fmla="*/ 240 h 24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74" h="240">
                <a:moveTo>
                  <a:pt x="0" y="167"/>
                </a:moveTo>
                <a:lnTo>
                  <a:pt x="12" y="150"/>
                </a:lnTo>
                <a:lnTo>
                  <a:pt x="26" y="160"/>
                </a:lnTo>
                <a:lnTo>
                  <a:pt x="112" y="155"/>
                </a:lnTo>
                <a:lnTo>
                  <a:pt x="93" y="0"/>
                </a:lnTo>
                <a:lnTo>
                  <a:pt x="122" y="0"/>
                </a:lnTo>
                <a:lnTo>
                  <a:pt x="257" y="85"/>
                </a:lnTo>
                <a:lnTo>
                  <a:pt x="258" y="99"/>
                </a:lnTo>
                <a:lnTo>
                  <a:pt x="273" y="96"/>
                </a:lnTo>
                <a:lnTo>
                  <a:pt x="273" y="146"/>
                </a:lnTo>
                <a:lnTo>
                  <a:pt x="262" y="158"/>
                </a:lnTo>
                <a:lnTo>
                  <a:pt x="208" y="164"/>
                </a:lnTo>
                <a:lnTo>
                  <a:pt x="138" y="193"/>
                </a:lnTo>
                <a:lnTo>
                  <a:pt x="116" y="237"/>
                </a:lnTo>
                <a:lnTo>
                  <a:pt x="100" y="232"/>
                </a:lnTo>
                <a:lnTo>
                  <a:pt x="70" y="239"/>
                </a:lnTo>
                <a:lnTo>
                  <a:pt x="52" y="203"/>
                </a:lnTo>
                <a:lnTo>
                  <a:pt x="26" y="211"/>
                </a:lnTo>
                <a:lnTo>
                  <a:pt x="14" y="204"/>
                </a:lnTo>
                <a:lnTo>
                  <a:pt x="0" y="16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4" name="Freeform 136"/>
          <p:cNvSpPr>
            <a:spLocks/>
          </p:cNvSpPr>
          <p:nvPr/>
        </p:nvSpPr>
        <p:spPr bwMode="auto">
          <a:xfrm>
            <a:off x="3849688" y="3802063"/>
            <a:ext cx="279400" cy="301625"/>
          </a:xfrm>
          <a:custGeom>
            <a:avLst/>
            <a:gdLst>
              <a:gd name="T0" fmla="*/ 0 w 203"/>
              <a:gd name="T1" fmla="*/ 2147483647 h 206"/>
              <a:gd name="T2" fmla="*/ 2147483647 w 203"/>
              <a:gd name="T3" fmla="*/ 2147483647 h 206"/>
              <a:gd name="T4" fmla="*/ 2147483647 w 203"/>
              <a:gd name="T5" fmla="*/ 2147483647 h 206"/>
              <a:gd name="T6" fmla="*/ 2147483647 w 203"/>
              <a:gd name="T7" fmla="*/ 2147483647 h 206"/>
              <a:gd name="T8" fmla="*/ 2147483647 w 203"/>
              <a:gd name="T9" fmla="*/ 2147483647 h 206"/>
              <a:gd name="T10" fmla="*/ 2147483647 w 203"/>
              <a:gd name="T11" fmla="*/ 2147483647 h 206"/>
              <a:gd name="T12" fmla="*/ 2147483647 w 203"/>
              <a:gd name="T13" fmla="*/ 2147483647 h 206"/>
              <a:gd name="T14" fmla="*/ 2147483647 w 203"/>
              <a:gd name="T15" fmla="*/ 2147483647 h 206"/>
              <a:gd name="T16" fmla="*/ 2147483647 w 203"/>
              <a:gd name="T17" fmla="*/ 2147483647 h 206"/>
              <a:gd name="T18" fmla="*/ 2147483647 w 203"/>
              <a:gd name="T19" fmla="*/ 2147483647 h 206"/>
              <a:gd name="T20" fmla="*/ 2147483647 w 203"/>
              <a:gd name="T21" fmla="*/ 2147483647 h 206"/>
              <a:gd name="T22" fmla="*/ 2147483647 w 203"/>
              <a:gd name="T23" fmla="*/ 0 h 206"/>
              <a:gd name="T24" fmla="*/ 2147483647 w 203"/>
              <a:gd name="T25" fmla="*/ 2147483647 h 206"/>
              <a:gd name="T26" fmla="*/ 2147483647 w 203"/>
              <a:gd name="T27" fmla="*/ 2147483647 h 206"/>
              <a:gd name="T28" fmla="*/ 2147483647 w 203"/>
              <a:gd name="T29" fmla="*/ 2147483647 h 206"/>
              <a:gd name="T30" fmla="*/ 2147483647 w 203"/>
              <a:gd name="T31" fmla="*/ 2147483647 h 206"/>
              <a:gd name="T32" fmla="*/ 2147483647 w 203"/>
              <a:gd name="T33" fmla="*/ 2147483647 h 206"/>
              <a:gd name="T34" fmla="*/ 0 w 203"/>
              <a:gd name="T35" fmla="*/ 2147483647 h 20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03"/>
              <a:gd name="T55" fmla="*/ 0 h 206"/>
              <a:gd name="T56" fmla="*/ 203 w 203"/>
              <a:gd name="T57" fmla="*/ 206 h 20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03" h="206">
                <a:moveTo>
                  <a:pt x="0" y="103"/>
                </a:moveTo>
                <a:lnTo>
                  <a:pt x="12" y="116"/>
                </a:lnTo>
                <a:lnTo>
                  <a:pt x="16" y="145"/>
                </a:lnTo>
                <a:lnTo>
                  <a:pt x="6" y="183"/>
                </a:lnTo>
                <a:lnTo>
                  <a:pt x="42" y="174"/>
                </a:lnTo>
                <a:lnTo>
                  <a:pt x="80" y="205"/>
                </a:lnTo>
                <a:lnTo>
                  <a:pt x="92" y="188"/>
                </a:lnTo>
                <a:lnTo>
                  <a:pt x="106" y="198"/>
                </a:lnTo>
                <a:lnTo>
                  <a:pt x="192" y="193"/>
                </a:lnTo>
                <a:lnTo>
                  <a:pt x="172" y="38"/>
                </a:lnTo>
                <a:lnTo>
                  <a:pt x="202" y="38"/>
                </a:lnTo>
                <a:lnTo>
                  <a:pt x="140" y="0"/>
                </a:lnTo>
                <a:lnTo>
                  <a:pt x="140" y="21"/>
                </a:lnTo>
                <a:lnTo>
                  <a:pt x="86" y="20"/>
                </a:lnTo>
                <a:lnTo>
                  <a:pt x="85" y="63"/>
                </a:lnTo>
                <a:lnTo>
                  <a:pt x="67" y="72"/>
                </a:lnTo>
                <a:lnTo>
                  <a:pt x="67" y="97"/>
                </a:lnTo>
                <a:lnTo>
                  <a:pt x="0" y="10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5" name="Freeform 137"/>
          <p:cNvSpPr>
            <a:spLocks/>
          </p:cNvSpPr>
          <p:nvPr/>
        </p:nvSpPr>
        <p:spPr bwMode="auto">
          <a:xfrm>
            <a:off x="1530350" y="3667125"/>
            <a:ext cx="703263" cy="439738"/>
          </a:xfrm>
          <a:custGeom>
            <a:avLst/>
            <a:gdLst>
              <a:gd name="T0" fmla="*/ 0 w 511"/>
              <a:gd name="T1" fmla="*/ 2147483647 h 300"/>
              <a:gd name="T2" fmla="*/ 2147483647 w 511"/>
              <a:gd name="T3" fmla="*/ 2147483647 h 300"/>
              <a:gd name="T4" fmla="*/ 2147483647 w 511"/>
              <a:gd name="T5" fmla="*/ 2147483647 h 300"/>
              <a:gd name="T6" fmla="*/ 2147483647 w 511"/>
              <a:gd name="T7" fmla="*/ 2147483647 h 300"/>
              <a:gd name="T8" fmla="*/ 2147483647 w 511"/>
              <a:gd name="T9" fmla="*/ 2147483647 h 300"/>
              <a:gd name="T10" fmla="*/ 2147483647 w 511"/>
              <a:gd name="T11" fmla="*/ 2147483647 h 300"/>
              <a:gd name="T12" fmla="*/ 2147483647 w 511"/>
              <a:gd name="T13" fmla="*/ 2147483647 h 300"/>
              <a:gd name="T14" fmla="*/ 2147483647 w 511"/>
              <a:gd name="T15" fmla="*/ 2147483647 h 300"/>
              <a:gd name="T16" fmla="*/ 2147483647 w 511"/>
              <a:gd name="T17" fmla="*/ 2147483647 h 300"/>
              <a:gd name="T18" fmla="*/ 2147483647 w 511"/>
              <a:gd name="T19" fmla="*/ 2147483647 h 300"/>
              <a:gd name="T20" fmla="*/ 2147483647 w 511"/>
              <a:gd name="T21" fmla="*/ 2147483647 h 300"/>
              <a:gd name="T22" fmla="*/ 2147483647 w 511"/>
              <a:gd name="T23" fmla="*/ 2147483647 h 300"/>
              <a:gd name="T24" fmla="*/ 2147483647 w 511"/>
              <a:gd name="T25" fmla="*/ 2147483647 h 300"/>
              <a:gd name="T26" fmla="*/ 2147483647 w 511"/>
              <a:gd name="T27" fmla="*/ 2147483647 h 300"/>
              <a:gd name="T28" fmla="*/ 2147483647 w 511"/>
              <a:gd name="T29" fmla="*/ 2147483647 h 300"/>
              <a:gd name="T30" fmla="*/ 2147483647 w 511"/>
              <a:gd name="T31" fmla="*/ 2147483647 h 300"/>
              <a:gd name="T32" fmla="*/ 2147483647 w 511"/>
              <a:gd name="T33" fmla="*/ 2147483647 h 300"/>
              <a:gd name="T34" fmla="*/ 2147483647 w 511"/>
              <a:gd name="T35" fmla="*/ 2147483647 h 300"/>
              <a:gd name="T36" fmla="*/ 2147483647 w 511"/>
              <a:gd name="T37" fmla="*/ 2147483647 h 300"/>
              <a:gd name="T38" fmla="*/ 2147483647 w 511"/>
              <a:gd name="T39" fmla="*/ 2147483647 h 300"/>
              <a:gd name="T40" fmla="*/ 2147483647 w 511"/>
              <a:gd name="T41" fmla="*/ 2147483647 h 300"/>
              <a:gd name="T42" fmla="*/ 2147483647 w 511"/>
              <a:gd name="T43" fmla="*/ 2147483647 h 300"/>
              <a:gd name="T44" fmla="*/ 2147483647 w 511"/>
              <a:gd name="T45" fmla="*/ 2147483647 h 300"/>
              <a:gd name="T46" fmla="*/ 2147483647 w 511"/>
              <a:gd name="T47" fmla="*/ 2147483647 h 300"/>
              <a:gd name="T48" fmla="*/ 2147483647 w 511"/>
              <a:gd name="T49" fmla="*/ 2147483647 h 300"/>
              <a:gd name="T50" fmla="*/ 2147483647 w 511"/>
              <a:gd name="T51" fmla="*/ 2147483647 h 300"/>
              <a:gd name="T52" fmla="*/ 2147483647 w 511"/>
              <a:gd name="T53" fmla="*/ 2147483647 h 300"/>
              <a:gd name="T54" fmla="*/ 2147483647 w 511"/>
              <a:gd name="T55" fmla="*/ 2147483647 h 300"/>
              <a:gd name="T56" fmla="*/ 2147483647 w 511"/>
              <a:gd name="T57" fmla="*/ 2147483647 h 300"/>
              <a:gd name="T58" fmla="*/ 2147483647 w 511"/>
              <a:gd name="T59" fmla="*/ 2147483647 h 300"/>
              <a:gd name="T60" fmla="*/ 2147483647 w 511"/>
              <a:gd name="T61" fmla="*/ 2147483647 h 300"/>
              <a:gd name="T62" fmla="*/ 2147483647 w 511"/>
              <a:gd name="T63" fmla="*/ 2147483647 h 300"/>
              <a:gd name="T64" fmla="*/ 2147483647 w 511"/>
              <a:gd name="T65" fmla="*/ 2147483647 h 300"/>
              <a:gd name="T66" fmla="*/ 2147483647 w 511"/>
              <a:gd name="T67" fmla="*/ 2147483647 h 300"/>
              <a:gd name="T68" fmla="*/ 2147483647 w 511"/>
              <a:gd name="T69" fmla="*/ 2147483647 h 300"/>
              <a:gd name="T70" fmla="*/ 2147483647 w 511"/>
              <a:gd name="T71" fmla="*/ 2147483647 h 300"/>
              <a:gd name="T72" fmla="*/ 2147483647 w 511"/>
              <a:gd name="T73" fmla="*/ 2147483647 h 300"/>
              <a:gd name="T74" fmla="*/ 2147483647 w 511"/>
              <a:gd name="T75" fmla="*/ 2147483647 h 300"/>
              <a:gd name="T76" fmla="*/ 2147483647 w 511"/>
              <a:gd name="T77" fmla="*/ 2147483647 h 300"/>
              <a:gd name="T78" fmla="*/ 2147483647 w 511"/>
              <a:gd name="T79" fmla="*/ 2147483647 h 300"/>
              <a:gd name="T80" fmla="*/ 2147483647 w 511"/>
              <a:gd name="T81" fmla="*/ 2147483647 h 300"/>
              <a:gd name="T82" fmla="*/ 2147483647 w 511"/>
              <a:gd name="T83" fmla="*/ 2147483647 h 300"/>
              <a:gd name="T84" fmla="*/ 2147483647 w 511"/>
              <a:gd name="T85" fmla="*/ 2147483647 h 300"/>
              <a:gd name="T86" fmla="*/ 2147483647 w 511"/>
              <a:gd name="T87" fmla="*/ 2147483647 h 300"/>
              <a:gd name="T88" fmla="*/ 2147483647 w 511"/>
              <a:gd name="T89" fmla="*/ 0 h 300"/>
              <a:gd name="T90" fmla="*/ 0 w 511"/>
              <a:gd name="T91" fmla="*/ 2147483647 h 30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511"/>
              <a:gd name="T139" fmla="*/ 0 h 300"/>
              <a:gd name="T140" fmla="*/ 511 w 511"/>
              <a:gd name="T141" fmla="*/ 300 h 30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511" h="300">
                <a:moveTo>
                  <a:pt x="0" y="2"/>
                </a:moveTo>
                <a:lnTo>
                  <a:pt x="26" y="51"/>
                </a:lnTo>
                <a:lnTo>
                  <a:pt x="53" y="72"/>
                </a:lnTo>
                <a:lnTo>
                  <a:pt x="52" y="83"/>
                </a:lnTo>
                <a:lnTo>
                  <a:pt x="37" y="86"/>
                </a:lnTo>
                <a:lnTo>
                  <a:pt x="69" y="99"/>
                </a:lnTo>
                <a:lnTo>
                  <a:pt x="87" y="119"/>
                </a:lnTo>
                <a:lnTo>
                  <a:pt x="84" y="136"/>
                </a:lnTo>
                <a:lnTo>
                  <a:pt x="123" y="166"/>
                </a:lnTo>
                <a:lnTo>
                  <a:pt x="130" y="156"/>
                </a:lnTo>
                <a:lnTo>
                  <a:pt x="45" y="44"/>
                </a:lnTo>
                <a:lnTo>
                  <a:pt x="40" y="13"/>
                </a:lnTo>
                <a:lnTo>
                  <a:pt x="56" y="20"/>
                </a:lnTo>
                <a:lnTo>
                  <a:pt x="89" y="68"/>
                </a:lnTo>
                <a:lnTo>
                  <a:pt x="135" y="108"/>
                </a:lnTo>
                <a:lnTo>
                  <a:pt x="134" y="121"/>
                </a:lnTo>
                <a:lnTo>
                  <a:pt x="194" y="170"/>
                </a:lnTo>
                <a:lnTo>
                  <a:pt x="203" y="192"/>
                </a:lnTo>
                <a:lnTo>
                  <a:pt x="194" y="207"/>
                </a:lnTo>
                <a:lnTo>
                  <a:pt x="210" y="226"/>
                </a:lnTo>
                <a:lnTo>
                  <a:pt x="331" y="279"/>
                </a:lnTo>
                <a:lnTo>
                  <a:pt x="383" y="275"/>
                </a:lnTo>
                <a:lnTo>
                  <a:pt x="418" y="299"/>
                </a:lnTo>
                <a:lnTo>
                  <a:pt x="431" y="276"/>
                </a:lnTo>
                <a:lnTo>
                  <a:pt x="448" y="275"/>
                </a:lnTo>
                <a:lnTo>
                  <a:pt x="431" y="255"/>
                </a:lnTo>
                <a:lnTo>
                  <a:pt x="472" y="247"/>
                </a:lnTo>
                <a:lnTo>
                  <a:pt x="484" y="238"/>
                </a:lnTo>
                <a:lnTo>
                  <a:pt x="489" y="232"/>
                </a:lnTo>
                <a:lnTo>
                  <a:pt x="493" y="243"/>
                </a:lnTo>
                <a:lnTo>
                  <a:pt x="510" y="194"/>
                </a:lnTo>
                <a:lnTo>
                  <a:pt x="488" y="184"/>
                </a:lnTo>
                <a:lnTo>
                  <a:pt x="449" y="194"/>
                </a:lnTo>
                <a:lnTo>
                  <a:pt x="430" y="238"/>
                </a:lnTo>
                <a:lnTo>
                  <a:pt x="381" y="241"/>
                </a:lnTo>
                <a:lnTo>
                  <a:pt x="360" y="231"/>
                </a:lnTo>
                <a:lnTo>
                  <a:pt x="327" y="176"/>
                </a:lnTo>
                <a:lnTo>
                  <a:pt x="326" y="136"/>
                </a:lnTo>
                <a:lnTo>
                  <a:pt x="337" y="115"/>
                </a:lnTo>
                <a:lnTo>
                  <a:pt x="305" y="105"/>
                </a:lnTo>
                <a:lnTo>
                  <a:pt x="262" y="49"/>
                </a:lnTo>
                <a:lnTo>
                  <a:pt x="227" y="61"/>
                </a:lnTo>
                <a:lnTo>
                  <a:pt x="179" y="15"/>
                </a:lnTo>
                <a:lnTo>
                  <a:pt x="104" y="23"/>
                </a:lnTo>
                <a:lnTo>
                  <a:pt x="40" y="0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6" name="Freeform 138"/>
          <p:cNvSpPr>
            <a:spLocks/>
          </p:cNvSpPr>
          <p:nvPr/>
        </p:nvSpPr>
        <p:spPr bwMode="auto">
          <a:xfrm>
            <a:off x="6270625" y="3125788"/>
            <a:ext cx="731838" cy="304800"/>
          </a:xfrm>
          <a:custGeom>
            <a:avLst/>
            <a:gdLst>
              <a:gd name="T0" fmla="*/ 0 w 531"/>
              <a:gd name="T1" fmla="*/ 2147483647 h 209"/>
              <a:gd name="T2" fmla="*/ 2147483647 w 531"/>
              <a:gd name="T3" fmla="*/ 2147483647 h 209"/>
              <a:gd name="T4" fmla="*/ 2147483647 w 531"/>
              <a:gd name="T5" fmla="*/ 2147483647 h 209"/>
              <a:gd name="T6" fmla="*/ 2147483647 w 531"/>
              <a:gd name="T7" fmla="*/ 2147483647 h 209"/>
              <a:gd name="T8" fmla="*/ 2147483647 w 531"/>
              <a:gd name="T9" fmla="*/ 2147483647 h 209"/>
              <a:gd name="T10" fmla="*/ 2147483647 w 531"/>
              <a:gd name="T11" fmla="*/ 2147483647 h 209"/>
              <a:gd name="T12" fmla="*/ 2147483647 w 531"/>
              <a:gd name="T13" fmla="*/ 2147483647 h 209"/>
              <a:gd name="T14" fmla="*/ 2147483647 w 531"/>
              <a:gd name="T15" fmla="*/ 2147483647 h 209"/>
              <a:gd name="T16" fmla="*/ 2147483647 w 531"/>
              <a:gd name="T17" fmla="*/ 2147483647 h 209"/>
              <a:gd name="T18" fmla="*/ 2147483647 w 531"/>
              <a:gd name="T19" fmla="*/ 2147483647 h 209"/>
              <a:gd name="T20" fmla="*/ 2147483647 w 531"/>
              <a:gd name="T21" fmla="*/ 2147483647 h 209"/>
              <a:gd name="T22" fmla="*/ 2147483647 w 531"/>
              <a:gd name="T23" fmla="*/ 2147483647 h 209"/>
              <a:gd name="T24" fmla="*/ 2147483647 w 531"/>
              <a:gd name="T25" fmla="*/ 2147483647 h 209"/>
              <a:gd name="T26" fmla="*/ 2147483647 w 531"/>
              <a:gd name="T27" fmla="*/ 2147483647 h 209"/>
              <a:gd name="T28" fmla="*/ 2147483647 w 531"/>
              <a:gd name="T29" fmla="*/ 2147483647 h 209"/>
              <a:gd name="T30" fmla="*/ 2147483647 w 531"/>
              <a:gd name="T31" fmla="*/ 2147483647 h 209"/>
              <a:gd name="T32" fmla="*/ 2147483647 w 531"/>
              <a:gd name="T33" fmla="*/ 2147483647 h 209"/>
              <a:gd name="T34" fmla="*/ 2147483647 w 531"/>
              <a:gd name="T35" fmla="*/ 2147483647 h 209"/>
              <a:gd name="T36" fmla="*/ 2147483647 w 531"/>
              <a:gd name="T37" fmla="*/ 2147483647 h 209"/>
              <a:gd name="T38" fmla="*/ 2147483647 w 531"/>
              <a:gd name="T39" fmla="*/ 2147483647 h 209"/>
              <a:gd name="T40" fmla="*/ 2147483647 w 531"/>
              <a:gd name="T41" fmla="*/ 2147483647 h 209"/>
              <a:gd name="T42" fmla="*/ 2147483647 w 531"/>
              <a:gd name="T43" fmla="*/ 2147483647 h 209"/>
              <a:gd name="T44" fmla="*/ 2147483647 w 531"/>
              <a:gd name="T45" fmla="*/ 2147483647 h 209"/>
              <a:gd name="T46" fmla="*/ 2147483647 w 531"/>
              <a:gd name="T47" fmla="*/ 0 h 209"/>
              <a:gd name="T48" fmla="*/ 2147483647 w 531"/>
              <a:gd name="T49" fmla="*/ 2147483647 h 209"/>
              <a:gd name="T50" fmla="*/ 2147483647 w 531"/>
              <a:gd name="T51" fmla="*/ 2147483647 h 209"/>
              <a:gd name="T52" fmla="*/ 2147483647 w 531"/>
              <a:gd name="T53" fmla="*/ 2147483647 h 209"/>
              <a:gd name="T54" fmla="*/ 0 w 531"/>
              <a:gd name="T55" fmla="*/ 2147483647 h 20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531"/>
              <a:gd name="T85" fmla="*/ 0 h 209"/>
              <a:gd name="T86" fmla="*/ 531 w 531"/>
              <a:gd name="T87" fmla="*/ 209 h 209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531" h="209">
                <a:moveTo>
                  <a:pt x="0" y="65"/>
                </a:moveTo>
                <a:lnTo>
                  <a:pt x="17" y="86"/>
                </a:lnTo>
                <a:lnTo>
                  <a:pt x="41" y="94"/>
                </a:lnTo>
                <a:lnTo>
                  <a:pt x="51" y="140"/>
                </a:lnTo>
                <a:lnTo>
                  <a:pt x="126" y="156"/>
                </a:lnTo>
                <a:lnTo>
                  <a:pt x="155" y="187"/>
                </a:lnTo>
                <a:lnTo>
                  <a:pt x="217" y="184"/>
                </a:lnTo>
                <a:lnTo>
                  <a:pt x="285" y="208"/>
                </a:lnTo>
                <a:lnTo>
                  <a:pt x="377" y="187"/>
                </a:lnTo>
                <a:lnTo>
                  <a:pt x="404" y="168"/>
                </a:lnTo>
                <a:lnTo>
                  <a:pt x="404" y="143"/>
                </a:lnTo>
                <a:lnTo>
                  <a:pt x="430" y="148"/>
                </a:lnTo>
                <a:lnTo>
                  <a:pt x="486" y="112"/>
                </a:lnTo>
                <a:lnTo>
                  <a:pt x="530" y="111"/>
                </a:lnTo>
                <a:lnTo>
                  <a:pt x="509" y="83"/>
                </a:lnTo>
                <a:lnTo>
                  <a:pt x="467" y="91"/>
                </a:lnTo>
                <a:lnTo>
                  <a:pt x="466" y="60"/>
                </a:lnTo>
                <a:lnTo>
                  <a:pt x="478" y="45"/>
                </a:lnTo>
                <a:lnTo>
                  <a:pt x="446" y="40"/>
                </a:lnTo>
                <a:lnTo>
                  <a:pt x="366" y="59"/>
                </a:lnTo>
                <a:lnTo>
                  <a:pt x="297" y="32"/>
                </a:lnTo>
                <a:lnTo>
                  <a:pt x="254" y="37"/>
                </a:lnTo>
                <a:lnTo>
                  <a:pt x="237" y="14"/>
                </a:lnTo>
                <a:lnTo>
                  <a:pt x="192" y="0"/>
                </a:lnTo>
                <a:lnTo>
                  <a:pt x="168" y="15"/>
                </a:lnTo>
                <a:lnTo>
                  <a:pt x="166" y="45"/>
                </a:lnTo>
                <a:lnTo>
                  <a:pt x="67" y="31"/>
                </a:lnTo>
                <a:lnTo>
                  <a:pt x="0" y="6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7" name="Freeform 139"/>
          <p:cNvSpPr>
            <a:spLocks/>
          </p:cNvSpPr>
          <p:nvPr/>
        </p:nvSpPr>
        <p:spPr bwMode="auto">
          <a:xfrm>
            <a:off x="3940175" y="3587750"/>
            <a:ext cx="274638" cy="204788"/>
          </a:xfrm>
          <a:custGeom>
            <a:avLst/>
            <a:gdLst>
              <a:gd name="T0" fmla="*/ 0 w 200"/>
              <a:gd name="T1" fmla="*/ 2147483647 h 141"/>
              <a:gd name="T2" fmla="*/ 2147483647 w 200"/>
              <a:gd name="T3" fmla="*/ 2147483647 h 141"/>
              <a:gd name="T4" fmla="*/ 2147483647 w 200"/>
              <a:gd name="T5" fmla="*/ 2147483647 h 141"/>
              <a:gd name="T6" fmla="*/ 2147483647 w 200"/>
              <a:gd name="T7" fmla="*/ 2147483647 h 141"/>
              <a:gd name="T8" fmla="*/ 2147483647 w 200"/>
              <a:gd name="T9" fmla="*/ 0 h 141"/>
              <a:gd name="T10" fmla="*/ 2147483647 w 200"/>
              <a:gd name="T11" fmla="*/ 2147483647 h 141"/>
              <a:gd name="T12" fmla="*/ 2147483647 w 200"/>
              <a:gd name="T13" fmla="*/ 2147483647 h 141"/>
              <a:gd name="T14" fmla="*/ 2147483647 w 200"/>
              <a:gd name="T15" fmla="*/ 2147483647 h 141"/>
              <a:gd name="T16" fmla="*/ 2147483647 w 200"/>
              <a:gd name="T17" fmla="*/ 2147483647 h 141"/>
              <a:gd name="T18" fmla="*/ 2147483647 w 200"/>
              <a:gd name="T19" fmla="*/ 2147483647 h 141"/>
              <a:gd name="T20" fmla="*/ 2147483647 w 200"/>
              <a:gd name="T21" fmla="*/ 2147483647 h 141"/>
              <a:gd name="T22" fmla="*/ 2147483647 w 200"/>
              <a:gd name="T23" fmla="*/ 2147483647 h 141"/>
              <a:gd name="T24" fmla="*/ 0 w 200"/>
              <a:gd name="T25" fmla="*/ 2147483647 h 14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0"/>
              <a:gd name="T40" fmla="*/ 0 h 141"/>
              <a:gd name="T41" fmla="*/ 200 w 200"/>
              <a:gd name="T42" fmla="*/ 141 h 14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0" h="141">
                <a:moveTo>
                  <a:pt x="0" y="139"/>
                </a:moveTo>
                <a:lnTo>
                  <a:pt x="48" y="113"/>
                </a:lnTo>
                <a:lnTo>
                  <a:pt x="66" y="56"/>
                </a:lnTo>
                <a:lnTo>
                  <a:pt x="106" y="28"/>
                </a:lnTo>
                <a:lnTo>
                  <a:pt x="120" y="0"/>
                </a:lnTo>
                <a:lnTo>
                  <a:pt x="182" y="11"/>
                </a:lnTo>
                <a:lnTo>
                  <a:pt x="199" y="62"/>
                </a:lnTo>
                <a:lnTo>
                  <a:pt x="171" y="63"/>
                </a:lnTo>
                <a:lnTo>
                  <a:pt x="156" y="70"/>
                </a:lnTo>
                <a:lnTo>
                  <a:pt x="158" y="83"/>
                </a:lnTo>
                <a:lnTo>
                  <a:pt x="82" y="114"/>
                </a:lnTo>
                <a:lnTo>
                  <a:pt x="74" y="140"/>
                </a:lnTo>
                <a:lnTo>
                  <a:pt x="0" y="13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8" name="Freeform 140"/>
          <p:cNvSpPr>
            <a:spLocks/>
          </p:cNvSpPr>
          <p:nvPr/>
        </p:nvSpPr>
        <p:spPr bwMode="auto">
          <a:xfrm>
            <a:off x="4933950" y="4686300"/>
            <a:ext cx="242888" cy="387350"/>
          </a:xfrm>
          <a:custGeom>
            <a:avLst/>
            <a:gdLst>
              <a:gd name="T0" fmla="*/ 0 w 177"/>
              <a:gd name="T1" fmla="*/ 2147483647 h 265"/>
              <a:gd name="T2" fmla="*/ 2147483647 w 177"/>
              <a:gd name="T3" fmla="*/ 2147483647 h 265"/>
              <a:gd name="T4" fmla="*/ 2147483647 w 177"/>
              <a:gd name="T5" fmla="*/ 2147483647 h 265"/>
              <a:gd name="T6" fmla="*/ 2147483647 w 177"/>
              <a:gd name="T7" fmla="*/ 2147483647 h 265"/>
              <a:gd name="T8" fmla="*/ 2147483647 w 177"/>
              <a:gd name="T9" fmla="*/ 2147483647 h 265"/>
              <a:gd name="T10" fmla="*/ 2147483647 w 177"/>
              <a:gd name="T11" fmla="*/ 2147483647 h 265"/>
              <a:gd name="T12" fmla="*/ 2147483647 w 177"/>
              <a:gd name="T13" fmla="*/ 2147483647 h 265"/>
              <a:gd name="T14" fmla="*/ 2147483647 w 177"/>
              <a:gd name="T15" fmla="*/ 2147483647 h 265"/>
              <a:gd name="T16" fmla="*/ 2147483647 w 177"/>
              <a:gd name="T17" fmla="*/ 2147483647 h 265"/>
              <a:gd name="T18" fmla="*/ 2147483647 w 177"/>
              <a:gd name="T19" fmla="*/ 2147483647 h 265"/>
              <a:gd name="T20" fmla="*/ 2147483647 w 177"/>
              <a:gd name="T21" fmla="*/ 2147483647 h 265"/>
              <a:gd name="T22" fmla="*/ 2147483647 w 177"/>
              <a:gd name="T23" fmla="*/ 2147483647 h 265"/>
              <a:gd name="T24" fmla="*/ 2147483647 w 177"/>
              <a:gd name="T25" fmla="*/ 2147483647 h 265"/>
              <a:gd name="T26" fmla="*/ 2147483647 w 177"/>
              <a:gd name="T27" fmla="*/ 0 h 265"/>
              <a:gd name="T28" fmla="*/ 2147483647 w 177"/>
              <a:gd name="T29" fmla="*/ 2147483647 h 265"/>
              <a:gd name="T30" fmla="*/ 2147483647 w 177"/>
              <a:gd name="T31" fmla="*/ 2147483647 h 265"/>
              <a:gd name="T32" fmla="*/ 2147483647 w 177"/>
              <a:gd name="T33" fmla="*/ 2147483647 h 265"/>
              <a:gd name="T34" fmla="*/ 2147483647 w 177"/>
              <a:gd name="T35" fmla="*/ 2147483647 h 265"/>
              <a:gd name="T36" fmla="*/ 2147483647 w 177"/>
              <a:gd name="T37" fmla="*/ 2147483647 h 265"/>
              <a:gd name="T38" fmla="*/ 2147483647 w 177"/>
              <a:gd name="T39" fmla="*/ 2147483647 h 265"/>
              <a:gd name="T40" fmla="*/ 2147483647 w 177"/>
              <a:gd name="T41" fmla="*/ 2147483647 h 265"/>
              <a:gd name="T42" fmla="*/ 2147483647 w 177"/>
              <a:gd name="T43" fmla="*/ 2147483647 h 265"/>
              <a:gd name="T44" fmla="*/ 0 w 177"/>
              <a:gd name="T45" fmla="*/ 2147483647 h 26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77"/>
              <a:gd name="T70" fmla="*/ 0 h 265"/>
              <a:gd name="T71" fmla="*/ 177 w 177"/>
              <a:gd name="T72" fmla="*/ 265 h 26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77" h="265">
                <a:moveTo>
                  <a:pt x="0" y="73"/>
                </a:moveTo>
                <a:lnTo>
                  <a:pt x="5" y="80"/>
                </a:lnTo>
                <a:lnTo>
                  <a:pt x="44" y="94"/>
                </a:lnTo>
                <a:lnTo>
                  <a:pt x="50" y="111"/>
                </a:lnTo>
                <a:lnTo>
                  <a:pt x="48" y="151"/>
                </a:lnTo>
                <a:lnTo>
                  <a:pt x="26" y="196"/>
                </a:lnTo>
                <a:lnTo>
                  <a:pt x="33" y="247"/>
                </a:lnTo>
                <a:lnTo>
                  <a:pt x="33" y="264"/>
                </a:lnTo>
                <a:lnTo>
                  <a:pt x="47" y="264"/>
                </a:lnTo>
                <a:lnTo>
                  <a:pt x="47" y="245"/>
                </a:lnTo>
                <a:lnTo>
                  <a:pt x="90" y="220"/>
                </a:lnTo>
                <a:lnTo>
                  <a:pt x="78" y="151"/>
                </a:lnTo>
                <a:lnTo>
                  <a:pt x="175" y="80"/>
                </a:lnTo>
                <a:lnTo>
                  <a:pt x="176" y="0"/>
                </a:lnTo>
                <a:lnTo>
                  <a:pt x="150" y="13"/>
                </a:lnTo>
                <a:lnTo>
                  <a:pt x="84" y="16"/>
                </a:lnTo>
                <a:lnTo>
                  <a:pt x="81" y="47"/>
                </a:lnTo>
                <a:lnTo>
                  <a:pt x="100" y="71"/>
                </a:lnTo>
                <a:lnTo>
                  <a:pt x="90" y="105"/>
                </a:lnTo>
                <a:lnTo>
                  <a:pt x="73" y="86"/>
                </a:lnTo>
                <a:lnTo>
                  <a:pt x="75" y="64"/>
                </a:lnTo>
                <a:lnTo>
                  <a:pt x="53" y="56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49" name="Freeform 141"/>
          <p:cNvSpPr>
            <a:spLocks/>
          </p:cNvSpPr>
          <p:nvPr/>
        </p:nvSpPr>
        <p:spPr bwMode="auto">
          <a:xfrm>
            <a:off x="5441950" y="3860800"/>
            <a:ext cx="180975" cy="198438"/>
          </a:xfrm>
          <a:custGeom>
            <a:avLst/>
            <a:gdLst>
              <a:gd name="T0" fmla="*/ 0 w 132"/>
              <a:gd name="T1" fmla="*/ 2147483647 h 136"/>
              <a:gd name="T2" fmla="*/ 2147483647 w 132"/>
              <a:gd name="T3" fmla="*/ 2147483647 h 136"/>
              <a:gd name="T4" fmla="*/ 2147483647 w 132"/>
              <a:gd name="T5" fmla="*/ 2147483647 h 136"/>
              <a:gd name="T6" fmla="*/ 2147483647 w 132"/>
              <a:gd name="T7" fmla="*/ 2147483647 h 136"/>
              <a:gd name="T8" fmla="*/ 2147483647 w 132"/>
              <a:gd name="T9" fmla="*/ 2147483647 h 136"/>
              <a:gd name="T10" fmla="*/ 2147483647 w 132"/>
              <a:gd name="T11" fmla="*/ 2147483647 h 136"/>
              <a:gd name="T12" fmla="*/ 2147483647 w 132"/>
              <a:gd name="T13" fmla="*/ 2147483647 h 136"/>
              <a:gd name="T14" fmla="*/ 2147483647 w 132"/>
              <a:gd name="T15" fmla="*/ 2147483647 h 136"/>
              <a:gd name="T16" fmla="*/ 2147483647 w 132"/>
              <a:gd name="T17" fmla="*/ 0 h 136"/>
              <a:gd name="T18" fmla="*/ 2147483647 w 132"/>
              <a:gd name="T19" fmla="*/ 2147483647 h 136"/>
              <a:gd name="T20" fmla="*/ 2147483647 w 132"/>
              <a:gd name="T21" fmla="*/ 2147483647 h 136"/>
              <a:gd name="T22" fmla="*/ 2147483647 w 132"/>
              <a:gd name="T23" fmla="*/ 2147483647 h 136"/>
              <a:gd name="T24" fmla="*/ 2147483647 w 132"/>
              <a:gd name="T25" fmla="*/ 2147483647 h 136"/>
              <a:gd name="T26" fmla="*/ 2147483647 w 132"/>
              <a:gd name="T27" fmla="*/ 2147483647 h 136"/>
              <a:gd name="T28" fmla="*/ 0 w 132"/>
              <a:gd name="T29" fmla="*/ 2147483647 h 1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32"/>
              <a:gd name="T46" fmla="*/ 0 h 136"/>
              <a:gd name="T47" fmla="*/ 132 w 132"/>
              <a:gd name="T48" fmla="*/ 136 h 1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32" h="136">
                <a:moveTo>
                  <a:pt x="0" y="97"/>
                </a:moveTo>
                <a:lnTo>
                  <a:pt x="17" y="135"/>
                </a:lnTo>
                <a:lnTo>
                  <a:pt x="49" y="130"/>
                </a:lnTo>
                <a:lnTo>
                  <a:pt x="96" y="97"/>
                </a:lnTo>
                <a:lnTo>
                  <a:pt x="95" y="80"/>
                </a:lnTo>
                <a:lnTo>
                  <a:pt x="126" y="50"/>
                </a:lnTo>
                <a:lnTo>
                  <a:pt x="131" y="40"/>
                </a:lnTo>
                <a:lnTo>
                  <a:pt x="111" y="22"/>
                </a:lnTo>
                <a:lnTo>
                  <a:pt x="72" y="0"/>
                </a:lnTo>
                <a:lnTo>
                  <a:pt x="62" y="1"/>
                </a:lnTo>
                <a:lnTo>
                  <a:pt x="68" y="13"/>
                </a:lnTo>
                <a:lnTo>
                  <a:pt x="54" y="36"/>
                </a:lnTo>
                <a:lnTo>
                  <a:pt x="62" y="48"/>
                </a:lnTo>
                <a:lnTo>
                  <a:pt x="49" y="80"/>
                </a:lnTo>
                <a:lnTo>
                  <a:pt x="0" y="9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0" name="Freeform 142"/>
          <p:cNvSpPr>
            <a:spLocks/>
          </p:cNvSpPr>
          <p:nvPr/>
        </p:nvSpPr>
        <p:spPr bwMode="auto">
          <a:xfrm>
            <a:off x="6089650" y="3727450"/>
            <a:ext cx="188913" cy="100013"/>
          </a:xfrm>
          <a:custGeom>
            <a:avLst/>
            <a:gdLst>
              <a:gd name="T0" fmla="*/ 0 w 137"/>
              <a:gd name="T1" fmla="*/ 2147483647 h 68"/>
              <a:gd name="T2" fmla="*/ 2147483647 w 137"/>
              <a:gd name="T3" fmla="*/ 0 h 68"/>
              <a:gd name="T4" fmla="*/ 2147483647 w 137"/>
              <a:gd name="T5" fmla="*/ 2147483647 h 68"/>
              <a:gd name="T6" fmla="*/ 2147483647 w 137"/>
              <a:gd name="T7" fmla="*/ 2147483647 h 68"/>
              <a:gd name="T8" fmla="*/ 2147483647 w 137"/>
              <a:gd name="T9" fmla="*/ 2147483647 h 68"/>
              <a:gd name="T10" fmla="*/ 2147483647 w 137"/>
              <a:gd name="T11" fmla="*/ 2147483647 h 68"/>
              <a:gd name="T12" fmla="*/ 2147483647 w 137"/>
              <a:gd name="T13" fmla="*/ 2147483647 h 68"/>
              <a:gd name="T14" fmla="*/ 0 w 137"/>
              <a:gd name="T15" fmla="*/ 2147483647 h 6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7"/>
              <a:gd name="T25" fmla="*/ 0 h 68"/>
              <a:gd name="T26" fmla="*/ 137 w 137"/>
              <a:gd name="T27" fmla="*/ 68 h 6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7" h="68">
                <a:moveTo>
                  <a:pt x="0" y="25"/>
                </a:moveTo>
                <a:lnTo>
                  <a:pt x="17" y="0"/>
                </a:lnTo>
                <a:lnTo>
                  <a:pt x="70" y="16"/>
                </a:lnTo>
                <a:lnTo>
                  <a:pt x="99" y="40"/>
                </a:lnTo>
                <a:lnTo>
                  <a:pt x="136" y="40"/>
                </a:lnTo>
                <a:lnTo>
                  <a:pt x="134" y="67"/>
                </a:lnTo>
                <a:lnTo>
                  <a:pt x="46" y="49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1" name="Freeform 143"/>
          <p:cNvSpPr>
            <a:spLocks/>
          </p:cNvSpPr>
          <p:nvPr/>
        </p:nvSpPr>
        <p:spPr bwMode="auto">
          <a:xfrm>
            <a:off x="4322763" y="3089275"/>
            <a:ext cx="80962" cy="80963"/>
          </a:xfrm>
          <a:custGeom>
            <a:avLst/>
            <a:gdLst>
              <a:gd name="T0" fmla="*/ 0 w 59"/>
              <a:gd name="T1" fmla="*/ 2147483647 h 55"/>
              <a:gd name="T2" fmla="*/ 2147483647 w 59"/>
              <a:gd name="T3" fmla="*/ 2147483647 h 55"/>
              <a:gd name="T4" fmla="*/ 2147483647 w 59"/>
              <a:gd name="T5" fmla="*/ 2147483647 h 55"/>
              <a:gd name="T6" fmla="*/ 2147483647 w 59"/>
              <a:gd name="T7" fmla="*/ 2147483647 h 55"/>
              <a:gd name="T8" fmla="*/ 2147483647 w 59"/>
              <a:gd name="T9" fmla="*/ 2147483647 h 55"/>
              <a:gd name="T10" fmla="*/ 2147483647 w 59"/>
              <a:gd name="T11" fmla="*/ 0 h 55"/>
              <a:gd name="T12" fmla="*/ 2147483647 w 59"/>
              <a:gd name="T13" fmla="*/ 0 h 55"/>
              <a:gd name="T14" fmla="*/ 2147483647 w 59"/>
              <a:gd name="T15" fmla="*/ 2147483647 h 55"/>
              <a:gd name="T16" fmla="*/ 2147483647 w 59"/>
              <a:gd name="T17" fmla="*/ 2147483647 h 55"/>
              <a:gd name="T18" fmla="*/ 2147483647 w 59"/>
              <a:gd name="T19" fmla="*/ 2147483647 h 55"/>
              <a:gd name="T20" fmla="*/ 2147483647 w 59"/>
              <a:gd name="T21" fmla="*/ 2147483647 h 55"/>
              <a:gd name="T22" fmla="*/ 0 w 59"/>
              <a:gd name="T23" fmla="*/ 2147483647 h 5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9"/>
              <a:gd name="T37" fmla="*/ 0 h 55"/>
              <a:gd name="T38" fmla="*/ 59 w 59"/>
              <a:gd name="T39" fmla="*/ 55 h 5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9" h="55">
                <a:moveTo>
                  <a:pt x="0" y="41"/>
                </a:moveTo>
                <a:lnTo>
                  <a:pt x="22" y="33"/>
                </a:lnTo>
                <a:lnTo>
                  <a:pt x="11" y="28"/>
                </a:lnTo>
                <a:lnTo>
                  <a:pt x="22" y="8"/>
                </a:lnTo>
                <a:lnTo>
                  <a:pt x="32" y="20"/>
                </a:lnTo>
                <a:lnTo>
                  <a:pt x="32" y="0"/>
                </a:lnTo>
                <a:lnTo>
                  <a:pt x="58" y="0"/>
                </a:lnTo>
                <a:lnTo>
                  <a:pt x="57" y="20"/>
                </a:lnTo>
                <a:lnTo>
                  <a:pt x="39" y="28"/>
                </a:lnTo>
                <a:lnTo>
                  <a:pt x="39" y="54"/>
                </a:lnTo>
                <a:lnTo>
                  <a:pt x="23" y="39"/>
                </a:lnTo>
                <a:lnTo>
                  <a:pt x="0" y="4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2" name="Freeform 144"/>
          <p:cNvSpPr>
            <a:spLocks/>
          </p:cNvSpPr>
          <p:nvPr/>
        </p:nvSpPr>
        <p:spPr bwMode="auto">
          <a:xfrm>
            <a:off x="8088313" y="5434013"/>
            <a:ext cx="179387" cy="169862"/>
          </a:xfrm>
          <a:custGeom>
            <a:avLst/>
            <a:gdLst>
              <a:gd name="T0" fmla="*/ 0 w 130"/>
              <a:gd name="T1" fmla="*/ 2147483647 h 116"/>
              <a:gd name="T2" fmla="*/ 2147483647 w 130"/>
              <a:gd name="T3" fmla="*/ 2147483647 h 116"/>
              <a:gd name="T4" fmla="*/ 2147483647 w 130"/>
              <a:gd name="T5" fmla="*/ 2147483647 h 116"/>
              <a:gd name="T6" fmla="*/ 2147483647 w 130"/>
              <a:gd name="T7" fmla="*/ 0 h 116"/>
              <a:gd name="T8" fmla="*/ 2147483647 w 130"/>
              <a:gd name="T9" fmla="*/ 2147483647 h 116"/>
              <a:gd name="T10" fmla="*/ 2147483647 w 130"/>
              <a:gd name="T11" fmla="*/ 2147483647 h 116"/>
              <a:gd name="T12" fmla="*/ 2147483647 w 130"/>
              <a:gd name="T13" fmla="*/ 2147483647 h 116"/>
              <a:gd name="T14" fmla="*/ 2147483647 w 130"/>
              <a:gd name="T15" fmla="*/ 2147483647 h 116"/>
              <a:gd name="T16" fmla="*/ 2147483647 w 130"/>
              <a:gd name="T17" fmla="*/ 2147483647 h 116"/>
              <a:gd name="T18" fmla="*/ 2147483647 w 130"/>
              <a:gd name="T19" fmla="*/ 2147483647 h 116"/>
              <a:gd name="T20" fmla="*/ 2147483647 w 130"/>
              <a:gd name="T21" fmla="*/ 2147483647 h 116"/>
              <a:gd name="T22" fmla="*/ 2147483647 w 130"/>
              <a:gd name="T23" fmla="*/ 2147483647 h 116"/>
              <a:gd name="T24" fmla="*/ 0 w 130"/>
              <a:gd name="T25" fmla="*/ 2147483647 h 11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0"/>
              <a:gd name="T40" fmla="*/ 0 h 116"/>
              <a:gd name="T41" fmla="*/ 130 w 130"/>
              <a:gd name="T42" fmla="*/ 116 h 11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0" h="116">
                <a:moveTo>
                  <a:pt x="0" y="101"/>
                </a:moveTo>
                <a:lnTo>
                  <a:pt x="27" y="64"/>
                </a:lnTo>
                <a:lnTo>
                  <a:pt x="74" y="39"/>
                </a:lnTo>
                <a:lnTo>
                  <a:pt x="99" y="0"/>
                </a:lnTo>
                <a:lnTo>
                  <a:pt x="113" y="12"/>
                </a:lnTo>
                <a:lnTo>
                  <a:pt x="128" y="6"/>
                </a:lnTo>
                <a:lnTo>
                  <a:pt x="129" y="19"/>
                </a:lnTo>
                <a:lnTo>
                  <a:pt x="105" y="46"/>
                </a:lnTo>
                <a:lnTo>
                  <a:pt x="112" y="60"/>
                </a:lnTo>
                <a:lnTo>
                  <a:pt x="86" y="64"/>
                </a:lnTo>
                <a:lnTo>
                  <a:pt x="71" y="102"/>
                </a:lnTo>
                <a:lnTo>
                  <a:pt x="42" y="115"/>
                </a:lnTo>
                <a:lnTo>
                  <a:pt x="0" y="10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3" name="Freeform 145"/>
          <p:cNvSpPr>
            <a:spLocks/>
          </p:cNvSpPr>
          <p:nvPr/>
        </p:nvSpPr>
        <p:spPr bwMode="auto">
          <a:xfrm>
            <a:off x="8229600" y="5268913"/>
            <a:ext cx="134938" cy="185737"/>
          </a:xfrm>
          <a:custGeom>
            <a:avLst/>
            <a:gdLst>
              <a:gd name="T0" fmla="*/ 0 w 98"/>
              <a:gd name="T1" fmla="*/ 0 h 127"/>
              <a:gd name="T2" fmla="*/ 2147483647 w 98"/>
              <a:gd name="T3" fmla="*/ 2147483647 h 127"/>
              <a:gd name="T4" fmla="*/ 2147483647 w 98"/>
              <a:gd name="T5" fmla="*/ 2147483647 h 127"/>
              <a:gd name="T6" fmla="*/ 2147483647 w 98"/>
              <a:gd name="T7" fmla="*/ 2147483647 h 127"/>
              <a:gd name="T8" fmla="*/ 2147483647 w 98"/>
              <a:gd name="T9" fmla="*/ 2147483647 h 127"/>
              <a:gd name="T10" fmla="*/ 2147483647 w 98"/>
              <a:gd name="T11" fmla="*/ 2147483647 h 127"/>
              <a:gd name="T12" fmla="*/ 2147483647 w 98"/>
              <a:gd name="T13" fmla="*/ 2147483647 h 127"/>
              <a:gd name="T14" fmla="*/ 2147483647 w 98"/>
              <a:gd name="T15" fmla="*/ 2147483647 h 127"/>
              <a:gd name="T16" fmla="*/ 2147483647 w 98"/>
              <a:gd name="T17" fmla="*/ 2147483647 h 127"/>
              <a:gd name="T18" fmla="*/ 2147483647 w 98"/>
              <a:gd name="T19" fmla="*/ 2147483647 h 127"/>
              <a:gd name="T20" fmla="*/ 2147483647 w 98"/>
              <a:gd name="T21" fmla="*/ 2147483647 h 127"/>
              <a:gd name="T22" fmla="*/ 2147483647 w 98"/>
              <a:gd name="T23" fmla="*/ 2147483647 h 127"/>
              <a:gd name="T24" fmla="*/ 2147483647 w 98"/>
              <a:gd name="T25" fmla="*/ 2147483647 h 127"/>
              <a:gd name="T26" fmla="*/ 2147483647 w 98"/>
              <a:gd name="T27" fmla="*/ 2147483647 h 127"/>
              <a:gd name="T28" fmla="*/ 2147483647 w 98"/>
              <a:gd name="T29" fmla="*/ 2147483647 h 127"/>
              <a:gd name="T30" fmla="*/ 0 w 98"/>
              <a:gd name="T31" fmla="*/ 0 h 12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8"/>
              <a:gd name="T49" fmla="*/ 0 h 127"/>
              <a:gd name="T50" fmla="*/ 98 w 98"/>
              <a:gd name="T51" fmla="*/ 127 h 12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8" h="127">
                <a:moveTo>
                  <a:pt x="0" y="0"/>
                </a:moveTo>
                <a:lnTo>
                  <a:pt x="26" y="14"/>
                </a:lnTo>
                <a:lnTo>
                  <a:pt x="34" y="42"/>
                </a:lnTo>
                <a:lnTo>
                  <a:pt x="47" y="51"/>
                </a:lnTo>
                <a:lnTo>
                  <a:pt x="52" y="40"/>
                </a:lnTo>
                <a:lnTo>
                  <a:pt x="56" y="58"/>
                </a:lnTo>
                <a:lnTo>
                  <a:pt x="97" y="58"/>
                </a:lnTo>
                <a:lnTo>
                  <a:pt x="88" y="85"/>
                </a:lnTo>
                <a:lnTo>
                  <a:pt x="71" y="91"/>
                </a:lnTo>
                <a:lnTo>
                  <a:pt x="54" y="125"/>
                </a:lnTo>
                <a:lnTo>
                  <a:pt x="36" y="126"/>
                </a:lnTo>
                <a:lnTo>
                  <a:pt x="42" y="113"/>
                </a:lnTo>
                <a:lnTo>
                  <a:pt x="20" y="89"/>
                </a:lnTo>
                <a:lnTo>
                  <a:pt x="38" y="67"/>
                </a:lnTo>
                <a:lnTo>
                  <a:pt x="36" y="4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4" name="Freeform 146"/>
          <p:cNvSpPr>
            <a:spLocks/>
          </p:cNvSpPr>
          <p:nvPr/>
        </p:nvSpPr>
        <p:spPr bwMode="auto">
          <a:xfrm>
            <a:off x="2217738" y="4097338"/>
            <a:ext cx="96837" cy="96837"/>
          </a:xfrm>
          <a:custGeom>
            <a:avLst/>
            <a:gdLst>
              <a:gd name="T0" fmla="*/ 0 w 70"/>
              <a:gd name="T1" fmla="*/ 2147483647 h 66"/>
              <a:gd name="T2" fmla="*/ 2147483647 w 70"/>
              <a:gd name="T3" fmla="*/ 2147483647 h 66"/>
              <a:gd name="T4" fmla="*/ 2147483647 w 70"/>
              <a:gd name="T5" fmla="*/ 2147483647 h 66"/>
              <a:gd name="T6" fmla="*/ 2147483647 w 70"/>
              <a:gd name="T7" fmla="*/ 0 h 66"/>
              <a:gd name="T8" fmla="*/ 2147483647 w 70"/>
              <a:gd name="T9" fmla="*/ 2147483647 h 66"/>
              <a:gd name="T10" fmla="*/ 0 w 70"/>
              <a:gd name="T11" fmla="*/ 2147483647 h 6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0"/>
              <a:gd name="T19" fmla="*/ 0 h 66"/>
              <a:gd name="T20" fmla="*/ 70 w 70"/>
              <a:gd name="T21" fmla="*/ 66 h 6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0" h="66">
                <a:moveTo>
                  <a:pt x="0" y="33"/>
                </a:moveTo>
                <a:lnTo>
                  <a:pt x="26" y="63"/>
                </a:lnTo>
                <a:lnTo>
                  <a:pt x="61" y="65"/>
                </a:lnTo>
                <a:lnTo>
                  <a:pt x="69" y="0"/>
                </a:lnTo>
                <a:lnTo>
                  <a:pt x="43" y="3"/>
                </a:lnTo>
                <a:lnTo>
                  <a:pt x="0" y="3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5" name="Freeform 147"/>
          <p:cNvSpPr>
            <a:spLocks/>
          </p:cNvSpPr>
          <p:nvPr/>
        </p:nvSpPr>
        <p:spPr bwMode="auto">
          <a:xfrm>
            <a:off x="4244975" y="3894138"/>
            <a:ext cx="366713" cy="282575"/>
          </a:xfrm>
          <a:custGeom>
            <a:avLst/>
            <a:gdLst>
              <a:gd name="T0" fmla="*/ 0 w 266"/>
              <a:gd name="T1" fmla="*/ 2147483647 h 193"/>
              <a:gd name="T2" fmla="*/ 2147483647 w 266"/>
              <a:gd name="T3" fmla="*/ 2147483647 h 193"/>
              <a:gd name="T4" fmla="*/ 2147483647 w 266"/>
              <a:gd name="T5" fmla="*/ 2147483647 h 193"/>
              <a:gd name="T6" fmla="*/ 2147483647 w 266"/>
              <a:gd name="T7" fmla="*/ 2147483647 h 193"/>
              <a:gd name="T8" fmla="*/ 2147483647 w 266"/>
              <a:gd name="T9" fmla="*/ 2147483647 h 193"/>
              <a:gd name="T10" fmla="*/ 2147483647 w 266"/>
              <a:gd name="T11" fmla="*/ 2147483647 h 193"/>
              <a:gd name="T12" fmla="*/ 2147483647 w 266"/>
              <a:gd name="T13" fmla="*/ 2147483647 h 193"/>
              <a:gd name="T14" fmla="*/ 2147483647 w 266"/>
              <a:gd name="T15" fmla="*/ 2147483647 h 193"/>
              <a:gd name="T16" fmla="*/ 2147483647 w 266"/>
              <a:gd name="T17" fmla="*/ 2147483647 h 193"/>
              <a:gd name="T18" fmla="*/ 2147483647 w 266"/>
              <a:gd name="T19" fmla="*/ 2147483647 h 193"/>
              <a:gd name="T20" fmla="*/ 2147483647 w 266"/>
              <a:gd name="T21" fmla="*/ 2147483647 h 193"/>
              <a:gd name="T22" fmla="*/ 2147483647 w 266"/>
              <a:gd name="T23" fmla="*/ 2147483647 h 193"/>
              <a:gd name="T24" fmla="*/ 2147483647 w 266"/>
              <a:gd name="T25" fmla="*/ 2147483647 h 193"/>
              <a:gd name="T26" fmla="*/ 2147483647 w 266"/>
              <a:gd name="T27" fmla="*/ 0 h 193"/>
              <a:gd name="T28" fmla="*/ 2147483647 w 266"/>
              <a:gd name="T29" fmla="*/ 2147483647 h 193"/>
              <a:gd name="T30" fmla="*/ 2147483647 w 266"/>
              <a:gd name="T31" fmla="*/ 2147483647 h 193"/>
              <a:gd name="T32" fmla="*/ 2147483647 w 266"/>
              <a:gd name="T33" fmla="*/ 2147483647 h 193"/>
              <a:gd name="T34" fmla="*/ 2147483647 w 266"/>
              <a:gd name="T35" fmla="*/ 2147483647 h 193"/>
              <a:gd name="T36" fmla="*/ 0 w 266"/>
              <a:gd name="T37" fmla="*/ 2147483647 h 19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66"/>
              <a:gd name="T58" fmla="*/ 0 h 193"/>
              <a:gd name="T59" fmla="*/ 266 w 266"/>
              <a:gd name="T60" fmla="*/ 193 h 19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66" h="193">
                <a:moveTo>
                  <a:pt x="0" y="140"/>
                </a:moveTo>
                <a:lnTo>
                  <a:pt x="1" y="155"/>
                </a:lnTo>
                <a:lnTo>
                  <a:pt x="36" y="187"/>
                </a:lnTo>
                <a:lnTo>
                  <a:pt x="43" y="180"/>
                </a:lnTo>
                <a:lnTo>
                  <a:pt x="57" y="192"/>
                </a:lnTo>
                <a:lnTo>
                  <a:pt x="76" y="159"/>
                </a:lnTo>
                <a:lnTo>
                  <a:pt x="153" y="175"/>
                </a:lnTo>
                <a:lnTo>
                  <a:pt x="217" y="158"/>
                </a:lnTo>
                <a:lnTo>
                  <a:pt x="221" y="151"/>
                </a:lnTo>
                <a:lnTo>
                  <a:pt x="254" y="108"/>
                </a:lnTo>
                <a:lnTo>
                  <a:pt x="265" y="51"/>
                </a:lnTo>
                <a:lnTo>
                  <a:pt x="248" y="33"/>
                </a:lnTo>
                <a:lnTo>
                  <a:pt x="248" y="9"/>
                </a:lnTo>
                <a:lnTo>
                  <a:pt x="192" y="0"/>
                </a:lnTo>
                <a:lnTo>
                  <a:pt x="91" y="65"/>
                </a:lnTo>
                <a:lnTo>
                  <a:pt x="65" y="72"/>
                </a:lnTo>
                <a:lnTo>
                  <a:pt x="65" y="122"/>
                </a:lnTo>
                <a:lnTo>
                  <a:pt x="54" y="134"/>
                </a:lnTo>
                <a:lnTo>
                  <a:pt x="0" y="14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6" name="Freeform 148"/>
          <p:cNvSpPr>
            <a:spLocks/>
          </p:cNvSpPr>
          <p:nvPr/>
        </p:nvSpPr>
        <p:spPr bwMode="auto">
          <a:xfrm>
            <a:off x="4305300" y="4125913"/>
            <a:ext cx="268288" cy="223837"/>
          </a:xfrm>
          <a:custGeom>
            <a:avLst/>
            <a:gdLst>
              <a:gd name="T0" fmla="*/ 0 w 195"/>
              <a:gd name="T1" fmla="*/ 2147483647 h 154"/>
              <a:gd name="T2" fmla="*/ 2147483647 w 195"/>
              <a:gd name="T3" fmla="*/ 2147483647 h 154"/>
              <a:gd name="T4" fmla="*/ 2147483647 w 195"/>
              <a:gd name="T5" fmla="*/ 2147483647 h 154"/>
              <a:gd name="T6" fmla="*/ 2147483647 w 195"/>
              <a:gd name="T7" fmla="*/ 2147483647 h 154"/>
              <a:gd name="T8" fmla="*/ 2147483647 w 195"/>
              <a:gd name="T9" fmla="*/ 0 h 154"/>
              <a:gd name="T10" fmla="*/ 2147483647 w 195"/>
              <a:gd name="T11" fmla="*/ 2147483647 h 154"/>
              <a:gd name="T12" fmla="*/ 2147483647 w 195"/>
              <a:gd name="T13" fmla="*/ 2147483647 h 154"/>
              <a:gd name="T14" fmla="*/ 2147483647 w 195"/>
              <a:gd name="T15" fmla="*/ 2147483647 h 154"/>
              <a:gd name="T16" fmla="*/ 2147483647 w 195"/>
              <a:gd name="T17" fmla="*/ 2147483647 h 154"/>
              <a:gd name="T18" fmla="*/ 2147483647 w 195"/>
              <a:gd name="T19" fmla="*/ 2147483647 h 154"/>
              <a:gd name="T20" fmla="*/ 2147483647 w 195"/>
              <a:gd name="T21" fmla="*/ 2147483647 h 154"/>
              <a:gd name="T22" fmla="*/ 2147483647 w 195"/>
              <a:gd name="T23" fmla="*/ 2147483647 h 154"/>
              <a:gd name="T24" fmla="*/ 2147483647 w 195"/>
              <a:gd name="T25" fmla="*/ 2147483647 h 154"/>
              <a:gd name="T26" fmla="*/ 0 w 195"/>
              <a:gd name="T27" fmla="*/ 2147483647 h 15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95"/>
              <a:gd name="T43" fmla="*/ 0 h 154"/>
              <a:gd name="T44" fmla="*/ 195 w 195"/>
              <a:gd name="T45" fmla="*/ 154 h 154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95" h="154">
                <a:moveTo>
                  <a:pt x="0" y="118"/>
                </a:moveTo>
                <a:lnTo>
                  <a:pt x="13" y="34"/>
                </a:lnTo>
                <a:lnTo>
                  <a:pt x="33" y="1"/>
                </a:lnTo>
                <a:lnTo>
                  <a:pt x="109" y="16"/>
                </a:lnTo>
                <a:lnTo>
                  <a:pt x="172" y="0"/>
                </a:lnTo>
                <a:lnTo>
                  <a:pt x="187" y="21"/>
                </a:lnTo>
                <a:lnTo>
                  <a:pt x="194" y="36"/>
                </a:lnTo>
                <a:lnTo>
                  <a:pt x="176" y="45"/>
                </a:lnTo>
                <a:lnTo>
                  <a:pt x="142" y="116"/>
                </a:lnTo>
                <a:lnTo>
                  <a:pt x="112" y="110"/>
                </a:lnTo>
                <a:lnTo>
                  <a:pt x="93" y="144"/>
                </a:lnTo>
                <a:lnTo>
                  <a:pt x="57" y="153"/>
                </a:lnTo>
                <a:lnTo>
                  <a:pt x="33" y="123"/>
                </a:lnTo>
                <a:lnTo>
                  <a:pt x="0" y="11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7" name="Freeform 149"/>
          <p:cNvSpPr>
            <a:spLocks/>
          </p:cNvSpPr>
          <p:nvPr/>
        </p:nvSpPr>
        <p:spPr bwMode="auto">
          <a:xfrm>
            <a:off x="4356100" y="2452688"/>
            <a:ext cx="600075" cy="479425"/>
          </a:xfrm>
          <a:custGeom>
            <a:avLst/>
            <a:gdLst>
              <a:gd name="T0" fmla="*/ 0 w 435"/>
              <a:gd name="T1" fmla="*/ 2147483647 h 328"/>
              <a:gd name="T2" fmla="*/ 2147483647 w 435"/>
              <a:gd name="T3" fmla="*/ 2147483647 h 328"/>
              <a:gd name="T4" fmla="*/ 2147483647 w 435"/>
              <a:gd name="T5" fmla="*/ 2147483647 h 328"/>
              <a:gd name="T6" fmla="*/ 2147483647 w 435"/>
              <a:gd name="T7" fmla="*/ 2147483647 h 328"/>
              <a:gd name="T8" fmla="*/ 2147483647 w 435"/>
              <a:gd name="T9" fmla="*/ 2147483647 h 328"/>
              <a:gd name="T10" fmla="*/ 2147483647 w 435"/>
              <a:gd name="T11" fmla="*/ 2147483647 h 328"/>
              <a:gd name="T12" fmla="*/ 2147483647 w 435"/>
              <a:gd name="T13" fmla="*/ 2147483647 h 328"/>
              <a:gd name="T14" fmla="*/ 2147483647 w 435"/>
              <a:gd name="T15" fmla="*/ 2147483647 h 328"/>
              <a:gd name="T16" fmla="*/ 2147483647 w 435"/>
              <a:gd name="T17" fmla="*/ 2147483647 h 328"/>
              <a:gd name="T18" fmla="*/ 2147483647 w 435"/>
              <a:gd name="T19" fmla="*/ 2147483647 h 328"/>
              <a:gd name="T20" fmla="*/ 2147483647 w 435"/>
              <a:gd name="T21" fmla="*/ 2147483647 h 328"/>
              <a:gd name="T22" fmla="*/ 2147483647 w 435"/>
              <a:gd name="T23" fmla="*/ 2147483647 h 328"/>
              <a:gd name="T24" fmla="*/ 2147483647 w 435"/>
              <a:gd name="T25" fmla="*/ 2147483647 h 328"/>
              <a:gd name="T26" fmla="*/ 2147483647 w 435"/>
              <a:gd name="T27" fmla="*/ 2147483647 h 328"/>
              <a:gd name="T28" fmla="*/ 2147483647 w 435"/>
              <a:gd name="T29" fmla="*/ 2147483647 h 328"/>
              <a:gd name="T30" fmla="*/ 2147483647 w 435"/>
              <a:gd name="T31" fmla="*/ 2147483647 h 328"/>
              <a:gd name="T32" fmla="*/ 2147483647 w 435"/>
              <a:gd name="T33" fmla="*/ 2147483647 h 328"/>
              <a:gd name="T34" fmla="*/ 2147483647 w 435"/>
              <a:gd name="T35" fmla="*/ 2147483647 h 328"/>
              <a:gd name="T36" fmla="*/ 2147483647 w 435"/>
              <a:gd name="T37" fmla="*/ 2147483647 h 328"/>
              <a:gd name="T38" fmla="*/ 2147483647 w 435"/>
              <a:gd name="T39" fmla="*/ 2147483647 h 328"/>
              <a:gd name="T40" fmla="*/ 2147483647 w 435"/>
              <a:gd name="T41" fmla="*/ 2147483647 h 328"/>
              <a:gd name="T42" fmla="*/ 2147483647 w 435"/>
              <a:gd name="T43" fmla="*/ 2147483647 h 328"/>
              <a:gd name="T44" fmla="*/ 2147483647 w 435"/>
              <a:gd name="T45" fmla="*/ 2147483647 h 328"/>
              <a:gd name="T46" fmla="*/ 2147483647 w 435"/>
              <a:gd name="T47" fmla="*/ 2147483647 h 328"/>
              <a:gd name="T48" fmla="*/ 2147483647 w 435"/>
              <a:gd name="T49" fmla="*/ 2147483647 h 328"/>
              <a:gd name="T50" fmla="*/ 2147483647 w 435"/>
              <a:gd name="T51" fmla="*/ 2147483647 h 328"/>
              <a:gd name="T52" fmla="*/ 2147483647 w 435"/>
              <a:gd name="T53" fmla="*/ 2147483647 h 328"/>
              <a:gd name="T54" fmla="*/ 2147483647 w 435"/>
              <a:gd name="T55" fmla="*/ 2147483647 h 328"/>
              <a:gd name="T56" fmla="*/ 2147483647 w 435"/>
              <a:gd name="T57" fmla="*/ 2147483647 h 328"/>
              <a:gd name="T58" fmla="*/ 2147483647 w 435"/>
              <a:gd name="T59" fmla="*/ 2147483647 h 328"/>
              <a:gd name="T60" fmla="*/ 2147483647 w 435"/>
              <a:gd name="T61" fmla="*/ 2147483647 h 328"/>
              <a:gd name="T62" fmla="*/ 2147483647 w 435"/>
              <a:gd name="T63" fmla="*/ 2147483647 h 328"/>
              <a:gd name="T64" fmla="*/ 2147483647 w 435"/>
              <a:gd name="T65" fmla="*/ 2147483647 h 328"/>
              <a:gd name="T66" fmla="*/ 2147483647 w 435"/>
              <a:gd name="T67" fmla="*/ 2147483647 h 328"/>
              <a:gd name="T68" fmla="*/ 2147483647 w 435"/>
              <a:gd name="T69" fmla="*/ 2147483647 h 328"/>
              <a:gd name="T70" fmla="*/ 2147483647 w 435"/>
              <a:gd name="T71" fmla="*/ 2147483647 h 328"/>
              <a:gd name="T72" fmla="*/ 2147483647 w 435"/>
              <a:gd name="T73" fmla="*/ 2147483647 h 328"/>
              <a:gd name="T74" fmla="*/ 2147483647 w 435"/>
              <a:gd name="T75" fmla="*/ 2147483647 h 328"/>
              <a:gd name="T76" fmla="*/ 2147483647 w 435"/>
              <a:gd name="T77" fmla="*/ 2147483647 h 328"/>
              <a:gd name="T78" fmla="*/ 2147483647 w 435"/>
              <a:gd name="T79" fmla="*/ 2147483647 h 328"/>
              <a:gd name="T80" fmla="*/ 0 w 435"/>
              <a:gd name="T81" fmla="*/ 2147483647 h 3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35"/>
              <a:gd name="T124" fmla="*/ 0 h 328"/>
              <a:gd name="T125" fmla="*/ 435 w 435"/>
              <a:gd name="T126" fmla="*/ 328 h 32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35" h="328">
                <a:moveTo>
                  <a:pt x="0" y="244"/>
                </a:moveTo>
                <a:lnTo>
                  <a:pt x="0" y="259"/>
                </a:lnTo>
                <a:lnTo>
                  <a:pt x="41" y="249"/>
                </a:lnTo>
                <a:lnTo>
                  <a:pt x="43" y="255"/>
                </a:lnTo>
                <a:lnTo>
                  <a:pt x="0" y="264"/>
                </a:lnTo>
                <a:lnTo>
                  <a:pt x="11" y="270"/>
                </a:lnTo>
                <a:lnTo>
                  <a:pt x="7" y="286"/>
                </a:lnTo>
                <a:lnTo>
                  <a:pt x="33" y="273"/>
                </a:lnTo>
                <a:lnTo>
                  <a:pt x="4" y="298"/>
                </a:lnTo>
                <a:lnTo>
                  <a:pt x="22" y="297"/>
                </a:lnTo>
                <a:lnTo>
                  <a:pt x="11" y="319"/>
                </a:lnTo>
                <a:lnTo>
                  <a:pt x="52" y="327"/>
                </a:lnTo>
                <a:lnTo>
                  <a:pt x="86" y="307"/>
                </a:lnTo>
                <a:lnTo>
                  <a:pt x="92" y="289"/>
                </a:lnTo>
                <a:lnTo>
                  <a:pt x="102" y="307"/>
                </a:lnTo>
                <a:lnTo>
                  <a:pt x="122" y="283"/>
                </a:lnTo>
                <a:lnTo>
                  <a:pt x="118" y="262"/>
                </a:lnTo>
                <a:lnTo>
                  <a:pt x="127" y="253"/>
                </a:lnTo>
                <a:lnTo>
                  <a:pt x="118" y="244"/>
                </a:lnTo>
                <a:lnTo>
                  <a:pt x="118" y="197"/>
                </a:lnTo>
                <a:lnTo>
                  <a:pt x="150" y="184"/>
                </a:lnTo>
                <a:lnTo>
                  <a:pt x="145" y="172"/>
                </a:lnTo>
                <a:lnTo>
                  <a:pt x="158" y="136"/>
                </a:lnTo>
                <a:lnTo>
                  <a:pt x="189" y="110"/>
                </a:lnTo>
                <a:lnTo>
                  <a:pt x="194" y="88"/>
                </a:lnTo>
                <a:lnTo>
                  <a:pt x="213" y="86"/>
                </a:lnTo>
                <a:lnTo>
                  <a:pt x="222" y="71"/>
                </a:lnTo>
                <a:lnTo>
                  <a:pt x="250" y="73"/>
                </a:lnTo>
                <a:lnTo>
                  <a:pt x="252" y="57"/>
                </a:lnTo>
                <a:lnTo>
                  <a:pt x="260" y="56"/>
                </a:lnTo>
                <a:lnTo>
                  <a:pt x="271" y="49"/>
                </a:lnTo>
                <a:lnTo>
                  <a:pt x="292" y="64"/>
                </a:lnTo>
                <a:lnTo>
                  <a:pt x="326" y="66"/>
                </a:lnTo>
                <a:lnTo>
                  <a:pt x="346" y="58"/>
                </a:lnTo>
                <a:lnTo>
                  <a:pt x="351" y="36"/>
                </a:lnTo>
                <a:lnTo>
                  <a:pt x="385" y="28"/>
                </a:lnTo>
                <a:lnTo>
                  <a:pt x="404" y="38"/>
                </a:lnTo>
                <a:lnTo>
                  <a:pt x="402" y="56"/>
                </a:lnTo>
                <a:lnTo>
                  <a:pt x="432" y="36"/>
                </a:lnTo>
                <a:lnTo>
                  <a:pt x="411" y="39"/>
                </a:lnTo>
                <a:lnTo>
                  <a:pt x="417" y="34"/>
                </a:lnTo>
                <a:lnTo>
                  <a:pt x="396" y="27"/>
                </a:lnTo>
                <a:lnTo>
                  <a:pt x="434" y="17"/>
                </a:lnTo>
                <a:lnTo>
                  <a:pt x="404" y="6"/>
                </a:lnTo>
                <a:lnTo>
                  <a:pt x="383" y="16"/>
                </a:lnTo>
                <a:lnTo>
                  <a:pt x="392" y="2"/>
                </a:lnTo>
                <a:lnTo>
                  <a:pt x="377" y="0"/>
                </a:lnTo>
                <a:lnTo>
                  <a:pt x="367" y="16"/>
                </a:lnTo>
                <a:lnTo>
                  <a:pt x="361" y="20"/>
                </a:lnTo>
                <a:lnTo>
                  <a:pt x="361" y="3"/>
                </a:lnTo>
                <a:lnTo>
                  <a:pt x="333" y="28"/>
                </a:lnTo>
                <a:lnTo>
                  <a:pt x="348" y="6"/>
                </a:lnTo>
                <a:lnTo>
                  <a:pt x="334" y="2"/>
                </a:lnTo>
                <a:lnTo>
                  <a:pt x="305" y="31"/>
                </a:lnTo>
                <a:lnTo>
                  <a:pt x="277" y="22"/>
                </a:lnTo>
                <a:lnTo>
                  <a:pt x="284" y="38"/>
                </a:lnTo>
                <a:lnTo>
                  <a:pt x="271" y="29"/>
                </a:lnTo>
                <a:lnTo>
                  <a:pt x="252" y="50"/>
                </a:lnTo>
                <a:lnTo>
                  <a:pt x="255" y="31"/>
                </a:lnTo>
                <a:lnTo>
                  <a:pt x="244" y="45"/>
                </a:lnTo>
                <a:lnTo>
                  <a:pt x="237" y="37"/>
                </a:lnTo>
                <a:lnTo>
                  <a:pt x="242" y="51"/>
                </a:lnTo>
                <a:lnTo>
                  <a:pt x="221" y="44"/>
                </a:lnTo>
                <a:lnTo>
                  <a:pt x="212" y="65"/>
                </a:lnTo>
                <a:lnTo>
                  <a:pt x="191" y="71"/>
                </a:lnTo>
                <a:lnTo>
                  <a:pt x="210" y="73"/>
                </a:lnTo>
                <a:lnTo>
                  <a:pt x="176" y="83"/>
                </a:lnTo>
                <a:lnTo>
                  <a:pt x="170" y="95"/>
                </a:lnTo>
                <a:lnTo>
                  <a:pt x="180" y="95"/>
                </a:lnTo>
                <a:lnTo>
                  <a:pt x="139" y="119"/>
                </a:lnTo>
                <a:lnTo>
                  <a:pt x="123" y="158"/>
                </a:lnTo>
                <a:lnTo>
                  <a:pt x="79" y="191"/>
                </a:lnTo>
                <a:lnTo>
                  <a:pt x="86" y="199"/>
                </a:lnTo>
                <a:lnTo>
                  <a:pt x="105" y="192"/>
                </a:lnTo>
                <a:lnTo>
                  <a:pt x="59" y="202"/>
                </a:lnTo>
                <a:lnTo>
                  <a:pt x="33" y="216"/>
                </a:lnTo>
                <a:lnTo>
                  <a:pt x="41" y="224"/>
                </a:lnTo>
                <a:lnTo>
                  <a:pt x="22" y="225"/>
                </a:lnTo>
                <a:lnTo>
                  <a:pt x="26" y="234"/>
                </a:lnTo>
                <a:lnTo>
                  <a:pt x="1" y="234"/>
                </a:lnTo>
                <a:lnTo>
                  <a:pt x="22" y="240"/>
                </a:lnTo>
                <a:lnTo>
                  <a:pt x="0" y="24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8" name="Freeform 150"/>
          <p:cNvSpPr>
            <a:spLocks/>
          </p:cNvSpPr>
          <p:nvPr/>
        </p:nvSpPr>
        <p:spPr bwMode="auto">
          <a:xfrm>
            <a:off x="5646738" y="3556000"/>
            <a:ext cx="390525" cy="333375"/>
          </a:xfrm>
          <a:custGeom>
            <a:avLst/>
            <a:gdLst>
              <a:gd name="T0" fmla="*/ 0 w 283"/>
              <a:gd name="T1" fmla="*/ 2147483647 h 228"/>
              <a:gd name="T2" fmla="*/ 2147483647 w 283"/>
              <a:gd name="T3" fmla="*/ 2147483647 h 228"/>
              <a:gd name="T4" fmla="*/ 2147483647 w 283"/>
              <a:gd name="T5" fmla="*/ 2147483647 h 228"/>
              <a:gd name="T6" fmla="*/ 2147483647 w 283"/>
              <a:gd name="T7" fmla="*/ 2147483647 h 228"/>
              <a:gd name="T8" fmla="*/ 2147483647 w 283"/>
              <a:gd name="T9" fmla="*/ 2147483647 h 228"/>
              <a:gd name="T10" fmla="*/ 2147483647 w 283"/>
              <a:gd name="T11" fmla="*/ 2147483647 h 228"/>
              <a:gd name="T12" fmla="*/ 2147483647 w 283"/>
              <a:gd name="T13" fmla="*/ 2147483647 h 228"/>
              <a:gd name="T14" fmla="*/ 2147483647 w 283"/>
              <a:gd name="T15" fmla="*/ 2147483647 h 228"/>
              <a:gd name="T16" fmla="*/ 2147483647 w 283"/>
              <a:gd name="T17" fmla="*/ 2147483647 h 228"/>
              <a:gd name="T18" fmla="*/ 2147483647 w 283"/>
              <a:gd name="T19" fmla="*/ 2147483647 h 228"/>
              <a:gd name="T20" fmla="*/ 2147483647 w 283"/>
              <a:gd name="T21" fmla="*/ 2147483647 h 228"/>
              <a:gd name="T22" fmla="*/ 2147483647 w 283"/>
              <a:gd name="T23" fmla="*/ 0 h 228"/>
              <a:gd name="T24" fmla="*/ 2147483647 w 283"/>
              <a:gd name="T25" fmla="*/ 2147483647 h 228"/>
              <a:gd name="T26" fmla="*/ 2147483647 w 283"/>
              <a:gd name="T27" fmla="*/ 2147483647 h 228"/>
              <a:gd name="T28" fmla="*/ 2147483647 w 283"/>
              <a:gd name="T29" fmla="*/ 2147483647 h 228"/>
              <a:gd name="T30" fmla="*/ 2147483647 w 283"/>
              <a:gd name="T31" fmla="*/ 2147483647 h 228"/>
              <a:gd name="T32" fmla="*/ 2147483647 w 283"/>
              <a:gd name="T33" fmla="*/ 2147483647 h 228"/>
              <a:gd name="T34" fmla="*/ 2147483647 w 283"/>
              <a:gd name="T35" fmla="*/ 2147483647 h 228"/>
              <a:gd name="T36" fmla="*/ 2147483647 w 283"/>
              <a:gd name="T37" fmla="*/ 2147483647 h 228"/>
              <a:gd name="T38" fmla="*/ 2147483647 w 283"/>
              <a:gd name="T39" fmla="*/ 2147483647 h 228"/>
              <a:gd name="T40" fmla="*/ 2147483647 w 283"/>
              <a:gd name="T41" fmla="*/ 2147483647 h 228"/>
              <a:gd name="T42" fmla="*/ 2147483647 w 283"/>
              <a:gd name="T43" fmla="*/ 2147483647 h 228"/>
              <a:gd name="T44" fmla="*/ 2147483647 w 283"/>
              <a:gd name="T45" fmla="*/ 2147483647 h 228"/>
              <a:gd name="T46" fmla="*/ 2147483647 w 283"/>
              <a:gd name="T47" fmla="*/ 2147483647 h 228"/>
              <a:gd name="T48" fmla="*/ 2147483647 w 283"/>
              <a:gd name="T49" fmla="*/ 2147483647 h 228"/>
              <a:gd name="T50" fmla="*/ 2147483647 w 283"/>
              <a:gd name="T51" fmla="*/ 2147483647 h 228"/>
              <a:gd name="T52" fmla="*/ 2147483647 w 283"/>
              <a:gd name="T53" fmla="*/ 2147483647 h 228"/>
              <a:gd name="T54" fmla="*/ 2147483647 w 283"/>
              <a:gd name="T55" fmla="*/ 2147483647 h 228"/>
              <a:gd name="T56" fmla="*/ 0 w 283"/>
              <a:gd name="T57" fmla="*/ 2147483647 h 22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83"/>
              <a:gd name="T88" fmla="*/ 0 h 228"/>
              <a:gd name="T89" fmla="*/ 283 w 283"/>
              <a:gd name="T90" fmla="*/ 228 h 228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83" h="228">
                <a:moveTo>
                  <a:pt x="0" y="124"/>
                </a:moveTo>
                <a:lnTo>
                  <a:pt x="26" y="132"/>
                </a:lnTo>
                <a:lnTo>
                  <a:pt x="89" y="124"/>
                </a:lnTo>
                <a:lnTo>
                  <a:pt x="100" y="100"/>
                </a:lnTo>
                <a:lnTo>
                  <a:pt x="141" y="89"/>
                </a:lnTo>
                <a:lnTo>
                  <a:pt x="146" y="68"/>
                </a:lnTo>
                <a:lnTo>
                  <a:pt x="160" y="64"/>
                </a:lnTo>
                <a:lnTo>
                  <a:pt x="152" y="52"/>
                </a:lnTo>
                <a:lnTo>
                  <a:pt x="169" y="51"/>
                </a:lnTo>
                <a:lnTo>
                  <a:pt x="181" y="32"/>
                </a:lnTo>
                <a:lnTo>
                  <a:pt x="176" y="14"/>
                </a:lnTo>
                <a:lnTo>
                  <a:pt x="231" y="0"/>
                </a:lnTo>
                <a:lnTo>
                  <a:pt x="282" y="25"/>
                </a:lnTo>
                <a:lnTo>
                  <a:pt x="268" y="39"/>
                </a:lnTo>
                <a:lnTo>
                  <a:pt x="219" y="39"/>
                </a:lnTo>
                <a:lnTo>
                  <a:pt x="220" y="65"/>
                </a:lnTo>
                <a:lnTo>
                  <a:pt x="242" y="82"/>
                </a:lnTo>
                <a:lnTo>
                  <a:pt x="230" y="91"/>
                </a:lnTo>
                <a:lnTo>
                  <a:pt x="234" y="104"/>
                </a:lnTo>
                <a:lnTo>
                  <a:pt x="183" y="158"/>
                </a:lnTo>
                <a:lnTo>
                  <a:pt x="161" y="156"/>
                </a:lnTo>
                <a:lnTo>
                  <a:pt x="146" y="169"/>
                </a:lnTo>
                <a:lnTo>
                  <a:pt x="171" y="217"/>
                </a:lnTo>
                <a:lnTo>
                  <a:pt x="134" y="217"/>
                </a:lnTo>
                <a:lnTo>
                  <a:pt x="120" y="227"/>
                </a:lnTo>
                <a:lnTo>
                  <a:pt x="92" y="199"/>
                </a:lnTo>
                <a:lnTo>
                  <a:pt x="12" y="203"/>
                </a:lnTo>
                <a:lnTo>
                  <a:pt x="40" y="170"/>
                </a:lnTo>
                <a:lnTo>
                  <a:pt x="0" y="12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59" name="Freeform 151"/>
          <p:cNvSpPr>
            <a:spLocks/>
          </p:cNvSpPr>
          <p:nvPr/>
        </p:nvSpPr>
        <p:spPr bwMode="auto">
          <a:xfrm>
            <a:off x="2319338" y="4222750"/>
            <a:ext cx="131762" cy="55563"/>
          </a:xfrm>
          <a:custGeom>
            <a:avLst/>
            <a:gdLst>
              <a:gd name="T0" fmla="*/ 0 w 95"/>
              <a:gd name="T1" fmla="*/ 2147483647 h 38"/>
              <a:gd name="T2" fmla="*/ 2147483647 w 95"/>
              <a:gd name="T3" fmla="*/ 0 h 38"/>
              <a:gd name="T4" fmla="*/ 2147483647 w 95"/>
              <a:gd name="T5" fmla="*/ 2147483647 h 38"/>
              <a:gd name="T6" fmla="*/ 2147483647 w 95"/>
              <a:gd name="T7" fmla="*/ 0 h 38"/>
              <a:gd name="T8" fmla="*/ 2147483647 w 95"/>
              <a:gd name="T9" fmla="*/ 2147483647 h 38"/>
              <a:gd name="T10" fmla="*/ 2147483647 w 95"/>
              <a:gd name="T11" fmla="*/ 2147483647 h 38"/>
              <a:gd name="T12" fmla="*/ 2147483647 w 95"/>
              <a:gd name="T13" fmla="*/ 2147483647 h 38"/>
              <a:gd name="T14" fmla="*/ 2147483647 w 95"/>
              <a:gd name="T15" fmla="*/ 2147483647 h 38"/>
              <a:gd name="T16" fmla="*/ 2147483647 w 95"/>
              <a:gd name="T17" fmla="*/ 2147483647 h 38"/>
              <a:gd name="T18" fmla="*/ 2147483647 w 95"/>
              <a:gd name="T19" fmla="*/ 2147483647 h 38"/>
              <a:gd name="T20" fmla="*/ 2147483647 w 95"/>
              <a:gd name="T21" fmla="*/ 2147483647 h 38"/>
              <a:gd name="T22" fmla="*/ 0 w 95"/>
              <a:gd name="T23" fmla="*/ 2147483647 h 3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5"/>
              <a:gd name="T37" fmla="*/ 0 h 38"/>
              <a:gd name="T38" fmla="*/ 95 w 95"/>
              <a:gd name="T39" fmla="*/ 38 h 3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5" h="38">
                <a:moveTo>
                  <a:pt x="0" y="21"/>
                </a:moveTo>
                <a:lnTo>
                  <a:pt x="7" y="0"/>
                </a:lnTo>
                <a:lnTo>
                  <a:pt x="27" y="13"/>
                </a:lnTo>
                <a:lnTo>
                  <a:pt x="63" y="0"/>
                </a:lnTo>
                <a:lnTo>
                  <a:pt x="94" y="15"/>
                </a:lnTo>
                <a:lnTo>
                  <a:pt x="85" y="37"/>
                </a:lnTo>
                <a:lnTo>
                  <a:pt x="82" y="19"/>
                </a:lnTo>
                <a:lnTo>
                  <a:pt x="63" y="10"/>
                </a:lnTo>
                <a:lnTo>
                  <a:pt x="42" y="22"/>
                </a:lnTo>
                <a:lnTo>
                  <a:pt x="48" y="32"/>
                </a:lnTo>
                <a:lnTo>
                  <a:pt x="38" y="37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0" name="Freeform 152"/>
          <p:cNvSpPr>
            <a:spLocks/>
          </p:cNvSpPr>
          <p:nvPr/>
        </p:nvSpPr>
        <p:spPr bwMode="auto">
          <a:xfrm>
            <a:off x="7502525" y="4503738"/>
            <a:ext cx="233363" cy="177800"/>
          </a:xfrm>
          <a:custGeom>
            <a:avLst/>
            <a:gdLst>
              <a:gd name="T0" fmla="*/ 0 w 169"/>
              <a:gd name="T1" fmla="*/ 0 h 122"/>
              <a:gd name="T2" fmla="*/ 2147483647 w 169"/>
              <a:gd name="T3" fmla="*/ 2147483647 h 122"/>
              <a:gd name="T4" fmla="*/ 2147483647 w 169"/>
              <a:gd name="T5" fmla="*/ 2147483647 h 122"/>
              <a:gd name="T6" fmla="*/ 2147483647 w 169"/>
              <a:gd name="T7" fmla="*/ 2147483647 h 122"/>
              <a:gd name="T8" fmla="*/ 2147483647 w 169"/>
              <a:gd name="T9" fmla="*/ 2147483647 h 122"/>
              <a:gd name="T10" fmla="*/ 2147483647 w 169"/>
              <a:gd name="T11" fmla="*/ 2147483647 h 122"/>
              <a:gd name="T12" fmla="*/ 2147483647 w 169"/>
              <a:gd name="T13" fmla="*/ 2147483647 h 122"/>
              <a:gd name="T14" fmla="*/ 2147483647 w 169"/>
              <a:gd name="T15" fmla="*/ 2147483647 h 122"/>
              <a:gd name="T16" fmla="*/ 2147483647 w 169"/>
              <a:gd name="T17" fmla="*/ 2147483647 h 122"/>
              <a:gd name="T18" fmla="*/ 2147483647 w 169"/>
              <a:gd name="T19" fmla="*/ 2147483647 h 122"/>
              <a:gd name="T20" fmla="*/ 2147483647 w 169"/>
              <a:gd name="T21" fmla="*/ 2147483647 h 122"/>
              <a:gd name="T22" fmla="*/ 0 w 169"/>
              <a:gd name="T23" fmla="*/ 0 h 1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69"/>
              <a:gd name="T37" fmla="*/ 0 h 122"/>
              <a:gd name="T38" fmla="*/ 169 w 169"/>
              <a:gd name="T39" fmla="*/ 122 h 1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69" h="122">
                <a:moveTo>
                  <a:pt x="0" y="0"/>
                </a:moveTo>
                <a:lnTo>
                  <a:pt x="5" y="104"/>
                </a:lnTo>
                <a:lnTo>
                  <a:pt x="31" y="105"/>
                </a:lnTo>
                <a:lnTo>
                  <a:pt x="58" y="77"/>
                </a:lnTo>
                <a:lnTo>
                  <a:pt x="88" y="90"/>
                </a:lnTo>
                <a:lnTo>
                  <a:pt x="115" y="118"/>
                </a:lnTo>
                <a:lnTo>
                  <a:pt x="168" y="121"/>
                </a:lnTo>
                <a:lnTo>
                  <a:pt x="107" y="76"/>
                </a:lnTo>
                <a:lnTo>
                  <a:pt x="111" y="54"/>
                </a:lnTo>
                <a:lnTo>
                  <a:pt x="83" y="45"/>
                </a:lnTo>
                <a:lnTo>
                  <a:pt x="58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1" name="Freeform 153"/>
          <p:cNvSpPr>
            <a:spLocks/>
          </p:cNvSpPr>
          <p:nvPr/>
        </p:nvSpPr>
        <p:spPr bwMode="auto">
          <a:xfrm>
            <a:off x="7673975" y="4541838"/>
            <a:ext cx="92075" cy="47625"/>
          </a:xfrm>
          <a:custGeom>
            <a:avLst/>
            <a:gdLst>
              <a:gd name="T0" fmla="*/ 0 w 67"/>
              <a:gd name="T1" fmla="*/ 2147483647 h 32"/>
              <a:gd name="T2" fmla="*/ 2147483647 w 67"/>
              <a:gd name="T3" fmla="*/ 2147483647 h 32"/>
              <a:gd name="T4" fmla="*/ 2147483647 w 67"/>
              <a:gd name="T5" fmla="*/ 2147483647 h 32"/>
              <a:gd name="T6" fmla="*/ 2147483647 w 67"/>
              <a:gd name="T7" fmla="*/ 0 h 32"/>
              <a:gd name="T8" fmla="*/ 2147483647 w 67"/>
              <a:gd name="T9" fmla="*/ 2147483647 h 32"/>
              <a:gd name="T10" fmla="*/ 0 w 67"/>
              <a:gd name="T11" fmla="*/ 2147483647 h 3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7"/>
              <a:gd name="T19" fmla="*/ 0 h 32"/>
              <a:gd name="T20" fmla="*/ 67 w 67"/>
              <a:gd name="T21" fmla="*/ 32 h 3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7" h="32">
                <a:moveTo>
                  <a:pt x="0" y="20"/>
                </a:moveTo>
                <a:lnTo>
                  <a:pt x="40" y="31"/>
                </a:lnTo>
                <a:lnTo>
                  <a:pt x="66" y="9"/>
                </a:lnTo>
                <a:lnTo>
                  <a:pt x="56" y="0"/>
                </a:lnTo>
                <a:lnTo>
                  <a:pt x="48" y="11"/>
                </a:lnTo>
                <a:lnTo>
                  <a:pt x="0" y="2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2" name="Freeform 154"/>
          <p:cNvSpPr>
            <a:spLocks/>
          </p:cNvSpPr>
          <p:nvPr/>
        </p:nvSpPr>
        <p:spPr bwMode="auto">
          <a:xfrm>
            <a:off x="7729538" y="4506913"/>
            <a:ext cx="52387" cy="49212"/>
          </a:xfrm>
          <a:custGeom>
            <a:avLst/>
            <a:gdLst>
              <a:gd name="T0" fmla="*/ 0 w 38"/>
              <a:gd name="T1" fmla="*/ 0 h 34"/>
              <a:gd name="T2" fmla="*/ 2147483647 w 38"/>
              <a:gd name="T3" fmla="*/ 2147483647 h 34"/>
              <a:gd name="T4" fmla="*/ 2147483647 w 38"/>
              <a:gd name="T5" fmla="*/ 2147483647 h 34"/>
              <a:gd name="T6" fmla="*/ 2147483647 w 38"/>
              <a:gd name="T7" fmla="*/ 2147483647 h 34"/>
              <a:gd name="T8" fmla="*/ 0 w 38"/>
              <a:gd name="T9" fmla="*/ 0 h 3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8"/>
              <a:gd name="T16" fmla="*/ 0 h 34"/>
              <a:gd name="T17" fmla="*/ 38 w 38"/>
              <a:gd name="T18" fmla="*/ 34 h 3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8" h="34">
                <a:moveTo>
                  <a:pt x="0" y="0"/>
                </a:moveTo>
                <a:lnTo>
                  <a:pt x="26" y="14"/>
                </a:lnTo>
                <a:lnTo>
                  <a:pt x="37" y="33"/>
                </a:lnTo>
                <a:lnTo>
                  <a:pt x="36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3" name="Freeform 155"/>
          <p:cNvSpPr>
            <a:spLocks/>
          </p:cNvSpPr>
          <p:nvPr/>
        </p:nvSpPr>
        <p:spPr bwMode="auto">
          <a:xfrm>
            <a:off x="2787650" y="4892675"/>
            <a:ext cx="196850" cy="196850"/>
          </a:xfrm>
          <a:custGeom>
            <a:avLst/>
            <a:gdLst>
              <a:gd name="T0" fmla="*/ 0 w 142"/>
              <a:gd name="T1" fmla="*/ 2147483647 h 134"/>
              <a:gd name="T2" fmla="*/ 2147483647 w 142"/>
              <a:gd name="T3" fmla="*/ 2147483647 h 134"/>
              <a:gd name="T4" fmla="*/ 2147483647 w 142"/>
              <a:gd name="T5" fmla="*/ 0 h 134"/>
              <a:gd name="T6" fmla="*/ 2147483647 w 142"/>
              <a:gd name="T7" fmla="*/ 2147483647 h 134"/>
              <a:gd name="T8" fmla="*/ 2147483647 w 142"/>
              <a:gd name="T9" fmla="*/ 2147483647 h 134"/>
              <a:gd name="T10" fmla="*/ 2147483647 w 142"/>
              <a:gd name="T11" fmla="*/ 2147483647 h 134"/>
              <a:gd name="T12" fmla="*/ 2147483647 w 142"/>
              <a:gd name="T13" fmla="*/ 2147483647 h 134"/>
              <a:gd name="T14" fmla="*/ 2147483647 w 142"/>
              <a:gd name="T15" fmla="*/ 2147483647 h 134"/>
              <a:gd name="T16" fmla="*/ 2147483647 w 142"/>
              <a:gd name="T17" fmla="*/ 2147483647 h 134"/>
              <a:gd name="T18" fmla="*/ 2147483647 w 142"/>
              <a:gd name="T19" fmla="*/ 2147483647 h 134"/>
              <a:gd name="T20" fmla="*/ 2147483647 w 142"/>
              <a:gd name="T21" fmla="*/ 2147483647 h 134"/>
              <a:gd name="T22" fmla="*/ 2147483647 w 142"/>
              <a:gd name="T23" fmla="*/ 2147483647 h 134"/>
              <a:gd name="T24" fmla="*/ 0 w 142"/>
              <a:gd name="T25" fmla="*/ 2147483647 h 13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42"/>
              <a:gd name="T40" fmla="*/ 0 h 134"/>
              <a:gd name="T41" fmla="*/ 142 w 142"/>
              <a:gd name="T42" fmla="*/ 134 h 13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42" h="134">
                <a:moveTo>
                  <a:pt x="0" y="50"/>
                </a:moveTo>
                <a:lnTo>
                  <a:pt x="14" y="7"/>
                </a:lnTo>
                <a:lnTo>
                  <a:pt x="60" y="0"/>
                </a:lnTo>
                <a:lnTo>
                  <a:pt x="77" y="14"/>
                </a:lnTo>
                <a:lnTo>
                  <a:pt x="82" y="46"/>
                </a:lnTo>
                <a:lnTo>
                  <a:pt x="116" y="50"/>
                </a:lnTo>
                <a:lnTo>
                  <a:pt x="122" y="74"/>
                </a:lnTo>
                <a:lnTo>
                  <a:pt x="141" y="77"/>
                </a:lnTo>
                <a:lnTo>
                  <a:pt x="139" y="104"/>
                </a:lnTo>
                <a:lnTo>
                  <a:pt x="120" y="133"/>
                </a:lnTo>
                <a:lnTo>
                  <a:pt x="72" y="131"/>
                </a:lnTo>
                <a:lnTo>
                  <a:pt x="82" y="99"/>
                </a:lnTo>
                <a:lnTo>
                  <a:pt x="0" y="5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4" name="Freeform 156"/>
          <p:cNvSpPr>
            <a:spLocks/>
          </p:cNvSpPr>
          <p:nvPr/>
        </p:nvSpPr>
        <p:spPr bwMode="auto">
          <a:xfrm>
            <a:off x="2360613" y="4446588"/>
            <a:ext cx="288925" cy="420687"/>
          </a:xfrm>
          <a:custGeom>
            <a:avLst/>
            <a:gdLst>
              <a:gd name="T0" fmla="*/ 0 w 209"/>
              <a:gd name="T1" fmla="*/ 2147483647 h 287"/>
              <a:gd name="T2" fmla="*/ 2147483647 w 209"/>
              <a:gd name="T3" fmla="*/ 2147483647 h 287"/>
              <a:gd name="T4" fmla="*/ 2147483647 w 209"/>
              <a:gd name="T5" fmla="*/ 2147483647 h 287"/>
              <a:gd name="T6" fmla="*/ 2147483647 w 209"/>
              <a:gd name="T7" fmla="*/ 2147483647 h 287"/>
              <a:gd name="T8" fmla="*/ 2147483647 w 209"/>
              <a:gd name="T9" fmla="*/ 2147483647 h 287"/>
              <a:gd name="T10" fmla="*/ 2147483647 w 209"/>
              <a:gd name="T11" fmla="*/ 2147483647 h 287"/>
              <a:gd name="T12" fmla="*/ 2147483647 w 209"/>
              <a:gd name="T13" fmla="*/ 2147483647 h 287"/>
              <a:gd name="T14" fmla="*/ 2147483647 w 209"/>
              <a:gd name="T15" fmla="*/ 2147483647 h 287"/>
              <a:gd name="T16" fmla="*/ 2147483647 w 209"/>
              <a:gd name="T17" fmla="*/ 2147483647 h 287"/>
              <a:gd name="T18" fmla="*/ 2147483647 w 209"/>
              <a:gd name="T19" fmla="*/ 2147483647 h 287"/>
              <a:gd name="T20" fmla="*/ 2147483647 w 209"/>
              <a:gd name="T21" fmla="*/ 2147483647 h 287"/>
              <a:gd name="T22" fmla="*/ 2147483647 w 209"/>
              <a:gd name="T23" fmla="*/ 2147483647 h 287"/>
              <a:gd name="T24" fmla="*/ 2147483647 w 209"/>
              <a:gd name="T25" fmla="*/ 2147483647 h 287"/>
              <a:gd name="T26" fmla="*/ 2147483647 w 209"/>
              <a:gd name="T27" fmla="*/ 2147483647 h 287"/>
              <a:gd name="T28" fmla="*/ 2147483647 w 209"/>
              <a:gd name="T29" fmla="*/ 2147483647 h 287"/>
              <a:gd name="T30" fmla="*/ 2147483647 w 209"/>
              <a:gd name="T31" fmla="*/ 2147483647 h 287"/>
              <a:gd name="T32" fmla="*/ 2147483647 w 209"/>
              <a:gd name="T33" fmla="*/ 2147483647 h 287"/>
              <a:gd name="T34" fmla="*/ 2147483647 w 209"/>
              <a:gd name="T35" fmla="*/ 2147483647 h 287"/>
              <a:gd name="T36" fmla="*/ 2147483647 w 209"/>
              <a:gd name="T37" fmla="*/ 2147483647 h 287"/>
              <a:gd name="T38" fmla="*/ 2147483647 w 209"/>
              <a:gd name="T39" fmla="*/ 2147483647 h 287"/>
              <a:gd name="T40" fmla="*/ 2147483647 w 209"/>
              <a:gd name="T41" fmla="*/ 2147483647 h 287"/>
              <a:gd name="T42" fmla="*/ 2147483647 w 209"/>
              <a:gd name="T43" fmla="*/ 0 h 287"/>
              <a:gd name="T44" fmla="*/ 2147483647 w 209"/>
              <a:gd name="T45" fmla="*/ 2147483647 h 287"/>
              <a:gd name="T46" fmla="*/ 2147483647 w 209"/>
              <a:gd name="T47" fmla="*/ 2147483647 h 287"/>
              <a:gd name="T48" fmla="*/ 2147483647 w 209"/>
              <a:gd name="T49" fmla="*/ 2147483647 h 287"/>
              <a:gd name="T50" fmla="*/ 2147483647 w 209"/>
              <a:gd name="T51" fmla="*/ 2147483647 h 287"/>
              <a:gd name="T52" fmla="*/ 2147483647 w 209"/>
              <a:gd name="T53" fmla="*/ 2147483647 h 287"/>
              <a:gd name="T54" fmla="*/ 0 w 209"/>
              <a:gd name="T55" fmla="*/ 2147483647 h 287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209"/>
              <a:gd name="T85" fmla="*/ 0 h 287"/>
              <a:gd name="T86" fmla="*/ 209 w 209"/>
              <a:gd name="T87" fmla="*/ 287 h 287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209" h="287">
                <a:moveTo>
                  <a:pt x="0" y="69"/>
                </a:moveTo>
                <a:lnTo>
                  <a:pt x="2" y="92"/>
                </a:lnTo>
                <a:lnTo>
                  <a:pt x="39" y="129"/>
                </a:lnTo>
                <a:lnTo>
                  <a:pt x="81" y="224"/>
                </a:lnTo>
                <a:lnTo>
                  <a:pt x="178" y="286"/>
                </a:lnTo>
                <a:lnTo>
                  <a:pt x="196" y="277"/>
                </a:lnTo>
                <a:lnTo>
                  <a:pt x="202" y="253"/>
                </a:lnTo>
                <a:lnTo>
                  <a:pt x="188" y="248"/>
                </a:lnTo>
                <a:lnTo>
                  <a:pt x="199" y="243"/>
                </a:lnTo>
                <a:lnTo>
                  <a:pt x="208" y="194"/>
                </a:lnTo>
                <a:lnTo>
                  <a:pt x="193" y="170"/>
                </a:lnTo>
                <a:lnTo>
                  <a:pt x="180" y="170"/>
                </a:lnTo>
                <a:lnTo>
                  <a:pt x="180" y="144"/>
                </a:lnTo>
                <a:lnTo>
                  <a:pt x="160" y="157"/>
                </a:lnTo>
                <a:lnTo>
                  <a:pt x="138" y="145"/>
                </a:lnTo>
                <a:lnTo>
                  <a:pt x="124" y="117"/>
                </a:lnTo>
                <a:lnTo>
                  <a:pt x="146" y="79"/>
                </a:lnTo>
                <a:lnTo>
                  <a:pt x="188" y="64"/>
                </a:lnTo>
                <a:lnTo>
                  <a:pt x="177" y="58"/>
                </a:lnTo>
                <a:lnTo>
                  <a:pt x="183" y="40"/>
                </a:lnTo>
                <a:lnTo>
                  <a:pt x="137" y="36"/>
                </a:lnTo>
                <a:lnTo>
                  <a:pt x="98" y="0"/>
                </a:lnTo>
                <a:lnTo>
                  <a:pt x="91" y="26"/>
                </a:lnTo>
                <a:lnTo>
                  <a:pt x="53" y="47"/>
                </a:lnTo>
                <a:lnTo>
                  <a:pt x="36" y="74"/>
                </a:lnTo>
                <a:lnTo>
                  <a:pt x="11" y="69"/>
                </a:lnTo>
                <a:lnTo>
                  <a:pt x="15" y="53"/>
                </a:lnTo>
                <a:lnTo>
                  <a:pt x="0" y="6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5" name="Freeform 157"/>
          <p:cNvSpPr>
            <a:spLocks/>
          </p:cNvSpPr>
          <p:nvPr/>
        </p:nvSpPr>
        <p:spPr bwMode="auto">
          <a:xfrm>
            <a:off x="6951663" y="4181475"/>
            <a:ext cx="50800" cy="69850"/>
          </a:xfrm>
          <a:custGeom>
            <a:avLst/>
            <a:gdLst>
              <a:gd name="T0" fmla="*/ 0 w 37"/>
              <a:gd name="T1" fmla="*/ 2147483647 h 47"/>
              <a:gd name="T2" fmla="*/ 2147483647 w 37"/>
              <a:gd name="T3" fmla="*/ 2147483647 h 47"/>
              <a:gd name="T4" fmla="*/ 2147483647 w 37"/>
              <a:gd name="T5" fmla="*/ 0 h 47"/>
              <a:gd name="T6" fmla="*/ 0 w 37"/>
              <a:gd name="T7" fmla="*/ 2147483647 h 47"/>
              <a:gd name="T8" fmla="*/ 0 60000 65536"/>
              <a:gd name="T9" fmla="*/ 0 60000 65536"/>
              <a:gd name="T10" fmla="*/ 0 60000 65536"/>
              <a:gd name="T11" fmla="*/ 0 60000 65536"/>
              <a:gd name="T12" fmla="*/ 0 w 37"/>
              <a:gd name="T13" fmla="*/ 0 h 47"/>
              <a:gd name="T14" fmla="*/ 37 w 37"/>
              <a:gd name="T15" fmla="*/ 47 h 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" h="47">
                <a:moveTo>
                  <a:pt x="0" y="46"/>
                </a:moveTo>
                <a:lnTo>
                  <a:pt x="24" y="24"/>
                </a:lnTo>
                <a:lnTo>
                  <a:pt x="36" y="0"/>
                </a:lnTo>
                <a:lnTo>
                  <a:pt x="0" y="4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6" name="Freeform 158"/>
          <p:cNvSpPr>
            <a:spLocks/>
          </p:cNvSpPr>
          <p:nvPr/>
        </p:nvSpPr>
        <p:spPr bwMode="auto">
          <a:xfrm>
            <a:off x="7011988" y="4013200"/>
            <a:ext cx="98425" cy="142875"/>
          </a:xfrm>
          <a:custGeom>
            <a:avLst/>
            <a:gdLst>
              <a:gd name="T0" fmla="*/ 0 w 71"/>
              <a:gd name="T1" fmla="*/ 2147483647 h 98"/>
              <a:gd name="T2" fmla="*/ 2147483647 w 71"/>
              <a:gd name="T3" fmla="*/ 0 h 98"/>
              <a:gd name="T4" fmla="*/ 2147483647 w 71"/>
              <a:gd name="T5" fmla="*/ 2147483647 h 98"/>
              <a:gd name="T6" fmla="*/ 2147483647 w 71"/>
              <a:gd name="T7" fmla="*/ 2147483647 h 98"/>
              <a:gd name="T8" fmla="*/ 2147483647 w 71"/>
              <a:gd name="T9" fmla="*/ 2147483647 h 98"/>
              <a:gd name="T10" fmla="*/ 2147483647 w 71"/>
              <a:gd name="T11" fmla="*/ 2147483647 h 98"/>
              <a:gd name="T12" fmla="*/ 2147483647 w 71"/>
              <a:gd name="T13" fmla="*/ 2147483647 h 98"/>
              <a:gd name="T14" fmla="*/ 2147483647 w 71"/>
              <a:gd name="T15" fmla="*/ 2147483647 h 98"/>
              <a:gd name="T16" fmla="*/ 2147483647 w 71"/>
              <a:gd name="T17" fmla="*/ 2147483647 h 98"/>
              <a:gd name="T18" fmla="*/ 2147483647 w 71"/>
              <a:gd name="T19" fmla="*/ 2147483647 h 98"/>
              <a:gd name="T20" fmla="*/ 2147483647 w 71"/>
              <a:gd name="T21" fmla="*/ 2147483647 h 98"/>
              <a:gd name="T22" fmla="*/ 0 w 71"/>
              <a:gd name="T23" fmla="*/ 2147483647 h 9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1"/>
              <a:gd name="T37" fmla="*/ 0 h 98"/>
              <a:gd name="T38" fmla="*/ 71 w 71"/>
              <a:gd name="T39" fmla="*/ 98 h 9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1" h="98">
                <a:moveTo>
                  <a:pt x="0" y="38"/>
                </a:moveTo>
                <a:lnTo>
                  <a:pt x="13" y="0"/>
                </a:lnTo>
                <a:lnTo>
                  <a:pt x="38" y="1"/>
                </a:lnTo>
                <a:lnTo>
                  <a:pt x="43" y="27"/>
                </a:lnTo>
                <a:lnTo>
                  <a:pt x="24" y="54"/>
                </a:lnTo>
                <a:lnTo>
                  <a:pt x="28" y="67"/>
                </a:lnTo>
                <a:lnTo>
                  <a:pt x="67" y="76"/>
                </a:lnTo>
                <a:lnTo>
                  <a:pt x="70" y="97"/>
                </a:lnTo>
                <a:lnTo>
                  <a:pt x="47" y="76"/>
                </a:lnTo>
                <a:lnTo>
                  <a:pt x="47" y="87"/>
                </a:lnTo>
                <a:lnTo>
                  <a:pt x="13" y="76"/>
                </a:lnTo>
                <a:lnTo>
                  <a:pt x="0" y="3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7" name="Freeform 159"/>
          <p:cNvSpPr>
            <a:spLocks/>
          </p:cNvSpPr>
          <p:nvPr/>
        </p:nvSpPr>
        <p:spPr bwMode="auto">
          <a:xfrm>
            <a:off x="7023100" y="4133850"/>
            <a:ext cx="26988" cy="30163"/>
          </a:xfrm>
          <a:custGeom>
            <a:avLst/>
            <a:gdLst>
              <a:gd name="T0" fmla="*/ 0 w 20"/>
              <a:gd name="T1" fmla="*/ 0 h 21"/>
              <a:gd name="T2" fmla="*/ 2147483647 w 20"/>
              <a:gd name="T3" fmla="*/ 0 h 21"/>
              <a:gd name="T4" fmla="*/ 2147483647 w 20"/>
              <a:gd name="T5" fmla="*/ 2147483647 h 21"/>
              <a:gd name="T6" fmla="*/ 2147483647 w 20"/>
              <a:gd name="T7" fmla="*/ 2147483647 h 21"/>
              <a:gd name="T8" fmla="*/ 0 w 20"/>
              <a:gd name="T9" fmla="*/ 0 h 2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21"/>
              <a:gd name="T17" fmla="*/ 20 w 20"/>
              <a:gd name="T18" fmla="*/ 21 h 2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21">
                <a:moveTo>
                  <a:pt x="0" y="0"/>
                </a:moveTo>
                <a:lnTo>
                  <a:pt x="10" y="0"/>
                </a:lnTo>
                <a:lnTo>
                  <a:pt x="19" y="4"/>
                </a:lnTo>
                <a:lnTo>
                  <a:pt x="14" y="2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8" name="Freeform 160"/>
          <p:cNvSpPr>
            <a:spLocks/>
          </p:cNvSpPr>
          <p:nvPr/>
        </p:nvSpPr>
        <p:spPr bwMode="auto">
          <a:xfrm>
            <a:off x="7061200" y="4167188"/>
            <a:ext cx="23813" cy="38100"/>
          </a:xfrm>
          <a:custGeom>
            <a:avLst/>
            <a:gdLst>
              <a:gd name="T0" fmla="*/ 0 w 18"/>
              <a:gd name="T1" fmla="*/ 0 h 26"/>
              <a:gd name="T2" fmla="*/ 0 w 18"/>
              <a:gd name="T3" fmla="*/ 2147483647 h 26"/>
              <a:gd name="T4" fmla="*/ 2147483647 w 18"/>
              <a:gd name="T5" fmla="*/ 2147483647 h 26"/>
              <a:gd name="T6" fmla="*/ 0 w 18"/>
              <a:gd name="T7" fmla="*/ 0 h 26"/>
              <a:gd name="T8" fmla="*/ 0 60000 65536"/>
              <a:gd name="T9" fmla="*/ 0 60000 65536"/>
              <a:gd name="T10" fmla="*/ 0 60000 65536"/>
              <a:gd name="T11" fmla="*/ 0 60000 65536"/>
              <a:gd name="T12" fmla="*/ 0 w 18"/>
              <a:gd name="T13" fmla="*/ 0 h 26"/>
              <a:gd name="T14" fmla="*/ 18 w 18"/>
              <a:gd name="T15" fmla="*/ 26 h 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" h="26">
                <a:moveTo>
                  <a:pt x="0" y="0"/>
                </a:moveTo>
                <a:lnTo>
                  <a:pt x="0" y="25"/>
                </a:lnTo>
                <a:lnTo>
                  <a:pt x="17" y="1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69" name="Freeform 161"/>
          <p:cNvSpPr>
            <a:spLocks/>
          </p:cNvSpPr>
          <p:nvPr/>
        </p:nvSpPr>
        <p:spPr bwMode="auto">
          <a:xfrm>
            <a:off x="7061200" y="4219575"/>
            <a:ext cx="98425" cy="98425"/>
          </a:xfrm>
          <a:custGeom>
            <a:avLst/>
            <a:gdLst>
              <a:gd name="T0" fmla="*/ 0 w 72"/>
              <a:gd name="T1" fmla="*/ 2147483647 h 67"/>
              <a:gd name="T2" fmla="*/ 2147483647 w 72"/>
              <a:gd name="T3" fmla="*/ 2147483647 h 67"/>
              <a:gd name="T4" fmla="*/ 2147483647 w 72"/>
              <a:gd name="T5" fmla="*/ 2147483647 h 67"/>
              <a:gd name="T6" fmla="*/ 2147483647 w 72"/>
              <a:gd name="T7" fmla="*/ 0 h 67"/>
              <a:gd name="T8" fmla="*/ 2147483647 w 72"/>
              <a:gd name="T9" fmla="*/ 2147483647 h 67"/>
              <a:gd name="T10" fmla="*/ 2147483647 w 72"/>
              <a:gd name="T11" fmla="*/ 2147483647 h 67"/>
              <a:gd name="T12" fmla="*/ 2147483647 w 72"/>
              <a:gd name="T13" fmla="*/ 2147483647 h 67"/>
              <a:gd name="T14" fmla="*/ 2147483647 w 72"/>
              <a:gd name="T15" fmla="*/ 2147483647 h 67"/>
              <a:gd name="T16" fmla="*/ 2147483647 w 72"/>
              <a:gd name="T17" fmla="*/ 2147483647 h 67"/>
              <a:gd name="T18" fmla="*/ 2147483647 w 72"/>
              <a:gd name="T19" fmla="*/ 2147483647 h 67"/>
              <a:gd name="T20" fmla="*/ 0 w 72"/>
              <a:gd name="T21" fmla="*/ 2147483647 h 6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2"/>
              <a:gd name="T34" fmla="*/ 0 h 67"/>
              <a:gd name="T35" fmla="*/ 72 w 72"/>
              <a:gd name="T36" fmla="*/ 67 h 6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2" h="67">
                <a:moveTo>
                  <a:pt x="0" y="44"/>
                </a:moveTo>
                <a:lnTo>
                  <a:pt x="17" y="23"/>
                </a:lnTo>
                <a:lnTo>
                  <a:pt x="35" y="24"/>
                </a:lnTo>
                <a:lnTo>
                  <a:pt x="60" y="0"/>
                </a:lnTo>
                <a:lnTo>
                  <a:pt x="71" y="15"/>
                </a:lnTo>
                <a:lnTo>
                  <a:pt x="71" y="53"/>
                </a:lnTo>
                <a:lnTo>
                  <a:pt x="63" y="38"/>
                </a:lnTo>
                <a:lnTo>
                  <a:pt x="57" y="66"/>
                </a:lnTo>
                <a:lnTo>
                  <a:pt x="39" y="58"/>
                </a:lnTo>
                <a:lnTo>
                  <a:pt x="28" y="30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0" name="Freeform 162"/>
          <p:cNvSpPr>
            <a:spLocks/>
          </p:cNvSpPr>
          <p:nvPr/>
        </p:nvSpPr>
        <p:spPr bwMode="auto">
          <a:xfrm>
            <a:off x="7072313" y="4194175"/>
            <a:ext cx="23812" cy="42863"/>
          </a:xfrm>
          <a:custGeom>
            <a:avLst/>
            <a:gdLst>
              <a:gd name="T0" fmla="*/ 0 w 18"/>
              <a:gd name="T1" fmla="*/ 2147483647 h 29"/>
              <a:gd name="T2" fmla="*/ 2147483647 w 18"/>
              <a:gd name="T3" fmla="*/ 2147483647 h 29"/>
              <a:gd name="T4" fmla="*/ 2147483647 w 18"/>
              <a:gd name="T5" fmla="*/ 0 h 29"/>
              <a:gd name="T6" fmla="*/ 2147483647 w 18"/>
              <a:gd name="T7" fmla="*/ 2147483647 h 29"/>
              <a:gd name="T8" fmla="*/ 0 w 18"/>
              <a:gd name="T9" fmla="*/ 2147483647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29"/>
              <a:gd name="T17" fmla="*/ 18 w 18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29">
                <a:moveTo>
                  <a:pt x="0" y="19"/>
                </a:moveTo>
                <a:lnTo>
                  <a:pt x="4" y="13"/>
                </a:lnTo>
                <a:lnTo>
                  <a:pt x="17" y="0"/>
                </a:lnTo>
                <a:lnTo>
                  <a:pt x="13" y="28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1" name="Freeform 163"/>
          <p:cNvSpPr>
            <a:spLocks/>
          </p:cNvSpPr>
          <p:nvPr/>
        </p:nvSpPr>
        <p:spPr bwMode="auto">
          <a:xfrm>
            <a:off x="4562475" y="3041650"/>
            <a:ext cx="233363" cy="176213"/>
          </a:xfrm>
          <a:custGeom>
            <a:avLst/>
            <a:gdLst>
              <a:gd name="T0" fmla="*/ 0 w 169"/>
              <a:gd name="T1" fmla="*/ 2147483647 h 120"/>
              <a:gd name="T2" fmla="*/ 2147483647 w 169"/>
              <a:gd name="T3" fmla="*/ 2147483647 h 120"/>
              <a:gd name="T4" fmla="*/ 2147483647 w 169"/>
              <a:gd name="T5" fmla="*/ 2147483647 h 120"/>
              <a:gd name="T6" fmla="*/ 2147483647 w 169"/>
              <a:gd name="T7" fmla="*/ 2147483647 h 120"/>
              <a:gd name="T8" fmla="*/ 2147483647 w 169"/>
              <a:gd name="T9" fmla="*/ 2147483647 h 120"/>
              <a:gd name="T10" fmla="*/ 2147483647 w 169"/>
              <a:gd name="T11" fmla="*/ 2147483647 h 120"/>
              <a:gd name="T12" fmla="*/ 2147483647 w 169"/>
              <a:gd name="T13" fmla="*/ 2147483647 h 120"/>
              <a:gd name="T14" fmla="*/ 2147483647 w 169"/>
              <a:gd name="T15" fmla="*/ 2147483647 h 120"/>
              <a:gd name="T16" fmla="*/ 2147483647 w 169"/>
              <a:gd name="T17" fmla="*/ 2147483647 h 120"/>
              <a:gd name="T18" fmla="*/ 2147483647 w 169"/>
              <a:gd name="T19" fmla="*/ 0 h 120"/>
              <a:gd name="T20" fmla="*/ 0 w 169"/>
              <a:gd name="T21" fmla="*/ 2147483647 h 12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69"/>
              <a:gd name="T34" fmla="*/ 0 h 120"/>
              <a:gd name="T35" fmla="*/ 169 w 169"/>
              <a:gd name="T36" fmla="*/ 120 h 12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69" h="120">
                <a:moveTo>
                  <a:pt x="0" y="21"/>
                </a:moveTo>
                <a:lnTo>
                  <a:pt x="11" y="84"/>
                </a:lnTo>
                <a:lnTo>
                  <a:pt x="98" y="116"/>
                </a:lnTo>
                <a:lnTo>
                  <a:pt x="141" y="119"/>
                </a:lnTo>
                <a:lnTo>
                  <a:pt x="168" y="88"/>
                </a:lnTo>
                <a:lnTo>
                  <a:pt x="153" y="51"/>
                </a:lnTo>
                <a:lnTo>
                  <a:pt x="164" y="43"/>
                </a:lnTo>
                <a:lnTo>
                  <a:pt x="158" y="15"/>
                </a:lnTo>
                <a:lnTo>
                  <a:pt x="93" y="6"/>
                </a:lnTo>
                <a:lnTo>
                  <a:pt x="53" y="0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2" name="Freeform 164"/>
          <p:cNvSpPr>
            <a:spLocks/>
          </p:cNvSpPr>
          <p:nvPr/>
        </p:nvSpPr>
        <p:spPr bwMode="auto">
          <a:xfrm>
            <a:off x="4025900" y="3424238"/>
            <a:ext cx="76200" cy="127000"/>
          </a:xfrm>
          <a:custGeom>
            <a:avLst/>
            <a:gdLst>
              <a:gd name="T0" fmla="*/ 0 w 55"/>
              <a:gd name="T1" fmla="*/ 2147483647 h 87"/>
              <a:gd name="T2" fmla="*/ 2147483647 w 55"/>
              <a:gd name="T3" fmla="*/ 0 h 87"/>
              <a:gd name="T4" fmla="*/ 2147483647 w 55"/>
              <a:gd name="T5" fmla="*/ 2147483647 h 87"/>
              <a:gd name="T6" fmla="*/ 2147483647 w 55"/>
              <a:gd name="T7" fmla="*/ 2147483647 h 87"/>
              <a:gd name="T8" fmla="*/ 2147483647 w 55"/>
              <a:gd name="T9" fmla="*/ 2147483647 h 87"/>
              <a:gd name="T10" fmla="*/ 2147483647 w 55"/>
              <a:gd name="T11" fmla="*/ 2147483647 h 87"/>
              <a:gd name="T12" fmla="*/ 2147483647 w 55"/>
              <a:gd name="T13" fmla="*/ 2147483647 h 87"/>
              <a:gd name="T14" fmla="*/ 0 w 55"/>
              <a:gd name="T15" fmla="*/ 2147483647 h 8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5"/>
              <a:gd name="T25" fmla="*/ 0 h 87"/>
              <a:gd name="T26" fmla="*/ 55 w 55"/>
              <a:gd name="T27" fmla="*/ 87 h 8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5" h="87">
                <a:moveTo>
                  <a:pt x="0" y="56"/>
                </a:moveTo>
                <a:lnTo>
                  <a:pt x="10" y="0"/>
                </a:lnTo>
                <a:lnTo>
                  <a:pt x="54" y="3"/>
                </a:lnTo>
                <a:lnTo>
                  <a:pt x="36" y="40"/>
                </a:lnTo>
                <a:lnTo>
                  <a:pt x="34" y="84"/>
                </a:lnTo>
                <a:lnTo>
                  <a:pt x="10" y="86"/>
                </a:lnTo>
                <a:lnTo>
                  <a:pt x="12" y="62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173" name="Freeform 165"/>
          <p:cNvSpPr>
            <a:spLocks/>
          </p:cNvSpPr>
          <p:nvPr/>
        </p:nvSpPr>
        <p:spPr bwMode="auto">
          <a:xfrm>
            <a:off x="3852863" y="4149725"/>
            <a:ext cx="74612" cy="42863"/>
          </a:xfrm>
          <a:custGeom>
            <a:avLst/>
            <a:gdLst>
              <a:gd name="T0" fmla="*/ 0 w 54"/>
              <a:gd name="T1" fmla="*/ 2147483647 h 29"/>
              <a:gd name="T2" fmla="*/ 2147483647 w 54"/>
              <a:gd name="T3" fmla="*/ 2147483647 h 29"/>
              <a:gd name="T4" fmla="*/ 2147483647 w 54"/>
              <a:gd name="T5" fmla="*/ 2147483647 h 29"/>
              <a:gd name="T6" fmla="*/ 2147483647 w 54"/>
              <a:gd name="T7" fmla="*/ 2147483647 h 29"/>
              <a:gd name="T8" fmla="*/ 2147483647 w 54"/>
              <a:gd name="T9" fmla="*/ 2147483647 h 29"/>
              <a:gd name="T10" fmla="*/ 2147483647 w 54"/>
              <a:gd name="T11" fmla="*/ 2147483647 h 29"/>
              <a:gd name="T12" fmla="*/ 2147483647 w 54"/>
              <a:gd name="T13" fmla="*/ 0 h 29"/>
              <a:gd name="T14" fmla="*/ 0 w 54"/>
              <a:gd name="T15" fmla="*/ 2147483647 h 2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4"/>
              <a:gd name="T25" fmla="*/ 0 h 29"/>
              <a:gd name="T26" fmla="*/ 54 w 54"/>
              <a:gd name="T27" fmla="*/ 29 h 2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4" h="29">
                <a:moveTo>
                  <a:pt x="0" y="5"/>
                </a:moveTo>
                <a:lnTo>
                  <a:pt x="17" y="16"/>
                </a:lnTo>
                <a:lnTo>
                  <a:pt x="32" y="12"/>
                </a:lnTo>
                <a:lnTo>
                  <a:pt x="22" y="16"/>
                </a:lnTo>
                <a:lnTo>
                  <a:pt x="30" y="28"/>
                </a:lnTo>
                <a:lnTo>
                  <a:pt x="53" y="16"/>
                </a:lnTo>
                <a:lnTo>
                  <a:pt x="53" y="0"/>
                </a:lnTo>
                <a:lnTo>
                  <a:pt x="0" y="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4" name="Freeform 166"/>
          <p:cNvSpPr>
            <a:spLocks/>
          </p:cNvSpPr>
          <p:nvPr/>
        </p:nvSpPr>
        <p:spPr bwMode="auto">
          <a:xfrm>
            <a:off x="5413375" y="3829050"/>
            <a:ext cx="14288" cy="41275"/>
          </a:xfrm>
          <a:custGeom>
            <a:avLst/>
            <a:gdLst>
              <a:gd name="T0" fmla="*/ 0 w 10"/>
              <a:gd name="T1" fmla="*/ 2147483647 h 28"/>
              <a:gd name="T2" fmla="*/ 2147483647 w 10"/>
              <a:gd name="T3" fmla="*/ 2147483647 h 28"/>
              <a:gd name="T4" fmla="*/ 2147483647 w 10"/>
              <a:gd name="T5" fmla="*/ 2147483647 h 28"/>
              <a:gd name="T6" fmla="*/ 2147483647 w 10"/>
              <a:gd name="T7" fmla="*/ 0 h 28"/>
              <a:gd name="T8" fmla="*/ 0 w 10"/>
              <a:gd name="T9" fmla="*/ 2147483647 h 2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28"/>
              <a:gd name="T17" fmla="*/ 10 w 10"/>
              <a:gd name="T18" fmla="*/ 28 h 2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28">
                <a:moveTo>
                  <a:pt x="0" y="22"/>
                </a:moveTo>
                <a:lnTo>
                  <a:pt x="2" y="27"/>
                </a:lnTo>
                <a:lnTo>
                  <a:pt x="9" y="25"/>
                </a:lnTo>
                <a:lnTo>
                  <a:pt x="5" y="0"/>
                </a:lnTo>
                <a:lnTo>
                  <a:pt x="0" y="2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5" name="Freeform 167"/>
          <p:cNvSpPr>
            <a:spLocks/>
          </p:cNvSpPr>
          <p:nvPr/>
        </p:nvSpPr>
        <p:spPr bwMode="auto">
          <a:xfrm>
            <a:off x="4706938" y="3238500"/>
            <a:ext cx="217487" cy="133350"/>
          </a:xfrm>
          <a:custGeom>
            <a:avLst/>
            <a:gdLst>
              <a:gd name="T0" fmla="*/ 0 w 158"/>
              <a:gd name="T1" fmla="*/ 2147483647 h 91"/>
              <a:gd name="T2" fmla="*/ 2147483647 w 158"/>
              <a:gd name="T3" fmla="*/ 2147483647 h 91"/>
              <a:gd name="T4" fmla="*/ 2147483647 w 158"/>
              <a:gd name="T5" fmla="*/ 2147483647 h 91"/>
              <a:gd name="T6" fmla="*/ 2147483647 w 158"/>
              <a:gd name="T7" fmla="*/ 2147483647 h 91"/>
              <a:gd name="T8" fmla="*/ 2147483647 w 158"/>
              <a:gd name="T9" fmla="*/ 2147483647 h 91"/>
              <a:gd name="T10" fmla="*/ 2147483647 w 158"/>
              <a:gd name="T11" fmla="*/ 2147483647 h 91"/>
              <a:gd name="T12" fmla="*/ 2147483647 w 158"/>
              <a:gd name="T13" fmla="*/ 0 h 91"/>
              <a:gd name="T14" fmla="*/ 2147483647 w 158"/>
              <a:gd name="T15" fmla="*/ 2147483647 h 91"/>
              <a:gd name="T16" fmla="*/ 0 w 158"/>
              <a:gd name="T17" fmla="*/ 2147483647 h 9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58"/>
              <a:gd name="T28" fmla="*/ 0 h 91"/>
              <a:gd name="T29" fmla="*/ 158 w 158"/>
              <a:gd name="T30" fmla="*/ 91 h 9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58" h="91">
                <a:moveTo>
                  <a:pt x="0" y="43"/>
                </a:moveTo>
                <a:lnTo>
                  <a:pt x="44" y="82"/>
                </a:lnTo>
                <a:lnTo>
                  <a:pt x="141" y="90"/>
                </a:lnTo>
                <a:lnTo>
                  <a:pt x="157" y="57"/>
                </a:lnTo>
                <a:lnTo>
                  <a:pt x="133" y="56"/>
                </a:lnTo>
                <a:lnTo>
                  <a:pt x="130" y="29"/>
                </a:lnTo>
                <a:lnTo>
                  <a:pt x="108" y="0"/>
                </a:lnTo>
                <a:lnTo>
                  <a:pt x="44" y="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6" name="Freeform 168"/>
          <p:cNvSpPr>
            <a:spLocks/>
          </p:cNvSpPr>
          <p:nvPr/>
        </p:nvSpPr>
        <p:spPr bwMode="auto">
          <a:xfrm>
            <a:off x="4914900" y="4465638"/>
            <a:ext cx="33338" cy="39687"/>
          </a:xfrm>
          <a:custGeom>
            <a:avLst/>
            <a:gdLst>
              <a:gd name="T0" fmla="*/ 0 w 25"/>
              <a:gd name="T1" fmla="*/ 2147483647 h 27"/>
              <a:gd name="T2" fmla="*/ 2147483647 w 25"/>
              <a:gd name="T3" fmla="*/ 2147483647 h 27"/>
              <a:gd name="T4" fmla="*/ 2147483647 w 25"/>
              <a:gd name="T5" fmla="*/ 0 h 27"/>
              <a:gd name="T6" fmla="*/ 2147483647 w 25"/>
              <a:gd name="T7" fmla="*/ 2147483647 h 27"/>
              <a:gd name="T8" fmla="*/ 0 w 25"/>
              <a:gd name="T9" fmla="*/ 2147483647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27"/>
              <a:gd name="T17" fmla="*/ 25 w 25"/>
              <a:gd name="T18" fmla="*/ 27 h 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27">
                <a:moveTo>
                  <a:pt x="0" y="26"/>
                </a:moveTo>
                <a:lnTo>
                  <a:pt x="8" y="5"/>
                </a:lnTo>
                <a:lnTo>
                  <a:pt x="22" y="0"/>
                </a:lnTo>
                <a:lnTo>
                  <a:pt x="24" y="21"/>
                </a:lnTo>
                <a:lnTo>
                  <a:pt x="0" y="2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7" name="Freeform 169"/>
          <p:cNvSpPr>
            <a:spLocks/>
          </p:cNvSpPr>
          <p:nvPr/>
        </p:nvSpPr>
        <p:spPr bwMode="auto">
          <a:xfrm>
            <a:off x="5040313" y="3678238"/>
            <a:ext cx="487362" cy="406400"/>
          </a:xfrm>
          <a:custGeom>
            <a:avLst/>
            <a:gdLst>
              <a:gd name="T0" fmla="*/ 0 w 354"/>
              <a:gd name="T1" fmla="*/ 2147483647 h 278"/>
              <a:gd name="T2" fmla="*/ 2147483647 w 354"/>
              <a:gd name="T3" fmla="*/ 2147483647 h 278"/>
              <a:gd name="T4" fmla="*/ 2147483647 w 354"/>
              <a:gd name="T5" fmla="*/ 2147483647 h 278"/>
              <a:gd name="T6" fmla="*/ 2147483647 w 354"/>
              <a:gd name="T7" fmla="*/ 2147483647 h 278"/>
              <a:gd name="T8" fmla="*/ 2147483647 w 354"/>
              <a:gd name="T9" fmla="*/ 2147483647 h 278"/>
              <a:gd name="T10" fmla="*/ 2147483647 w 354"/>
              <a:gd name="T11" fmla="*/ 2147483647 h 278"/>
              <a:gd name="T12" fmla="*/ 2147483647 w 354"/>
              <a:gd name="T13" fmla="*/ 0 h 278"/>
              <a:gd name="T14" fmla="*/ 2147483647 w 354"/>
              <a:gd name="T15" fmla="*/ 2147483647 h 278"/>
              <a:gd name="T16" fmla="*/ 2147483647 w 354"/>
              <a:gd name="T17" fmla="*/ 2147483647 h 278"/>
              <a:gd name="T18" fmla="*/ 2147483647 w 354"/>
              <a:gd name="T19" fmla="*/ 2147483647 h 278"/>
              <a:gd name="T20" fmla="*/ 2147483647 w 354"/>
              <a:gd name="T21" fmla="*/ 2147483647 h 278"/>
              <a:gd name="T22" fmla="*/ 2147483647 w 354"/>
              <a:gd name="T23" fmla="*/ 2147483647 h 278"/>
              <a:gd name="T24" fmla="*/ 2147483647 w 354"/>
              <a:gd name="T25" fmla="*/ 2147483647 h 278"/>
              <a:gd name="T26" fmla="*/ 2147483647 w 354"/>
              <a:gd name="T27" fmla="*/ 2147483647 h 278"/>
              <a:gd name="T28" fmla="*/ 2147483647 w 354"/>
              <a:gd name="T29" fmla="*/ 2147483647 h 278"/>
              <a:gd name="T30" fmla="*/ 2147483647 w 354"/>
              <a:gd name="T31" fmla="*/ 2147483647 h 278"/>
              <a:gd name="T32" fmla="*/ 2147483647 w 354"/>
              <a:gd name="T33" fmla="*/ 2147483647 h 278"/>
              <a:gd name="T34" fmla="*/ 2147483647 w 354"/>
              <a:gd name="T35" fmla="*/ 2147483647 h 278"/>
              <a:gd name="T36" fmla="*/ 2147483647 w 354"/>
              <a:gd name="T37" fmla="*/ 2147483647 h 278"/>
              <a:gd name="T38" fmla="*/ 2147483647 w 354"/>
              <a:gd name="T39" fmla="*/ 2147483647 h 278"/>
              <a:gd name="T40" fmla="*/ 2147483647 w 354"/>
              <a:gd name="T41" fmla="*/ 2147483647 h 278"/>
              <a:gd name="T42" fmla="*/ 2147483647 w 354"/>
              <a:gd name="T43" fmla="*/ 2147483647 h 278"/>
              <a:gd name="T44" fmla="*/ 2147483647 w 354"/>
              <a:gd name="T45" fmla="*/ 2147483647 h 278"/>
              <a:gd name="T46" fmla="*/ 2147483647 w 354"/>
              <a:gd name="T47" fmla="*/ 2147483647 h 278"/>
              <a:gd name="T48" fmla="*/ 2147483647 w 354"/>
              <a:gd name="T49" fmla="*/ 2147483647 h 278"/>
              <a:gd name="T50" fmla="*/ 2147483647 w 354"/>
              <a:gd name="T51" fmla="*/ 2147483647 h 278"/>
              <a:gd name="T52" fmla="*/ 2147483647 w 354"/>
              <a:gd name="T53" fmla="*/ 2147483647 h 278"/>
              <a:gd name="T54" fmla="*/ 2147483647 w 354"/>
              <a:gd name="T55" fmla="*/ 2147483647 h 278"/>
              <a:gd name="T56" fmla="*/ 0 w 354"/>
              <a:gd name="T57" fmla="*/ 2147483647 h 278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54"/>
              <a:gd name="T88" fmla="*/ 0 h 278"/>
              <a:gd name="T89" fmla="*/ 354 w 354"/>
              <a:gd name="T90" fmla="*/ 278 h 278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54" h="278">
                <a:moveTo>
                  <a:pt x="0" y="73"/>
                </a:moveTo>
                <a:lnTo>
                  <a:pt x="4" y="49"/>
                </a:lnTo>
                <a:lnTo>
                  <a:pt x="23" y="52"/>
                </a:lnTo>
                <a:lnTo>
                  <a:pt x="47" y="38"/>
                </a:lnTo>
                <a:lnTo>
                  <a:pt x="56" y="28"/>
                </a:lnTo>
                <a:lnTo>
                  <a:pt x="37" y="12"/>
                </a:lnTo>
                <a:lnTo>
                  <a:pt x="75" y="0"/>
                </a:lnTo>
                <a:lnTo>
                  <a:pt x="149" y="31"/>
                </a:lnTo>
                <a:lnTo>
                  <a:pt x="152" y="45"/>
                </a:lnTo>
                <a:lnTo>
                  <a:pt x="170" y="52"/>
                </a:lnTo>
                <a:lnTo>
                  <a:pt x="185" y="59"/>
                </a:lnTo>
                <a:lnTo>
                  <a:pt x="200" y="54"/>
                </a:lnTo>
                <a:lnTo>
                  <a:pt x="231" y="63"/>
                </a:lnTo>
                <a:lnTo>
                  <a:pt x="272" y="127"/>
                </a:lnTo>
                <a:lnTo>
                  <a:pt x="274" y="132"/>
                </a:lnTo>
                <a:lnTo>
                  <a:pt x="291" y="157"/>
                </a:lnTo>
                <a:lnTo>
                  <a:pt x="346" y="162"/>
                </a:lnTo>
                <a:lnTo>
                  <a:pt x="353" y="173"/>
                </a:lnTo>
                <a:lnTo>
                  <a:pt x="341" y="206"/>
                </a:lnTo>
                <a:lnTo>
                  <a:pt x="291" y="222"/>
                </a:lnTo>
                <a:lnTo>
                  <a:pt x="237" y="234"/>
                </a:lnTo>
                <a:lnTo>
                  <a:pt x="195" y="277"/>
                </a:lnTo>
                <a:lnTo>
                  <a:pt x="195" y="260"/>
                </a:lnTo>
                <a:lnTo>
                  <a:pt x="165" y="249"/>
                </a:lnTo>
                <a:lnTo>
                  <a:pt x="136" y="264"/>
                </a:lnTo>
                <a:lnTo>
                  <a:pt x="105" y="215"/>
                </a:lnTo>
                <a:lnTo>
                  <a:pt x="79" y="194"/>
                </a:lnTo>
                <a:lnTo>
                  <a:pt x="63" y="143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8" name="Freeform 170"/>
          <p:cNvSpPr>
            <a:spLocks/>
          </p:cNvSpPr>
          <p:nvPr/>
        </p:nvSpPr>
        <p:spPr bwMode="auto">
          <a:xfrm>
            <a:off x="3819525" y="4056063"/>
            <a:ext cx="147638" cy="101600"/>
          </a:xfrm>
          <a:custGeom>
            <a:avLst/>
            <a:gdLst>
              <a:gd name="T0" fmla="*/ 0 w 107"/>
              <a:gd name="T1" fmla="*/ 2147483647 h 69"/>
              <a:gd name="T2" fmla="*/ 2147483647 w 107"/>
              <a:gd name="T3" fmla="*/ 2147483647 h 69"/>
              <a:gd name="T4" fmla="*/ 2147483647 w 107"/>
              <a:gd name="T5" fmla="*/ 2147483647 h 69"/>
              <a:gd name="T6" fmla="*/ 2147483647 w 107"/>
              <a:gd name="T7" fmla="*/ 2147483647 h 69"/>
              <a:gd name="T8" fmla="*/ 2147483647 w 107"/>
              <a:gd name="T9" fmla="*/ 2147483647 h 69"/>
              <a:gd name="T10" fmla="*/ 2147483647 w 107"/>
              <a:gd name="T11" fmla="*/ 2147483647 h 69"/>
              <a:gd name="T12" fmla="*/ 2147483647 w 107"/>
              <a:gd name="T13" fmla="*/ 2147483647 h 69"/>
              <a:gd name="T14" fmla="*/ 2147483647 w 107"/>
              <a:gd name="T15" fmla="*/ 2147483647 h 69"/>
              <a:gd name="T16" fmla="*/ 2147483647 w 107"/>
              <a:gd name="T17" fmla="*/ 0 h 69"/>
              <a:gd name="T18" fmla="*/ 2147483647 w 107"/>
              <a:gd name="T19" fmla="*/ 2147483647 h 69"/>
              <a:gd name="T20" fmla="*/ 0 w 107"/>
              <a:gd name="T21" fmla="*/ 2147483647 h 6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7"/>
              <a:gd name="T34" fmla="*/ 0 h 69"/>
              <a:gd name="T35" fmla="*/ 107 w 107"/>
              <a:gd name="T36" fmla="*/ 69 h 6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7" h="69">
                <a:moveTo>
                  <a:pt x="0" y="31"/>
                </a:moveTo>
                <a:lnTo>
                  <a:pt x="17" y="48"/>
                </a:lnTo>
                <a:lnTo>
                  <a:pt x="65" y="53"/>
                </a:lnTo>
                <a:lnTo>
                  <a:pt x="15" y="58"/>
                </a:lnTo>
                <a:lnTo>
                  <a:pt x="15" y="68"/>
                </a:lnTo>
                <a:lnTo>
                  <a:pt x="66" y="63"/>
                </a:lnTo>
                <a:lnTo>
                  <a:pt x="106" y="68"/>
                </a:lnTo>
                <a:lnTo>
                  <a:pt x="92" y="31"/>
                </a:lnTo>
                <a:lnTo>
                  <a:pt x="54" y="0"/>
                </a:lnTo>
                <a:lnTo>
                  <a:pt x="17" y="9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79" name="Freeform 171"/>
          <p:cNvSpPr>
            <a:spLocks/>
          </p:cNvSpPr>
          <p:nvPr/>
        </p:nvSpPr>
        <p:spPr bwMode="auto">
          <a:xfrm>
            <a:off x="3933825" y="4214813"/>
            <a:ext cx="68263" cy="71437"/>
          </a:xfrm>
          <a:custGeom>
            <a:avLst/>
            <a:gdLst>
              <a:gd name="T0" fmla="*/ 0 w 49"/>
              <a:gd name="T1" fmla="*/ 2147483647 h 49"/>
              <a:gd name="T2" fmla="*/ 2147483647 w 49"/>
              <a:gd name="T3" fmla="*/ 2147483647 h 49"/>
              <a:gd name="T4" fmla="*/ 2147483647 w 49"/>
              <a:gd name="T5" fmla="*/ 2147483647 h 49"/>
              <a:gd name="T6" fmla="*/ 2147483647 w 49"/>
              <a:gd name="T7" fmla="*/ 2147483647 h 49"/>
              <a:gd name="T8" fmla="*/ 2147483647 w 49"/>
              <a:gd name="T9" fmla="*/ 0 h 49"/>
              <a:gd name="T10" fmla="*/ 0 w 49"/>
              <a:gd name="T11" fmla="*/ 2147483647 h 4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9"/>
              <a:gd name="T19" fmla="*/ 0 h 49"/>
              <a:gd name="T20" fmla="*/ 49 w 49"/>
              <a:gd name="T21" fmla="*/ 49 h 4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9" h="49">
                <a:moveTo>
                  <a:pt x="0" y="14"/>
                </a:moveTo>
                <a:lnTo>
                  <a:pt x="5" y="34"/>
                </a:lnTo>
                <a:lnTo>
                  <a:pt x="29" y="48"/>
                </a:lnTo>
                <a:lnTo>
                  <a:pt x="48" y="25"/>
                </a:lnTo>
                <a:lnTo>
                  <a:pt x="34" y="0"/>
                </a:lnTo>
                <a:lnTo>
                  <a:pt x="0" y="1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0" name="Freeform 172"/>
          <p:cNvSpPr>
            <a:spLocks/>
          </p:cNvSpPr>
          <p:nvPr/>
        </p:nvSpPr>
        <p:spPr bwMode="auto">
          <a:xfrm>
            <a:off x="5189538" y="4167188"/>
            <a:ext cx="238125" cy="317500"/>
          </a:xfrm>
          <a:custGeom>
            <a:avLst/>
            <a:gdLst>
              <a:gd name="T0" fmla="*/ 0 w 173"/>
              <a:gd name="T1" fmla="*/ 2147483647 h 217"/>
              <a:gd name="T2" fmla="*/ 0 w 173"/>
              <a:gd name="T3" fmla="*/ 2147483647 h 217"/>
              <a:gd name="T4" fmla="*/ 2147483647 w 173"/>
              <a:gd name="T5" fmla="*/ 2147483647 h 217"/>
              <a:gd name="T6" fmla="*/ 2147483647 w 173"/>
              <a:gd name="T7" fmla="*/ 2147483647 h 217"/>
              <a:gd name="T8" fmla="*/ 2147483647 w 173"/>
              <a:gd name="T9" fmla="*/ 2147483647 h 217"/>
              <a:gd name="T10" fmla="*/ 2147483647 w 173"/>
              <a:gd name="T11" fmla="*/ 2147483647 h 217"/>
              <a:gd name="T12" fmla="*/ 2147483647 w 173"/>
              <a:gd name="T13" fmla="*/ 2147483647 h 217"/>
              <a:gd name="T14" fmla="*/ 2147483647 w 173"/>
              <a:gd name="T15" fmla="*/ 2147483647 h 217"/>
              <a:gd name="T16" fmla="*/ 2147483647 w 173"/>
              <a:gd name="T17" fmla="*/ 2147483647 h 217"/>
              <a:gd name="T18" fmla="*/ 2147483647 w 173"/>
              <a:gd name="T19" fmla="*/ 0 h 217"/>
              <a:gd name="T20" fmla="*/ 2147483647 w 173"/>
              <a:gd name="T21" fmla="*/ 2147483647 h 217"/>
              <a:gd name="T22" fmla="*/ 2147483647 w 173"/>
              <a:gd name="T23" fmla="*/ 2147483647 h 217"/>
              <a:gd name="T24" fmla="*/ 2147483647 w 173"/>
              <a:gd name="T25" fmla="*/ 2147483647 h 217"/>
              <a:gd name="T26" fmla="*/ 0 w 173"/>
              <a:gd name="T27" fmla="*/ 2147483647 h 21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3"/>
              <a:gd name="T43" fmla="*/ 0 h 217"/>
              <a:gd name="T44" fmla="*/ 173 w 173"/>
              <a:gd name="T45" fmla="*/ 217 h 21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3" h="217">
                <a:moveTo>
                  <a:pt x="0" y="203"/>
                </a:moveTo>
                <a:lnTo>
                  <a:pt x="0" y="145"/>
                </a:lnTo>
                <a:lnTo>
                  <a:pt x="15" y="127"/>
                </a:lnTo>
                <a:lnTo>
                  <a:pt x="66" y="111"/>
                </a:lnTo>
                <a:lnTo>
                  <a:pt x="118" y="62"/>
                </a:lnTo>
                <a:lnTo>
                  <a:pt x="50" y="46"/>
                </a:lnTo>
                <a:lnTo>
                  <a:pt x="32" y="16"/>
                </a:lnTo>
                <a:lnTo>
                  <a:pt x="37" y="8"/>
                </a:lnTo>
                <a:lnTo>
                  <a:pt x="65" y="25"/>
                </a:lnTo>
                <a:lnTo>
                  <a:pt x="163" y="0"/>
                </a:lnTo>
                <a:lnTo>
                  <a:pt x="172" y="26"/>
                </a:lnTo>
                <a:lnTo>
                  <a:pt x="111" y="126"/>
                </a:lnTo>
                <a:lnTo>
                  <a:pt x="9" y="216"/>
                </a:lnTo>
                <a:lnTo>
                  <a:pt x="0" y="20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1" name="Freeform 173"/>
          <p:cNvSpPr>
            <a:spLocks/>
          </p:cNvSpPr>
          <p:nvPr/>
        </p:nvSpPr>
        <p:spPr bwMode="auto">
          <a:xfrm>
            <a:off x="4819650" y="4803775"/>
            <a:ext cx="184150" cy="171450"/>
          </a:xfrm>
          <a:custGeom>
            <a:avLst/>
            <a:gdLst>
              <a:gd name="T0" fmla="*/ 0 w 134"/>
              <a:gd name="T1" fmla="*/ 2147483647 h 117"/>
              <a:gd name="T2" fmla="*/ 0 w 134"/>
              <a:gd name="T3" fmla="*/ 2147483647 h 117"/>
              <a:gd name="T4" fmla="*/ 2147483647 w 134"/>
              <a:gd name="T5" fmla="*/ 2147483647 h 117"/>
              <a:gd name="T6" fmla="*/ 2147483647 w 134"/>
              <a:gd name="T7" fmla="*/ 2147483647 h 117"/>
              <a:gd name="T8" fmla="*/ 2147483647 w 134"/>
              <a:gd name="T9" fmla="*/ 2147483647 h 117"/>
              <a:gd name="T10" fmla="*/ 2147483647 w 134"/>
              <a:gd name="T11" fmla="*/ 0 h 117"/>
              <a:gd name="T12" fmla="*/ 2147483647 w 134"/>
              <a:gd name="T13" fmla="*/ 2147483647 h 117"/>
              <a:gd name="T14" fmla="*/ 2147483647 w 134"/>
              <a:gd name="T15" fmla="*/ 2147483647 h 117"/>
              <a:gd name="T16" fmla="*/ 2147483647 w 134"/>
              <a:gd name="T17" fmla="*/ 2147483647 h 117"/>
              <a:gd name="T18" fmla="*/ 2147483647 w 134"/>
              <a:gd name="T19" fmla="*/ 2147483647 h 117"/>
              <a:gd name="T20" fmla="*/ 2147483647 w 134"/>
              <a:gd name="T21" fmla="*/ 2147483647 h 117"/>
              <a:gd name="T22" fmla="*/ 2147483647 w 134"/>
              <a:gd name="T23" fmla="*/ 2147483647 h 117"/>
              <a:gd name="T24" fmla="*/ 0 w 134"/>
              <a:gd name="T25" fmla="*/ 2147483647 h 1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4"/>
              <a:gd name="T40" fmla="*/ 0 h 117"/>
              <a:gd name="T41" fmla="*/ 134 w 134"/>
              <a:gd name="T42" fmla="*/ 117 h 11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4" h="117">
                <a:moveTo>
                  <a:pt x="0" y="37"/>
                </a:moveTo>
                <a:lnTo>
                  <a:pt x="0" y="36"/>
                </a:lnTo>
                <a:lnTo>
                  <a:pt x="31" y="37"/>
                </a:lnTo>
                <a:lnTo>
                  <a:pt x="60" y="16"/>
                </a:lnTo>
                <a:lnTo>
                  <a:pt x="60" y="6"/>
                </a:lnTo>
                <a:lnTo>
                  <a:pt x="87" y="0"/>
                </a:lnTo>
                <a:lnTo>
                  <a:pt x="127" y="14"/>
                </a:lnTo>
                <a:lnTo>
                  <a:pt x="133" y="31"/>
                </a:lnTo>
                <a:lnTo>
                  <a:pt x="131" y="71"/>
                </a:lnTo>
                <a:lnTo>
                  <a:pt x="108" y="116"/>
                </a:lnTo>
                <a:lnTo>
                  <a:pt x="71" y="107"/>
                </a:lnTo>
                <a:lnTo>
                  <a:pt x="47" y="96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2" name="Freeform 174"/>
          <p:cNvSpPr>
            <a:spLocks/>
          </p:cNvSpPr>
          <p:nvPr/>
        </p:nvSpPr>
        <p:spPr bwMode="auto">
          <a:xfrm>
            <a:off x="4510088" y="4833938"/>
            <a:ext cx="311150" cy="296862"/>
          </a:xfrm>
          <a:custGeom>
            <a:avLst/>
            <a:gdLst>
              <a:gd name="T0" fmla="*/ 0 w 226"/>
              <a:gd name="T1" fmla="*/ 2147483647 h 203"/>
              <a:gd name="T2" fmla="*/ 2147483647 w 226"/>
              <a:gd name="T3" fmla="*/ 0 h 203"/>
              <a:gd name="T4" fmla="*/ 2147483647 w 226"/>
              <a:gd name="T5" fmla="*/ 2147483647 h 203"/>
              <a:gd name="T6" fmla="*/ 2147483647 w 226"/>
              <a:gd name="T7" fmla="*/ 2147483647 h 203"/>
              <a:gd name="T8" fmla="*/ 2147483647 w 226"/>
              <a:gd name="T9" fmla="*/ 2147483647 h 203"/>
              <a:gd name="T10" fmla="*/ 2147483647 w 226"/>
              <a:gd name="T11" fmla="*/ 2147483647 h 203"/>
              <a:gd name="T12" fmla="*/ 2147483647 w 226"/>
              <a:gd name="T13" fmla="*/ 2147483647 h 203"/>
              <a:gd name="T14" fmla="*/ 2147483647 w 226"/>
              <a:gd name="T15" fmla="*/ 2147483647 h 203"/>
              <a:gd name="T16" fmla="*/ 2147483647 w 226"/>
              <a:gd name="T17" fmla="*/ 2147483647 h 203"/>
              <a:gd name="T18" fmla="*/ 2147483647 w 226"/>
              <a:gd name="T19" fmla="*/ 2147483647 h 203"/>
              <a:gd name="T20" fmla="*/ 2147483647 w 226"/>
              <a:gd name="T21" fmla="*/ 2147483647 h 203"/>
              <a:gd name="T22" fmla="*/ 2147483647 w 226"/>
              <a:gd name="T23" fmla="*/ 2147483647 h 203"/>
              <a:gd name="T24" fmla="*/ 2147483647 w 226"/>
              <a:gd name="T25" fmla="*/ 2147483647 h 203"/>
              <a:gd name="T26" fmla="*/ 2147483647 w 226"/>
              <a:gd name="T27" fmla="*/ 2147483647 h 203"/>
              <a:gd name="T28" fmla="*/ 2147483647 w 226"/>
              <a:gd name="T29" fmla="*/ 2147483647 h 203"/>
              <a:gd name="T30" fmla="*/ 2147483647 w 226"/>
              <a:gd name="T31" fmla="*/ 2147483647 h 203"/>
              <a:gd name="T32" fmla="*/ 2147483647 w 226"/>
              <a:gd name="T33" fmla="*/ 2147483647 h 203"/>
              <a:gd name="T34" fmla="*/ 2147483647 w 226"/>
              <a:gd name="T35" fmla="*/ 2147483647 h 203"/>
              <a:gd name="T36" fmla="*/ 2147483647 w 226"/>
              <a:gd name="T37" fmla="*/ 2147483647 h 203"/>
              <a:gd name="T38" fmla="*/ 2147483647 w 226"/>
              <a:gd name="T39" fmla="*/ 2147483647 h 203"/>
              <a:gd name="T40" fmla="*/ 0 w 226"/>
              <a:gd name="T41" fmla="*/ 2147483647 h 20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226"/>
              <a:gd name="T64" fmla="*/ 0 h 203"/>
              <a:gd name="T65" fmla="*/ 226 w 226"/>
              <a:gd name="T66" fmla="*/ 203 h 20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226" h="203">
                <a:moveTo>
                  <a:pt x="0" y="7"/>
                </a:moveTo>
                <a:lnTo>
                  <a:pt x="25" y="0"/>
                </a:lnTo>
                <a:lnTo>
                  <a:pt x="165" y="20"/>
                </a:lnTo>
                <a:lnTo>
                  <a:pt x="194" y="13"/>
                </a:lnTo>
                <a:lnTo>
                  <a:pt x="225" y="15"/>
                </a:lnTo>
                <a:lnTo>
                  <a:pt x="225" y="16"/>
                </a:lnTo>
                <a:lnTo>
                  <a:pt x="199" y="29"/>
                </a:lnTo>
                <a:lnTo>
                  <a:pt x="187" y="20"/>
                </a:lnTo>
                <a:lnTo>
                  <a:pt x="155" y="28"/>
                </a:lnTo>
                <a:lnTo>
                  <a:pt x="155" y="84"/>
                </a:lnTo>
                <a:lnTo>
                  <a:pt x="138" y="85"/>
                </a:lnTo>
                <a:lnTo>
                  <a:pt x="138" y="130"/>
                </a:lnTo>
                <a:lnTo>
                  <a:pt x="138" y="194"/>
                </a:lnTo>
                <a:lnTo>
                  <a:pt x="123" y="202"/>
                </a:lnTo>
                <a:lnTo>
                  <a:pt x="102" y="202"/>
                </a:lnTo>
                <a:lnTo>
                  <a:pt x="91" y="189"/>
                </a:lnTo>
                <a:lnTo>
                  <a:pt x="81" y="196"/>
                </a:lnTo>
                <a:lnTo>
                  <a:pt x="59" y="174"/>
                </a:lnTo>
                <a:lnTo>
                  <a:pt x="48" y="103"/>
                </a:lnTo>
                <a:lnTo>
                  <a:pt x="48" y="95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3" name="Freeform 175"/>
          <p:cNvSpPr>
            <a:spLocks/>
          </p:cNvSpPr>
          <p:nvPr/>
        </p:nvSpPr>
        <p:spPr bwMode="auto">
          <a:xfrm>
            <a:off x="4692650" y="2149475"/>
            <a:ext cx="3948113" cy="1452563"/>
          </a:xfrm>
          <a:custGeom>
            <a:avLst/>
            <a:gdLst>
              <a:gd name="T0" fmla="*/ 2147483647 w 2867"/>
              <a:gd name="T1" fmla="*/ 2147483647 h 993"/>
              <a:gd name="T2" fmla="*/ 2147483647 w 2867"/>
              <a:gd name="T3" fmla="*/ 2147483647 h 993"/>
              <a:gd name="T4" fmla="*/ 2147483647 w 2867"/>
              <a:gd name="T5" fmla="*/ 2147483647 h 993"/>
              <a:gd name="T6" fmla="*/ 2147483647 w 2867"/>
              <a:gd name="T7" fmla="*/ 2147483647 h 993"/>
              <a:gd name="T8" fmla="*/ 2147483647 w 2867"/>
              <a:gd name="T9" fmla="*/ 2147483647 h 993"/>
              <a:gd name="T10" fmla="*/ 2147483647 w 2867"/>
              <a:gd name="T11" fmla="*/ 2147483647 h 993"/>
              <a:gd name="T12" fmla="*/ 2147483647 w 2867"/>
              <a:gd name="T13" fmla="*/ 2147483647 h 993"/>
              <a:gd name="T14" fmla="*/ 2147483647 w 2867"/>
              <a:gd name="T15" fmla="*/ 2147483647 h 993"/>
              <a:gd name="T16" fmla="*/ 2147483647 w 2867"/>
              <a:gd name="T17" fmla="*/ 2147483647 h 993"/>
              <a:gd name="T18" fmla="*/ 2147483647 w 2867"/>
              <a:gd name="T19" fmla="*/ 2147483647 h 993"/>
              <a:gd name="T20" fmla="*/ 2147483647 w 2867"/>
              <a:gd name="T21" fmla="*/ 2147483647 h 993"/>
              <a:gd name="T22" fmla="*/ 2147483647 w 2867"/>
              <a:gd name="T23" fmla="*/ 2147483647 h 993"/>
              <a:gd name="T24" fmla="*/ 2147483647 w 2867"/>
              <a:gd name="T25" fmla="*/ 2147483647 h 993"/>
              <a:gd name="T26" fmla="*/ 2147483647 w 2867"/>
              <a:gd name="T27" fmla="*/ 2147483647 h 993"/>
              <a:gd name="T28" fmla="*/ 2147483647 w 2867"/>
              <a:gd name="T29" fmla="*/ 2147483647 h 993"/>
              <a:gd name="T30" fmla="*/ 2147483647 w 2867"/>
              <a:gd name="T31" fmla="*/ 2147483647 h 993"/>
              <a:gd name="T32" fmla="*/ 2147483647 w 2867"/>
              <a:gd name="T33" fmla="*/ 2147483647 h 993"/>
              <a:gd name="T34" fmla="*/ 2147483647 w 2867"/>
              <a:gd name="T35" fmla="*/ 2147483647 h 993"/>
              <a:gd name="T36" fmla="*/ 2147483647 w 2867"/>
              <a:gd name="T37" fmla="*/ 2147483647 h 993"/>
              <a:gd name="T38" fmla="*/ 2147483647 w 2867"/>
              <a:gd name="T39" fmla="*/ 2147483647 h 993"/>
              <a:gd name="T40" fmla="*/ 2147483647 w 2867"/>
              <a:gd name="T41" fmla="*/ 2147483647 h 993"/>
              <a:gd name="T42" fmla="*/ 2147483647 w 2867"/>
              <a:gd name="T43" fmla="*/ 2147483647 h 993"/>
              <a:gd name="T44" fmla="*/ 2147483647 w 2867"/>
              <a:gd name="T45" fmla="*/ 2147483647 h 993"/>
              <a:gd name="T46" fmla="*/ 2147483647 w 2867"/>
              <a:gd name="T47" fmla="*/ 2147483647 h 993"/>
              <a:gd name="T48" fmla="*/ 2147483647 w 2867"/>
              <a:gd name="T49" fmla="*/ 2147483647 h 993"/>
              <a:gd name="T50" fmla="*/ 2147483647 w 2867"/>
              <a:gd name="T51" fmla="*/ 2147483647 h 993"/>
              <a:gd name="T52" fmla="*/ 2147483647 w 2867"/>
              <a:gd name="T53" fmla="*/ 2147483647 h 993"/>
              <a:gd name="T54" fmla="*/ 2147483647 w 2867"/>
              <a:gd name="T55" fmla="*/ 2147483647 h 993"/>
              <a:gd name="T56" fmla="*/ 2147483647 w 2867"/>
              <a:gd name="T57" fmla="*/ 2147483647 h 993"/>
              <a:gd name="T58" fmla="*/ 2147483647 w 2867"/>
              <a:gd name="T59" fmla="*/ 2147483647 h 993"/>
              <a:gd name="T60" fmla="*/ 2147483647 w 2867"/>
              <a:gd name="T61" fmla="*/ 2147483647 h 993"/>
              <a:gd name="T62" fmla="*/ 2147483647 w 2867"/>
              <a:gd name="T63" fmla="*/ 2147483647 h 993"/>
              <a:gd name="T64" fmla="*/ 2147483647 w 2867"/>
              <a:gd name="T65" fmla="*/ 2147483647 h 993"/>
              <a:gd name="T66" fmla="*/ 2147483647 w 2867"/>
              <a:gd name="T67" fmla="*/ 2147483647 h 993"/>
              <a:gd name="T68" fmla="*/ 2147483647 w 2867"/>
              <a:gd name="T69" fmla="*/ 2147483647 h 993"/>
              <a:gd name="T70" fmla="*/ 2147483647 w 2867"/>
              <a:gd name="T71" fmla="*/ 2147483647 h 993"/>
              <a:gd name="T72" fmla="*/ 2147483647 w 2867"/>
              <a:gd name="T73" fmla="*/ 2147483647 h 993"/>
              <a:gd name="T74" fmla="*/ 2147483647 w 2867"/>
              <a:gd name="T75" fmla="*/ 2147483647 h 993"/>
              <a:gd name="T76" fmla="*/ 2147483647 w 2867"/>
              <a:gd name="T77" fmla="*/ 2147483647 h 993"/>
              <a:gd name="T78" fmla="*/ 2147483647 w 2867"/>
              <a:gd name="T79" fmla="*/ 2147483647 h 993"/>
              <a:gd name="T80" fmla="*/ 2147483647 w 2867"/>
              <a:gd name="T81" fmla="*/ 2147483647 h 993"/>
              <a:gd name="T82" fmla="*/ 2147483647 w 2867"/>
              <a:gd name="T83" fmla="*/ 2147483647 h 993"/>
              <a:gd name="T84" fmla="*/ 2147483647 w 2867"/>
              <a:gd name="T85" fmla="*/ 2147483647 h 993"/>
              <a:gd name="T86" fmla="*/ 2147483647 w 2867"/>
              <a:gd name="T87" fmla="*/ 2147483647 h 993"/>
              <a:gd name="T88" fmla="*/ 2147483647 w 2867"/>
              <a:gd name="T89" fmla="*/ 2147483647 h 993"/>
              <a:gd name="T90" fmla="*/ 2147483647 w 2867"/>
              <a:gd name="T91" fmla="*/ 2147483647 h 993"/>
              <a:gd name="T92" fmla="*/ 2147483647 w 2867"/>
              <a:gd name="T93" fmla="*/ 2147483647 h 993"/>
              <a:gd name="T94" fmla="*/ 2147483647 w 2867"/>
              <a:gd name="T95" fmla="*/ 2147483647 h 993"/>
              <a:gd name="T96" fmla="*/ 2147483647 w 2867"/>
              <a:gd name="T97" fmla="*/ 2147483647 h 993"/>
              <a:gd name="T98" fmla="*/ 2147483647 w 2867"/>
              <a:gd name="T99" fmla="*/ 2147483647 h 993"/>
              <a:gd name="T100" fmla="*/ 2147483647 w 2867"/>
              <a:gd name="T101" fmla="*/ 2147483647 h 993"/>
              <a:gd name="T102" fmla="*/ 2147483647 w 2867"/>
              <a:gd name="T103" fmla="*/ 2147483647 h 993"/>
              <a:gd name="T104" fmla="*/ 2147483647 w 2867"/>
              <a:gd name="T105" fmla="*/ 2147483647 h 993"/>
              <a:gd name="T106" fmla="*/ 2147483647 w 2867"/>
              <a:gd name="T107" fmla="*/ 2147483647 h 993"/>
              <a:gd name="T108" fmla="*/ 2147483647 w 2867"/>
              <a:gd name="T109" fmla="*/ 2147483647 h 993"/>
              <a:gd name="T110" fmla="*/ 2147483647 w 2867"/>
              <a:gd name="T111" fmla="*/ 2147483647 h 993"/>
              <a:gd name="T112" fmla="*/ 2147483647 w 2867"/>
              <a:gd name="T113" fmla="*/ 2147483647 h 993"/>
              <a:gd name="T114" fmla="*/ 2147483647 w 2867"/>
              <a:gd name="T115" fmla="*/ 2147483647 h 993"/>
              <a:gd name="T116" fmla="*/ 2147483647 w 2867"/>
              <a:gd name="T117" fmla="*/ 2147483647 h 993"/>
              <a:gd name="T118" fmla="*/ 2147483647 w 2867"/>
              <a:gd name="T119" fmla="*/ 2147483647 h 993"/>
              <a:gd name="T120" fmla="*/ 2147483647 w 2867"/>
              <a:gd name="T121" fmla="*/ 2147483647 h 993"/>
              <a:gd name="T122" fmla="*/ 2147483647 w 2867"/>
              <a:gd name="T123" fmla="*/ 2147483647 h 993"/>
              <a:gd name="T124" fmla="*/ 2147483647 w 2867"/>
              <a:gd name="T125" fmla="*/ 2147483647 h 99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867"/>
              <a:gd name="T190" fmla="*/ 0 h 993"/>
              <a:gd name="T191" fmla="*/ 2867 w 2867"/>
              <a:gd name="T192" fmla="*/ 993 h 99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867" h="993">
                <a:moveTo>
                  <a:pt x="0" y="616"/>
                </a:moveTo>
                <a:lnTo>
                  <a:pt x="25" y="598"/>
                </a:lnTo>
                <a:lnTo>
                  <a:pt x="17" y="604"/>
                </a:lnTo>
                <a:lnTo>
                  <a:pt x="27" y="607"/>
                </a:lnTo>
                <a:lnTo>
                  <a:pt x="25" y="566"/>
                </a:lnTo>
                <a:lnTo>
                  <a:pt x="35" y="548"/>
                </a:lnTo>
                <a:lnTo>
                  <a:pt x="49" y="544"/>
                </a:lnTo>
                <a:lnTo>
                  <a:pt x="77" y="562"/>
                </a:lnTo>
                <a:lnTo>
                  <a:pt x="81" y="529"/>
                </a:lnTo>
                <a:lnTo>
                  <a:pt x="69" y="529"/>
                </a:lnTo>
                <a:lnTo>
                  <a:pt x="67" y="509"/>
                </a:lnTo>
                <a:lnTo>
                  <a:pt x="179" y="493"/>
                </a:lnTo>
                <a:lnTo>
                  <a:pt x="151" y="484"/>
                </a:lnTo>
                <a:lnTo>
                  <a:pt x="153" y="474"/>
                </a:lnTo>
                <a:lnTo>
                  <a:pt x="136" y="478"/>
                </a:lnTo>
                <a:lnTo>
                  <a:pt x="199" y="427"/>
                </a:lnTo>
                <a:lnTo>
                  <a:pt x="170" y="373"/>
                </a:lnTo>
                <a:lnTo>
                  <a:pt x="177" y="349"/>
                </a:lnTo>
                <a:lnTo>
                  <a:pt x="162" y="319"/>
                </a:lnTo>
                <a:lnTo>
                  <a:pt x="175" y="301"/>
                </a:lnTo>
                <a:lnTo>
                  <a:pt x="151" y="279"/>
                </a:lnTo>
                <a:lnTo>
                  <a:pt x="159" y="262"/>
                </a:lnTo>
                <a:lnTo>
                  <a:pt x="189" y="242"/>
                </a:lnTo>
                <a:lnTo>
                  <a:pt x="206" y="237"/>
                </a:lnTo>
                <a:lnTo>
                  <a:pt x="227" y="243"/>
                </a:lnTo>
                <a:lnTo>
                  <a:pt x="209" y="249"/>
                </a:lnTo>
                <a:lnTo>
                  <a:pt x="225" y="256"/>
                </a:lnTo>
                <a:lnTo>
                  <a:pt x="273" y="258"/>
                </a:lnTo>
                <a:lnTo>
                  <a:pt x="361" y="301"/>
                </a:lnTo>
                <a:lnTo>
                  <a:pt x="363" y="323"/>
                </a:lnTo>
                <a:lnTo>
                  <a:pt x="324" y="342"/>
                </a:lnTo>
                <a:lnTo>
                  <a:pt x="209" y="316"/>
                </a:lnTo>
                <a:lnTo>
                  <a:pt x="256" y="348"/>
                </a:lnTo>
                <a:lnTo>
                  <a:pt x="254" y="384"/>
                </a:lnTo>
                <a:lnTo>
                  <a:pt x="304" y="400"/>
                </a:lnTo>
                <a:lnTo>
                  <a:pt x="314" y="398"/>
                </a:lnTo>
                <a:lnTo>
                  <a:pt x="307" y="384"/>
                </a:lnTo>
                <a:lnTo>
                  <a:pt x="288" y="376"/>
                </a:lnTo>
                <a:lnTo>
                  <a:pt x="291" y="364"/>
                </a:lnTo>
                <a:lnTo>
                  <a:pt x="311" y="379"/>
                </a:lnTo>
                <a:lnTo>
                  <a:pt x="359" y="384"/>
                </a:lnTo>
                <a:lnTo>
                  <a:pt x="340" y="355"/>
                </a:lnTo>
                <a:lnTo>
                  <a:pt x="382" y="330"/>
                </a:lnTo>
                <a:lnTo>
                  <a:pt x="414" y="348"/>
                </a:lnTo>
                <a:lnTo>
                  <a:pt x="412" y="281"/>
                </a:lnTo>
                <a:lnTo>
                  <a:pt x="398" y="272"/>
                </a:lnTo>
                <a:lnTo>
                  <a:pt x="451" y="287"/>
                </a:lnTo>
                <a:lnTo>
                  <a:pt x="456" y="295"/>
                </a:lnTo>
                <a:lnTo>
                  <a:pt x="427" y="306"/>
                </a:lnTo>
                <a:lnTo>
                  <a:pt x="456" y="327"/>
                </a:lnTo>
                <a:lnTo>
                  <a:pt x="479" y="301"/>
                </a:lnTo>
                <a:lnTo>
                  <a:pt x="574" y="265"/>
                </a:lnTo>
                <a:lnTo>
                  <a:pt x="589" y="264"/>
                </a:lnTo>
                <a:lnTo>
                  <a:pt x="574" y="269"/>
                </a:lnTo>
                <a:lnTo>
                  <a:pt x="590" y="287"/>
                </a:lnTo>
                <a:lnTo>
                  <a:pt x="662" y="264"/>
                </a:lnTo>
                <a:lnTo>
                  <a:pt x="675" y="280"/>
                </a:lnTo>
                <a:lnTo>
                  <a:pt x="694" y="266"/>
                </a:lnTo>
                <a:lnTo>
                  <a:pt x="684" y="247"/>
                </a:lnTo>
                <a:lnTo>
                  <a:pt x="694" y="241"/>
                </a:lnTo>
                <a:lnTo>
                  <a:pt x="748" y="249"/>
                </a:lnTo>
                <a:lnTo>
                  <a:pt x="817" y="286"/>
                </a:lnTo>
                <a:lnTo>
                  <a:pt x="831" y="267"/>
                </a:lnTo>
                <a:lnTo>
                  <a:pt x="815" y="249"/>
                </a:lnTo>
                <a:lnTo>
                  <a:pt x="794" y="247"/>
                </a:lnTo>
                <a:lnTo>
                  <a:pt x="804" y="216"/>
                </a:lnTo>
                <a:lnTo>
                  <a:pt x="788" y="213"/>
                </a:lnTo>
                <a:lnTo>
                  <a:pt x="794" y="200"/>
                </a:lnTo>
                <a:lnTo>
                  <a:pt x="820" y="185"/>
                </a:lnTo>
                <a:lnTo>
                  <a:pt x="836" y="151"/>
                </a:lnTo>
                <a:lnTo>
                  <a:pt x="874" y="151"/>
                </a:lnTo>
                <a:lnTo>
                  <a:pt x="892" y="157"/>
                </a:lnTo>
                <a:lnTo>
                  <a:pt x="877" y="193"/>
                </a:lnTo>
                <a:lnTo>
                  <a:pt x="893" y="212"/>
                </a:lnTo>
                <a:lnTo>
                  <a:pt x="888" y="263"/>
                </a:lnTo>
                <a:lnTo>
                  <a:pt x="904" y="279"/>
                </a:lnTo>
                <a:lnTo>
                  <a:pt x="899" y="299"/>
                </a:lnTo>
                <a:lnTo>
                  <a:pt x="869" y="312"/>
                </a:lnTo>
                <a:lnTo>
                  <a:pt x="879" y="319"/>
                </a:lnTo>
                <a:lnTo>
                  <a:pt x="843" y="326"/>
                </a:lnTo>
                <a:lnTo>
                  <a:pt x="882" y="338"/>
                </a:lnTo>
                <a:lnTo>
                  <a:pt x="926" y="299"/>
                </a:lnTo>
                <a:lnTo>
                  <a:pt x="920" y="272"/>
                </a:lnTo>
                <a:lnTo>
                  <a:pt x="935" y="267"/>
                </a:lnTo>
                <a:lnTo>
                  <a:pt x="957" y="265"/>
                </a:lnTo>
                <a:lnTo>
                  <a:pt x="971" y="278"/>
                </a:lnTo>
                <a:lnTo>
                  <a:pt x="968" y="298"/>
                </a:lnTo>
                <a:lnTo>
                  <a:pt x="996" y="302"/>
                </a:lnTo>
                <a:lnTo>
                  <a:pt x="974" y="297"/>
                </a:lnTo>
                <a:lnTo>
                  <a:pt x="983" y="284"/>
                </a:lnTo>
                <a:lnTo>
                  <a:pt x="976" y="267"/>
                </a:lnTo>
                <a:lnTo>
                  <a:pt x="909" y="258"/>
                </a:lnTo>
                <a:lnTo>
                  <a:pt x="919" y="217"/>
                </a:lnTo>
                <a:lnTo>
                  <a:pt x="898" y="192"/>
                </a:lnTo>
                <a:lnTo>
                  <a:pt x="930" y="170"/>
                </a:lnTo>
                <a:lnTo>
                  <a:pt x="927" y="155"/>
                </a:lnTo>
                <a:lnTo>
                  <a:pt x="940" y="163"/>
                </a:lnTo>
                <a:lnTo>
                  <a:pt x="934" y="197"/>
                </a:lnTo>
                <a:lnTo>
                  <a:pt x="945" y="200"/>
                </a:lnTo>
                <a:lnTo>
                  <a:pt x="988" y="209"/>
                </a:lnTo>
                <a:lnTo>
                  <a:pt x="948" y="183"/>
                </a:lnTo>
                <a:lnTo>
                  <a:pt x="978" y="183"/>
                </a:lnTo>
                <a:lnTo>
                  <a:pt x="972" y="174"/>
                </a:lnTo>
                <a:lnTo>
                  <a:pt x="988" y="169"/>
                </a:lnTo>
                <a:lnTo>
                  <a:pt x="1071" y="190"/>
                </a:lnTo>
                <a:lnTo>
                  <a:pt x="1053" y="204"/>
                </a:lnTo>
                <a:lnTo>
                  <a:pt x="1052" y="222"/>
                </a:lnTo>
                <a:lnTo>
                  <a:pt x="1068" y="234"/>
                </a:lnTo>
                <a:lnTo>
                  <a:pt x="1077" y="190"/>
                </a:lnTo>
                <a:lnTo>
                  <a:pt x="1031" y="166"/>
                </a:lnTo>
                <a:lnTo>
                  <a:pt x="1024" y="133"/>
                </a:lnTo>
                <a:lnTo>
                  <a:pt x="1126" y="122"/>
                </a:lnTo>
                <a:lnTo>
                  <a:pt x="1113" y="93"/>
                </a:lnTo>
                <a:lnTo>
                  <a:pt x="1126" y="99"/>
                </a:lnTo>
                <a:lnTo>
                  <a:pt x="1143" y="86"/>
                </a:lnTo>
                <a:lnTo>
                  <a:pt x="1131" y="84"/>
                </a:lnTo>
                <a:lnTo>
                  <a:pt x="1237" y="62"/>
                </a:lnTo>
                <a:lnTo>
                  <a:pt x="1230" y="53"/>
                </a:lnTo>
                <a:lnTo>
                  <a:pt x="1279" y="51"/>
                </a:lnTo>
                <a:lnTo>
                  <a:pt x="1277" y="60"/>
                </a:lnTo>
                <a:lnTo>
                  <a:pt x="1290" y="60"/>
                </a:lnTo>
                <a:lnTo>
                  <a:pt x="1327" y="48"/>
                </a:lnTo>
                <a:lnTo>
                  <a:pt x="1345" y="55"/>
                </a:lnTo>
                <a:lnTo>
                  <a:pt x="1329" y="40"/>
                </a:lnTo>
                <a:lnTo>
                  <a:pt x="1371" y="37"/>
                </a:lnTo>
                <a:lnTo>
                  <a:pt x="1371" y="22"/>
                </a:lnTo>
                <a:lnTo>
                  <a:pt x="1419" y="0"/>
                </a:lnTo>
                <a:lnTo>
                  <a:pt x="1452" y="12"/>
                </a:lnTo>
                <a:lnTo>
                  <a:pt x="1423" y="26"/>
                </a:lnTo>
                <a:lnTo>
                  <a:pt x="1473" y="24"/>
                </a:lnTo>
                <a:lnTo>
                  <a:pt x="1453" y="40"/>
                </a:lnTo>
                <a:lnTo>
                  <a:pt x="1537" y="33"/>
                </a:lnTo>
                <a:lnTo>
                  <a:pt x="1582" y="60"/>
                </a:lnTo>
                <a:lnTo>
                  <a:pt x="1574" y="70"/>
                </a:lnTo>
                <a:lnTo>
                  <a:pt x="1560" y="62"/>
                </a:lnTo>
                <a:lnTo>
                  <a:pt x="1581" y="71"/>
                </a:lnTo>
                <a:lnTo>
                  <a:pt x="1571" y="85"/>
                </a:lnTo>
                <a:lnTo>
                  <a:pt x="1419" y="162"/>
                </a:lnTo>
                <a:lnTo>
                  <a:pt x="1466" y="152"/>
                </a:lnTo>
                <a:lnTo>
                  <a:pt x="1457" y="144"/>
                </a:lnTo>
                <a:lnTo>
                  <a:pt x="1532" y="129"/>
                </a:lnTo>
                <a:lnTo>
                  <a:pt x="1513" y="130"/>
                </a:lnTo>
                <a:lnTo>
                  <a:pt x="1518" y="117"/>
                </a:lnTo>
                <a:lnTo>
                  <a:pt x="1560" y="129"/>
                </a:lnTo>
                <a:lnTo>
                  <a:pt x="1566" y="117"/>
                </a:lnTo>
                <a:lnTo>
                  <a:pt x="1576" y="143"/>
                </a:lnTo>
                <a:lnTo>
                  <a:pt x="1597" y="144"/>
                </a:lnTo>
                <a:lnTo>
                  <a:pt x="1577" y="133"/>
                </a:lnTo>
                <a:lnTo>
                  <a:pt x="1616" y="129"/>
                </a:lnTo>
                <a:lnTo>
                  <a:pt x="1665" y="133"/>
                </a:lnTo>
                <a:lnTo>
                  <a:pt x="1662" y="144"/>
                </a:lnTo>
                <a:lnTo>
                  <a:pt x="1703" y="151"/>
                </a:lnTo>
                <a:lnTo>
                  <a:pt x="1741" y="148"/>
                </a:lnTo>
                <a:lnTo>
                  <a:pt x="1742" y="126"/>
                </a:lnTo>
                <a:lnTo>
                  <a:pt x="1753" y="122"/>
                </a:lnTo>
                <a:lnTo>
                  <a:pt x="1846" y="148"/>
                </a:lnTo>
                <a:lnTo>
                  <a:pt x="1834" y="190"/>
                </a:lnTo>
                <a:lnTo>
                  <a:pt x="1876" y="216"/>
                </a:lnTo>
                <a:lnTo>
                  <a:pt x="1900" y="179"/>
                </a:lnTo>
                <a:lnTo>
                  <a:pt x="1916" y="197"/>
                </a:lnTo>
                <a:lnTo>
                  <a:pt x="1947" y="190"/>
                </a:lnTo>
                <a:lnTo>
                  <a:pt x="1988" y="204"/>
                </a:lnTo>
                <a:lnTo>
                  <a:pt x="2021" y="194"/>
                </a:lnTo>
                <a:lnTo>
                  <a:pt x="2019" y="178"/>
                </a:lnTo>
                <a:lnTo>
                  <a:pt x="2040" y="154"/>
                </a:lnTo>
                <a:lnTo>
                  <a:pt x="2179" y="172"/>
                </a:lnTo>
                <a:lnTo>
                  <a:pt x="2191" y="183"/>
                </a:lnTo>
                <a:lnTo>
                  <a:pt x="2173" y="188"/>
                </a:lnTo>
                <a:lnTo>
                  <a:pt x="2218" y="194"/>
                </a:lnTo>
                <a:lnTo>
                  <a:pt x="2234" y="213"/>
                </a:lnTo>
                <a:lnTo>
                  <a:pt x="2339" y="209"/>
                </a:lnTo>
                <a:lnTo>
                  <a:pt x="2357" y="223"/>
                </a:lnTo>
                <a:lnTo>
                  <a:pt x="2352" y="242"/>
                </a:lnTo>
                <a:lnTo>
                  <a:pt x="2382" y="254"/>
                </a:lnTo>
                <a:lnTo>
                  <a:pt x="2398" y="244"/>
                </a:lnTo>
                <a:lnTo>
                  <a:pt x="2472" y="250"/>
                </a:lnTo>
                <a:lnTo>
                  <a:pt x="2488" y="242"/>
                </a:lnTo>
                <a:lnTo>
                  <a:pt x="2496" y="257"/>
                </a:lnTo>
                <a:lnTo>
                  <a:pt x="2526" y="270"/>
                </a:lnTo>
                <a:lnTo>
                  <a:pt x="2542" y="262"/>
                </a:lnTo>
                <a:lnTo>
                  <a:pt x="2526" y="247"/>
                </a:lnTo>
                <a:lnTo>
                  <a:pt x="2535" y="234"/>
                </a:lnTo>
                <a:lnTo>
                  <a:pt x="2666" y="251"/>
                </a:lnTo>
                <a:lnTo>
                  <a:pt x="2752" y="300"/>
                </a:lnTo>
                <a:lnTo>
                  <a:pt x="2770" y="300"/>
                </a:lnTo>
                <a:lnTo>
                  <a:pt x="2792" y="335"/>
                </a:lnTo>
                <a:lnTo>
                  <a:pt x="2785" y="316"/>
                </a:lnTo>
                <a:lnTo>
                  <a:pt x="2798" y="314"/>
                </a:lnTo>
                <a:lnTo>
                  <a:pt x="2805" y="322"/>
                </a:lnTo>
                <a:lnTo>
                  <a:pt x="2831" y="319"/>
                </a:lnTo>
                <a:lnTo>
                  <a:pt x="2866" y="340"/>
                </a:lnTo>
                <a:lnTo>
                  <a:pt x="2817" y="363"/>
                </a:lnTo>
                <a:lnTo>
                  <a:pt x="2825" y="369"/>
                </a:lnTo>
                <a:lnTo>
                  <a:pt x="2809" y="376"/>
                </a:lnTo>
                <a:lnTo>
                  <a:pt x="2823" y="384"/>
                </a:lnTo>
                <a:lnTo>
                  <a:pt x="2792" y="385"/>
                </a:lnTo>
                <a:lnTo>
                  <a:pt x="2785" y="370"/>
                </a:lnTo>
                <a:lnTo>
                  <a:pt x="2771" y="376"/>
                </a:lnTo>
                <a:lnTo>
                  <a:pt x="2751" y="355"/>
                </a:lnTo>
                <a:lnTo>
                  <a:pt x="2719" y="355"/>
                </a:lnTo>
                <a:lnTo>
                  <a:pt x="2710" y="342"/>
                </a:lnTo>
                <a:lnTo>
                  <a:pt x="2719" y="335"/>
                </a:lnTo>
                <a:lnTo>
                  <a:pt x="2704" y="335"/>
                </a:lnTo>
                <a:lnTo>
                  <a:pt x="2694" y="340"/>
                </a:lnTo>
                <a:lnTo>
                  <a:pt x="2704" y="356"/>
                </a:lnTo>
                <a:lnTo>
                  <a:pt x="2697" y="364"/>
                </a:lnTo>
                <a:lnTo>
                  <a:pt x="2670" y="379"/>
                </a:lnTo>
                <a:lnTo>
                  <a:pt x="2650" y="376"/>
                </a:lnTo>
                <a:lnTo>
                  <a:pt x="2683" y="419"/>
                </a:lnTo>
                <a:lnTo>
                  <a:pt x="2677" y="435"/>
                </a:lnTo>
                <a:lnTo>
                  <a:pt x="2642" y="422"/>
                </a:lnTo>
                <a:lnTo>
                  <a:pt x="2645" y="431"/>
                </a:lnTo>
                <a:lnTo>
                  <a:pt x="2583" y="450"/>
                </a:lnTo>
                <a:lnTo>
                  <a:pt x="2530" y="493"/>
                </a:lnTo>
                <a:lnTo>
                  <a:pt x="2493" y="478"/>
                </a:lnTo>
                <a:lnTo>
                  <a:pt x="2460" y="497"/>
                </a:lnTo>
                <a:lnTo>
                  <a:pt x="2460" y="480"/>
                </a:lnTo>
                <a:lnTo>
                  <a:pt x="2441" y="497"/>
                </a:lnTo>
                <a:lnTo>
                  <a:pt x="2417" y="495"/>
                </a:lnTo>
                <a:lnTo>
                  <a:pt x="2391" y="536"/>
                </a:lnTo>
                <a:lnTo>
                  <a:pt x="2412" y="544"/>
                </a:lnTo>
                <a:lnTo>
                  <a:pt x="2403" y="558"/>
                </a:lnTo>
                <a:lnTo>
                  <a:pt x="2412" y="580"/>
                </a:lnTo>
                <a:lnTo>
                  <a:pt x="2394" y="576"/>
                </a:lnTo>
                <a:lnTo>
                  <a:pt x="2386" y="595"/>
                </a:lnTo>
                <a:lnTo>
                  <a:pt x="2392" y="613"/>
                </a:lnTo>
                <a:lnTo>
                  <a:pt x="2355" y="626"/>
                </a:lnTo>
                <a:lnTo>
                  <a:pt x="2357" y="644"/>
                </a:lnTo>
                <a:lnTo>
                  <a:pt x="2334" y="650"/>
                </a:lnTo>
                <a:lnTo>
                  <a:pt x="2328" y="672"/>
                </a:lnTo>
                <a:lnTo>
                  <a:pt x="2305" y="693"/>
                </a:lnTo>
                <a:lnTo>
                  <a:pt x="2284" y="613"/>
                </a:lnTo>
                <a:lnTo>
                  <a:pt x="2289" y="568"/>
                </a:lnTo>
                <a:lnTo>
                  <a:pt x="2305" y="542"/>
                </a:lnTo>
                <a:lnTo>
                  <a:pt x="2330" y="537"/>
                </a:lnTo>
                <a:lnTo>
                  <a:pt x="2391" y="481"/>
                </a:lnTo>
                <a:lnTo>
                  <a:pt x="2419" y="471"/>
                </a:lnTo>
                <a:lnTo>
                  <a:pt x="2428" y="438"/>
                </a:lnTo>
                <a:lnTo>
                  <a:pt x="2441" y="431"/>
                </a:lnTo>
                <a:lnTo>
                  <a:pt x="2418" y="431"/>
                </a:lnTo>
                <a:lnTo>
                  <a:pt x="2410" y="456"/>
                </a:lnTo>
                <a:lnTo>
                  <a:pt x="2361" y="478"/>
                </a:lnTo>
                <a:lnTo>
                  <a:pt x="2365" y="445"/>
                </a:lnTo>
                <a:lnTo>
                  <a:pt x="2312" y="451"/>
                </a:lnTo>
                <a:lnTo>
                  <a:pt x="2260" y="497"/>
                </a:lnTo>
                <a:lnTo>
                  <a:pt x="2272" y="513"/>
                </a:lnTo>
                <a:lnTo>
                  <a:pt x="2215" y="519"/>
                </a:lnTo>
                <a:lnTo>
                  <a:pt x="2208" y="514"/>
                </a:lnTo>
                <a:lnTo>
                  <a:pt x="2226" y="511"/>
                </a:lnTo>
                <a:lnTo>
                  <a:pt x="2181" y="499"/>
                </a:lnTo>
                <a:lnTo>
                  <a:pt x="2170" y="511"/>
                </a:lnTo>
                <a:lnTo>
                  <a:pt x="2066" y="511"/>
                </a:lnTo>
                <a:lnTo>
                  <a:pt x="1941" y="612"/>
                </a:lnTo>
                <a:lnTo>
                  <a:pt x="1968" y="614"/>
                </a:lnTo>
                <a:lnTo>
                  <a:pt x="1968" y="633"/>
                </a:lnTo>
                <a:lnTo>
                  <a:pt x="1982" y="622"/>
                </a:lnTo>
                <a:lnTo>
                  <a:pt x="1977" y="637"/>
                </a:lnTo>
                <a:lnTo>
                  <a:pt x="1997" y="629"/>
                </a:lnTo>
                <a:lnTo>
                  <a:pt x="1995" y="637"/>
                </a:lnTo>
                <a:lnTo>
                  <a:pt x="2000" y="622"/>
                </a:lnTo>
                <a:lnTo>
                  <a:pt x="2019" y="622"/>
                </a:lnTo>
                <a:lnTo>
                  <a:pt x="2045" y="642"/>
                </a:lnTo>
                <a:lnTo>
                  <a:pt x="2021" y="644"/>
                </a:lnTo>
                <a:lnTo>
                  <a:pt x="2041" y="651"/>
                </a:lnTo>
                <a:lnTo>
                  <a:pt x="2046" y="666"/>
                </a:lnTo>
                <a:lnTo>
                  <a:pt x="2030" y="697"/>
                </a:lnTo>
                <a:lnTo>
                  <a:pt x="2026" y="743"/>
                </a:lnTo>
                <a:lnTo>
                  <a:pt x="1940" y="842"/>
                </a:lnTo>
                <a:lnTo>
                  <a:pt x="1910" y="856"/>
                </a:lnTo>
                <a:lnTo>
                  <a:pt x="1886" y="842"/>
                </a:lnTo>
                <a:lnTo>
                  <a:pt x="1866" y="861"/>
                </a:lnTo>
                <a:lnTo>
                  <a:pt x="1863" y="858"/>
                </a:lnTo>
                <a:lnTo>
                  <a:pt x="1876" y="842"/>
                </a:lnTo>
                <a:lnTo>
                  <a:pt x="1871" y="818"/>
                </a:lnTo>
                <a:lnTo>
                  <a:pt x="1905" y="808"/>
                </a:lnTo>
                <a:lnTo>
                  <a:pt x="1935" y="742"/>
                </a:lnTo>
                <a:lnTo>
                  <a:pt x="1873" y="757"/>
                </a:lnTo>
                <a:lnTo>
                  <a:pt x="1863" y="733"/>
                </a:lnTo>
                <a:lnTo>
                  <a:pt x="1813" y="718"/>
                </a:lnTo>
                <a:lnTo>
                  <a:pt x="1782" y="650"/>
                </a:lnTo>
                <a:lnTo>
                  <a:pt x="1746" y="638"/>
                </a:lnTo>
                <a:lnTo>
                  <a:pt x="1687" y="656"/>
                </a:lnTo>
                <a:lnTo>
                  <a:pt x="1698" y="671"/>
                </a:lnTo>
                <a:lnTo>
                  <a:pt x="1672" y="709"/>
                </a:lnTo>
                <a:lnTo>
                  <a:pt x="1648" y="720"/>
                </a:lnTo>
                <a:lnTo>
                  <a:pt x="1625" y="712"/>
                </a:lnTo>
                <a:lnTo>
                  <a:pt x="1593" y="707"/>
                </a:lnTo>
                <a:lnTo>
                  <a:pt x="1513" y="726"/>
                </a:lnTo>
                <a:lnTo>
                  <a:pt x="1443" y="699"/>
                </a:lnTo>
                <a:lnTo>
                  <a:pt x="1400" y="704"/>
                </a:lnTo>
                <a:lnTo>
                  <a:pt x="1383" y="680"/>
                </a:lnTo>
                <a:lnTo>
                  <a:pt x="1339" y="666"/>
                </a:lnTo>
                <a:lnTo>
                  <a:pt x="1314" y="681"/>
                </a:lnTo>
                <a:lnTo>
                  <a:pt x="1313" y="712"/>
                </a:lnTo>
                <a:lnTo>
                  <a:pt x="1213" y="698"/>
                </a:lnTo>
                <a:lnTo>
                  <a:pt x="1146" y="731"/>
                </a:lnTo>
                <a:lnTo>
                  <a:pt x="1113" y="743"/>
                </a:lnTo>
                <a:lnTo>
                  <a:pt x="1108" y="770"/>
                </a:lnTo>
                <a:lnTo>
                  <a:pt x="1064" y="769"/>
                </a:lnTo>
                <a:lnTo>
                  <a:pt x="1055" y="806"/>
                </a:lnTo>
                <a:lnTo>
                  <a:pt x="1014" y="814"/>
                </a:lnTo>
                <a:lnTo>
                  <a:pt x="1026" y="842"/>
                </a:lnTo>
                <a:lnTo>
                  <a:pt x="1017" y="868"/>
                </a:lnTo>
                <a:lnTo>
                  <a:pt x="953" y="899"/>
                </a:lnTo>
                <a:lnTo>
                  <a:pt x="914" y="905"/>
                </a:lnTo>
                <a:lnTo>
                  <a:pt x="909" y="927"/>
                </a:lnTo>
                <a:lnTo>
                  <a:pt x="927" y="935"/>
                </a:lnTo>
                <a:lnTo>
                  <a:pt x="927" y="956"/>
                </a:lnTo>
                <a:lnTo>
                  <a:pt x="904" y="951"/>
                </a:lnTo>
                <a:lnTo>
                  <a:pt x="875" y="965"/>
                </a:lnTo>
                <a:lnTo>
                  <a:pt x="862" y="935"/>
                </a:lnTo>
                <a:lnTo>
                  <a:pt x="836" y="958"/>
                </a:lnTo>
                <a:lnTo>
                  <a:pt x="763" y="956"/>
                </a:lnTo>
                <a:lnTo>
                  <a:pt x="726" y="992"/>
                </a:lnTo>
                <a:lnTo>
                  <a:pt x="700" y="980"/>
                </a:lnTo>
                <a:lnTo>
                  <a:pt x="698" y="968"/>
                </a:lnTo>
                <a:lnTo>
                  <a:pt x="631" y="935"/>
                </a:lnTo>
                <a:lnTo>
                  <a:pt x="577" y="951"/>
                </a:lnTo>
                <a:lnTo>
                  <a:pt x="578" y="923"/>
                </a:lnTo>
                <a:lnTo>
                  <a:pt x="567" y="916"/>
                </a:lnTo>
                <a:lnTo>
                  <a:pt x="575" y="908"/>
                </a:lnTo>
                <a:lnTo>
                  <a:pt x="559" y="907"/>
                </a:lnTo>
                <a:lnTo>
                  <a:pt x="559" y="884"/>
                </a:lnTo>
                <a:lnTo>
                  <a:pt x="583" y="893"/>
                </a:lnTo>
                <a:lnTo>
                  <a:pt x="590" y="884"/>
                </a:lnTo>
                <a:lnTo>
                  <a:pt x="569" y="868"/>
                </a:lnTo>
                <a:lnTo>
                  <a:pt x="559" y="883"/>
                </a:lnTo>
                <a:lnTo>
                  <a:pt x="556" y="851"/>
                </a:lnTo>
                <a:lnTo>
                  <a:pt x="533" y="844"/>
                </a:lnTo>
                <a:lnTo>
                  <a:pt x="514" y="819"/>
                </a:lnTo>
                <a:lnTo>
                  <a:pt x="536" y="819"/>
                </a:lnTo>
                <a:lnTo>
                  <a:pt x="535" y="807"/>
                </a:lnTo>
                <a:lnTo>
                  <a:pt x="548" y="801"/>
                </a:lnTo>
                <a:lnTo>
                  <a:pt x="590" y="808"/>
                </a:lnTo>
                <a:lnTo>
                  <a:pt x="556" y="769"/>
                </a:lnTo>
                <a:lnTo>
                  <a:pt x="487" y="778"/>
                </a:lnTo>
                <a:lnTo>
                  <a:pt x="495" y="783"/>
                </a:lnTo>
                <a:lnTo>
                  <a:pt x="480" y="793"/>
                </a:lnTo>
                <a:lnTo>
                  <a:pt x="469" y="784"/>
                </a:lnTo>
                <a:lnTo>
                  <a:pt x="457" y="822"/>
                </a:lnTo>
                <a:lnTo>
                  <a:pt x="472" y="830"/>
                </a:lnTo>
                <a:lnTo>
                  <a:pt x="483" y="869"/>
                </a:lnTo>
                <a:lnTo>
                  <a:pt x="517" y="899"/>
                </a:lnTo>
                <a:lnTo>
                  <a:pt x="504" y="902"/>
                </a:lnTo>
                <a:lnTo>
                  <a:pt x="493" y="933"/>
                </a:lnTo>
                <a:lnTo>
                  <a:pt x="478" y="927"/>
                </a:lnTo>
                <a:lnTo>
                  <a:pt x="475" y="912"/>
                </a:lnTo>
                <a:lnTo>
                  <a:pt x="446" y="926"/>
                </a:lnTo>
                <a:lnTo>
                  <a:pt x="421" y="908"/>
                </a:lnTo>
                <a:lnTo>
                  <a:pt x="390" y="876"/>
                </a:lnTo>
                <a:lnTo>
                  <a:pt x="368" y="876"/>
                </a:lnTo>
                <a:lnTo>
                  <a:pt x="366" y="851"/>
                </a:lnTo>
                <a:lnTo>
                  <a:pt x="288" y="807"/>
                </a:lnTo>
                <a:lnTo>
                  <a:pt x="319" y="788"/>
                </a:lnTo>
                <a:lnTo>
                  <a:pt x="306" y="778"/>
                </a:lnTo>
                <a:lnTo>
                  <a:pt x="328" y="765"/>
                </a:lnTo>
                <a:lnTo>
                  <a:pt x="263" y="783"/>
                </a:lnTo>
                <a:lnTo>
                  <a:pt x="259" y="793"/>
                </a:lnTo>
                <a:lnTo>
                  <a:pt x="240" y="786"/>
                </a:lnTo>
                <a:lnTo>
                  <a:pt x="262" y="804"/>
                </a:lnTo>
                <a:lnTo>
                  <a:pt x="288" y="801"/>
                </a:lnTo>
                <a:lnTo>
                  <a:pt x="243" y="822"/>
                </a:lnTo>
                <a:lnTo>
                  <a:pt x="219" y="801"/>
                </a:lnTo>
                <a:lnTo>
                  <a:pt x="238" y="790"/>
                </a:lnTo>
                <a:lnTo>
                  <a:pt x="206" y="786"/>
                </a:lnTo>
                <a:lnTo>
                  <a:pt x="209" y="775"/>
                </a:lnTo>
                <a:lnTo>
                  <a:pt x="179" y="783"/>
                </a:lnTo>
                <a:lnTo>
                  <a:pt x="169" y="802"/>
                </a:lnTo>
                <a:lnTo>
                  <a:pt x="144" y="801"/>
                </a:lnTo>
                <a:lnTo>
                  <a:pt x="142" y="775"/>
                </a:lnTo>
                <a:lnTo>
                  <a:pt x="120" y="745"/>
                </a:lnTo>
                <a:lnTo>
                  <a:pt x="54" y="752"/>
                </a:lnTo>
                <a:lnTo>
                  <a:pt x="42" y="743"/>
                </a:lnTo>
                <a:lnTo>
                  <a:pt x="48" y="729"/>
                </a:lnTo>
                <a:lnTo>
                  <a:pt x="75" y="698"/>
                </a:lnTo>
                <a:lnTo>
                  <a:pt x="61" y="662"/>
                </a:lnTo>
                <a:lnTo>
                  <a:pt x="72" y="654"/>
                </a:lnTo>
                <a:lnTo>
                  <a:pt x="65" y="626"/>
                </a:lnTo>
                <a:lnTo>
                  <a:pt x="0" y="61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4" name="Freeform 176"/>
          <p:cNvSpPr>
            <a:spLocks/>
          </p:cNvSpPr>
          <p:nvPr/>
        </p:nvSpPr>
        <p:spPr bwMode="auto">
          <a:xfrm>
            <a:off x="5319713" y="1984375"/>
            <a:ext cx="109537" cy="52388"/>
          </a:xfrm>
          <a:custGeom>
            <a:avLst/>
            <a:gdLst>
              <a:gd name="T0" fmla="*/ 0 w 80"/>
              <a:gd name="T1" fmla="*/ 2147483647 h 36"/>
              <a:gd name="T2" fmla="*/ 2147483647 w 80"/>
              <a:gd name="T3" fmla="*/ 2147483647 h 36"/>
              <a:gd name="T4" fmla="*/ 2147483647 w 80"/>
              <a:gd name="T5" fmla="*/ 2147483647 h 36"/>
              <a:gd name="T6" fmla="*/ 2147483647 w 80"/>
              <a:gd name="T7" fmla="*/ 0 h 36"/>
              <a:gd name="T8" fmla="*/ 2147483647 w 80"/>
              <a:gd name="T9" fmla="*/ 2147483647 h 36"/>
              <a:gd name="T10" fmla="*/ 2147483647 w 80"/>
              <a:gd name="T11" fmla="*/ 2147483647 h 36"/>
              <a:gd name="T12" fmla="*/ 2147483647 w 80"/>
              <a:gd name="T13" fmla="*/ 2147483647 h 36"/>
              <a:gd name="T14" fmla="*/ 2147483647 w 80"/>
              <a:gd name="T15" fmla="*/ 2147483647 h 36"/>
              <a:gd name="T16" fmla="*/ 2147483647 w 80"/>
              <a:gd name="T17" fmla="*/ 2147483647 h 36"/>
              <a:gd name="T18" fmla="*/ 2147483647 w 80"/>
              <a:gd name="T19" fmla="*/ 2147483647 h 36"/>
              <a:gd name="T20" fmla="*/ 0 w 80"/>
              <a:gd name="T21" fmla="*/ 2147483647 h 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0"/>
              <a:gd name="T34" fmla="*/ 0 h 36"/>
              <a:gd name="T35" fmla="*/ 80 w 80"/>
              <a:gd name="T36" fmla="*/ 36 h 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0" h="36">
                <a:moveTo>
                  <a:pt x="0" y="26"/>
                </a:moveTo>
                <a:lnTo>
                  <a:pt x="17" y="19"/>
                </a:lnTo>
                <a:lnTo>
                  <a:pt x="4" y="11"/>
                </a:lnTo>
                <a:lnTo>
                  <a:pt x="61" y="0"/>
                </a:lnTo>
                <a:lnTo>
                  <a:pt x="71" y="1"/>
                </a:lnTo>
                <a:lnTo>
                  <a:pt x="61" y="9"/>
                </a:lnTo>
                <a:lnTo>
                  <a:pt x="79" y="8"/>
                </a:lnTo>
                <a:lnTo>
                  <a:pt x="29" y="28"/>
                </a:lnTo>
                <a:lnTo>
                  <a:pt x="17" y="35"/>
                </a:lnTo>
                <a:lnTo>
                  <a:pt x="17" y="27"/>
                </a:lnTo>
                <a:lnTo>
                  <a:pt x="0" y="2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5" name="Freeform 177"/>
          <p:cNvSpPr>
            <a:spLocks/>
          </p:cNvSpPr>
          <p:nvPr/>
        </p:nvSpPr>
        <p:spPr bwMode="auto">
          <a:xfrm>
            <a:off x="5351463" y="2514600"/>
            <a:ext cx="50800" cy="28575"/>
          </a:xfrm>
          <a:custGeom>
            <a:avLst/>
            <a:gdLst>
              <a:gd name="T0" fmla="*/ 0 w 36"/>
              <a:gd name="T1" fmla="*/ 2147483647 h 19"/>
              <a:gd name="T2" fmla="*/ 2147483647 w 36"/>
              <a:gd name="T3" fmla="*/ 0 h 19"/>
              <a:gd name="T4" fmla="*/ 2147483647 w 36"/>
              <a:gd name="T5" fmla="*/ 2147483647 h 19"/>
              <a:gd name="T6" fmla="*/ 0 w 36"/>
              <a:gd name="T7" fmla="*/ 2147483647 h 19"/>
              <a:gd name="T8" fmla="*/ 0 60000 65536"/>
              <a:gd name="T9" fmla="*/ 0 60000 65536"/>
              <a:gd name="T10" fmla="*/ 0 60000 65536"/>
              <a:gd name="T11" fmla="*/ 0 60000 65536"/>
              <a:gd name="T12" fmla="*/ 0 w 36"/>
              <a:gd name="T13" fmla="*/ 0 h 19"/>
              <a:gd name="T14" fmla="*/ 36 w 36"/>
              <a:gd name="T15" fmla="*/ 19 h 1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6" h="19">
                <a:moveTo>
                  <a:pt x="0" y="18"/>
                </a:moveTo>
                <a:lnTo>
                  <a:pt x="9" y="0"/>
                </a:lnTo>
                <a:lnTo>
                  <a:pt x="35" y="12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6" name="Freeform 178"/>
          <p:cNvSpPr>
            <a:spLocks/>
          </p:cNvSpPr>
          <p:nvPr/>
        </p:nvSpPr>
        <p:spPr bwMode="auto">
          <a:xfrm>
            <a:off x="5427663" y="2360613"/>
            <a:ext cx="144462" cy="106362"/>
          </a:xfrm>
          <a:custGeom>
            <a:avLst/>
            <a:gdLst>
              <a:gd name="T0" fmla="*/ 0 w 105"/>
              <a:gd name="T1" fmla="*/ 2147483647 h 73"/>
              <a:gd name="T2" fmla="*/ 2147483647 w 105"/>
              <a:gd name="T3" fmla="*/ 2147483647 h 73"/>
              <a:gd name="T4" fmla="*/ 2147483647 w 105"/>
              <a:gd name="T5" fmla="*/ 2147483647 h 73"/>
              <a:gd name="T6" fmla="*/ 2147483647 w 105"/>
              <a:gd name="T7" fmla="*/ 2147483647 h 73"/>
              <a:gd name="T8" fmla="*/ 2147483647 w 105"/>
              <a:gd name="T9" fmla="*/ 2147483647 h 73"/>
              <a:gd name="T10" fmla="*/ 2147483647 w 105"/>
              <a:gd name="T11" fmla="*/ 2147483647 h 73"/>
              <a:gd name="T12" fmla="*/ 2147483647 w 105"/>
              <a:gd name="T13" fmla="*/ 2147483647 h 73"/>
              <a:gd name="T14" fmla="*/ 2147483647 w 105"/>
              <a:gd name="T15" fmla="*/ 2147483647 h 73"/>
              <a:gd name="T16" fmla="*/ 2147483647 w 105"/>
              <a:gd name="T17" fmla="*/ 2147483647 h 73"/>
              <a:gd name="T18" fmla="*/ 2147483647 w 105"/>
              <a:gd name="T19" fmla="*/ 2147483647 h 73"/>
              <a:gd name="T20" fmla="*/ 2147483647 w 105"/>
              <a:gd name="T21" fmla="*/ 0 h 73"/>
              <a:gd name="T22" fmla="*/ 2147483647 w 105"/>
              <a:gd name="T23" fmla="*/ 2147483647 h 73"/>
              <a:gd name="T24" fmla="*/ 2147483647 w 105"/>
              <a:gd name="T25" fmla="*/ 2147483647 h 73"/>
              <a:gd name="T26" fmla="*/ 0 w 105"/>
              <a:gd name="T27" fmla="*/ 2147483647 h 73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05"/>
              <a:gd name="T43" fmla="*/ 0 h 73"/>
              <a:gd name="T44" fmla="*/ 105 w 105"/>
              <a:gd name="T45" fmla="*/ 73 h 73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05" h="73">
                <a:moveTo>
                  <a:pt x="0" y="36"/>
                </a:moveTo>
                <a:lnTo>
                  <a:pt x="9" y="51"/>
                </a:lnTo>
                <a:lnTo>
                  <a:pt x="20" y="46"/>
                </a:lnTo>
                <a:lnTo>
                  <a:pt x="34" y="57"/>
                </a:lnTo>
                <a:lnTo>
                  <a:pt x="43" y="51"/>
                </a:lnTo>
                <a:lnTo>
                  <a:pt x="39" y="70"/>
                </a:lnTo>
                <a:lnTo>
                  <a:pt x="104" y="72"/>
                </a:lnTo>
                <a:lnTo>
                  <a:pt x="79" y="60"/>
                </a:lnTo>
                <a:lnTo>
                  <a:pt x="66" y="38"/>
                </a:lnTo>
                <a:lnTo>
                  <a:pt x="69" y="14"/>
                </a:lnTo>
                <a:lnTo>
                  <a:pt x="83" y="0"/>
                </a:lnTo>
                <a:lnTo>
                  <a:pt x="28" y="2"/>
                </a:lnTo>
                <a:lnTo>
                  <a:pt x="14" y="35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7" name="Freeform 179"/>
          <p:cNvSpPr>
            <a:spLocks/>
          </p:cNvSpPr>
          <p:nvPr/>
        </p:nvSpPr>
        <p:spPr bwMode="auto">
          <a:xfrm>
            <a:off x="5483225" y="2185988"/>
            <a:ext cx="354013" cy="171450"/>
          </a:xfrm>
          <a:custGeom>
            <a:avLst/>
            <a:gdLst>
              <a:gd name="T0" fmla="*/ 0 w 257"/>
              <a:gd name="T1" fmla="*/ 2147483647 h 117"/>
              <a:gd name="T2" fmla="*/ 2147483647 w 257"/>
              <a:gd name="T3" fmla="*/ 2147483647 h 117"/>
              <a:gd name="T4" fmla="*/ 2147483647 w 257"/>
              <a:gd name="T5" fmla="*/ 2147483647 h 117"/>
              <a:gd name="T6" fmla="*/ 2147483647 w 257"/>
              <a:gd name="T7" fmla="*/ 2147483647 h 117"/>
              <a:gd name="T8" fmla="*/ 2147483647 w 257"/>
              <a:gd name="T9" fmla="*/ 2147483647 h 117"/>
              <a:gd name="T10" fmla="*/ 2147483647 w 257"/>
              <a:gd name="T11" fmla="*/ 2147483647 h 117"/>
              <a:gd name="T12" fmla="*/ 2147483647 w 257"/>
              <a:gd name="T13" fmla="*/ 2147483647 h 117"/>
              <a:gd name="T14" fmla="*/ 2147483647 w 257"/>
              <a:gd name="T15" fmla="*/ 2147483647 h 117"/>
              <a:gd name="T16" fmla="*/ 2147483647 w 257"/>
              <a:gd name="T17" fmla="*/ 2147483647 h 117"/>
              <a:gd name="T18" fmla="*/ 2147483647 w 257"/>
              <a:gd name="T19" fmla="*/ 2147483647 h 117"/>
              <a:gd name="T20" fmla="*/ 2147483647 w 257"/>
              <a:gd name="T21" fmla="*/ 2147483647 h 117"/>
              <a:gd name="T22" fmla="*/ 2147483647 w 257"/>
              <a:gd name="T23" fmla="*/ 2147483647 h 117"/>
              <a:gd name="T24" fmla="*/ 2147483647 w 257"/>
              <a:gd name="T25" fmla="*/ 2147483647 h 117"/>
              <a:gd name="T26" fmla="*/ 2147483647 w 257"/>
              <a:gd name="T27" fmla="*/ 2147483647 h 117"/>
              <a:gd name="T28" fmla="*/ 2147483647 w 257"/>
              <a:gd name="T29" fmla="*/ 2147483647 h 117"/>
              <a:gd name="T30" fmla="*/ 2147483647 w 257"/>
              <a:gd name="T31" fmla="*/ 2147483647 h 117"/>
              <a:gd name="T32" fmla="*/ 2147483647 w 257"/>
              <a:gd name="T33" fmla="*/ 2147483647 h 117"/>
              <a:gd name="T34" fmla="*/ 2147483647 w 257"/>
              <a:gd name="T35" fmla="*/ 2147483647 h 117"/>
              <a:gd name="T36" fmla="*/ 2147483647 w 257"/>
              <a:gd name="T37" fmla="*/ 0 h 117"/>
              <a:gd name="T38" fmla="*/ 2147483647 w 257"/>
              <a:gd name="T39" fmla="*/ 2147483647 h 117"/>
              <a:gd name="T40" fmla="*/ 2147483647 w 257"/>
              <a:gd name="T41" fmla="*/ 2147483647 h 117"/>
              <a:gd name="T42" fmla="*/ 2147483647 w 257"/>
              <a:gd name="T43" fmla="*/ 2147483647 h 117"/>
              <a:gd name="T44" fmla="*/ 2147483647 w 257"/>
              <a:gd name="T45" fmla="*/ 2147483647 h 117"/>
              <a:gd name="T46" fmla="*/ 2147483647 w 257"/>
              <a:gd name="T47" fmla="*/ 2147483647 h 117"/>
              <a:gd name="T48" fmla="*/ 2147483647 w 257"/>
              <a:gd name="T49" fmla="*/ 2147483647 h 117"/>
              <a:gd name="T50" fmla="*/ 2147483647 w 257"/>
              <a:gd name="T51" fmla="*/ 2147483647 h 117"/>
              <a:gd name="T52" fmla="*/ 2147483647 w 257"/>
              <a:gd name="T53" fmla="*/ 2147483647 h 117"/>
              <a:gd name="T54" fmla="*/ 2147483647 w 257"/>
              <a:gd name="T55" fmla="*/ 2147483647 h 117"/>
              <a:gd name="T56" fmla="*/ 2147483647 w 257"/>
              <a:gd name="T57" fmla="*/ 2147483647 h 117"/>
              <a:gd name="T58" fmla="*/ 0 w 257"/>
              <a:gd name="T59" fmla="*/ 2147483647 h 11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57"/>
              <a:gd name="T91" fmla="*/ 0 h 117"/>
              <a:gd name="T92" fmla="*/ 257 w 257"/>
              <a:gd name="T93" fmla="*/ 117 h 11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57" h="117">
                <a:moveTo>
                  <a:pt x="0" y="101"/>
                </a:moveTo>
                <a:lnTo>
                  <a:pt x="25" y="104"/>
                </a:lnTo>
                <a:lnTo>
                  <a:pt x="7" y="114"/>
                </a:lnTo>
                <a:lnTo>
                  <a:pt x="50" y="116"/>
                </a:lnTo>
                <a:lnTo>
                  <a:pt x="53" y="104"/>
                </a:lnTo>
                <a:lnTo>
                  <a:pt x="64" y="106"/>
                </a:lnTo>
                <a:lnTo>
                  <a:pt x="50" y="99"/>
                </a:lnTo>
                <a:lnTo>
                  <a:pt x="69" y="101"/>
                </a:lnTo>
                <a:lnTo>
                  <a:pt x="65" y="86"/>
                </a:lnTo>
                <a:lnTo>
                  <a:pt x="74" y="95"/>
                </a:lnTo>
                <a:lnTo>
                  <a:pt x="85" y="87"/>
                </a:lnTo>
                <a:lnTo>
                  <a:pt x="76" y="77"/>
                </a:lnTo>
                <a:lnTo>
                  <a:pt x="105" y="78"/>
                </a:lnTo>
                <a:lnTo>
                  <a:pt x="96" y="71"/>
                </a:lnTo>
                <a:lnTo>
                  <a:pt x="110" y="73"/>
                </a:lnTo>
                <a:lnTo>
                  <a:pt x="114" y="60"/>
                </a:lnTo>
                <a:lnTo>
                  <a:pt x="242" y="24"/>
                </a:lnTo>
                <a:lnTo>
                  <a:pt x="256" y="10"/>
                </a:lnTo>
                <a:lnTo>
                  <a:pt x="231" y="0"/>
                </a:lnTo>
                <a:lnTo>
                  <a:pt x="178" y="22"/>
                </a:lnTo>
                <a:lnTo>
                  <a:pt x="122" y="22"/>
                </a:lnTo>
                <a:lnTo>
                  <a:pt x="63" y="55"/>
                </a:lnTo>
                <a:lnTo>
                  <a:pt x="32" y="58"/>
                </a:lnTo>
                <a:lnTo>
                  <a:pt x="33" y="71"/>
                </a:lnTo>
                <a:lnTo>
                  <a:pt x="49" y="73"/>
                </a:lnTo>
                <a:lnTo>
                  <a:pt x="31" y="74"/>
                </a:lnTo>
                <a:lnTo>
                  <a:pt x="39" y="81"/>
                </a:lnTo>
                <a:lnTo>
                  <a:pt x="25" y="87"/>
                </a:lnTo>
                <a:lnTo>
                  <a:pt x="41" y="93"/>
                </a:lnTo>
                <a:lnTo>
                  <a:pt x="0" y="10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8" name="Freeform 180"/>
          <p:cNvSpPr>
            <a:spLocks/>
          </p:cNvSpPr>
          <p:nvPr/>
        </p:nvSpPr>
        <p:spPr bwMode="auto">
          <a:xfrm>
            <a:off x="5683250" y="1958975"/>
            <a:ext cx="73025" cy="34925"/>
          </a:xfrm>
          <a:custGeom>
            <a:avLst/>
            <a:gdLst>
              <a:gd name="T0" fmla="*/ 0 w 54"/>
              <a:gd name="T1" fmla="*/ 2147483647 h 23"/>
              <a:gd name="T2" fmla="*/ 2147483647 w 54"/>
              <a:gd name="T3" fmla="*/ 2147483647 h 23"/>
              <a:gd name="T4" fmla="*/ 2147483647 w 54"/>
              <a:gd name="T5" fmla="*/ 2147483647 h 23"/>
              <a:gd name="T6" fmla="*/ 2147483647 w 54"/>
              <a:gd name="T7" fmla="*/ 0 h 23"/>
              <a:gd name="T8" fmla="*/ 0 w 54"/>
              <a:gd name="T9" fmla="*/ 2147483647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4"/>
              <a:gd name="T16" fmla="*/ 0 h 23"/>
              <a:gd name="T17" fmla="*/ 54 w 54"/>
              <a:gd name="T18" fmla="*/ 23 h 2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4" h="23">
                <a:moveTo>
                  <a:pt x="0" y="15"/>
                </a:moveTo>
                <a:lnTo>
                  <a:pt x="16" y="22"/>
                </a:lnTo>
                <a:lnTo>
                  <a:pt x="53" y="15"/>
                </a:lnTo>
                <a:lnTo>
                  <a:pt x="30" y="0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89" name="Freeform 181"/>
          <p:cNvSpPr>
            <a:spLocks/>
          </p:cNvSpPr>
          <p:nvPr/>
        </p:nvSpPr>
        <p:spPr bwMode="auto">
          <a:xfrm>
            <a:off x="6346825" y="2028825"/>
            <a:ext cx="63500" cy="23813"/>
          </a:xfrm>
          <a:custGeom>
            <a:avLst/>
            <a:gdLst>
              <a:gd name="T0" fmla="*/ 0 w 46"/>
              <a:gd name="T1" fmla="*/ 0 h 17"/>
              <a:gd name="T2" fmla="*/ 2147483647 w 46"/>
              <a:gd name="T3" fmla="*/ 2147483647 h 17"/>
              <a:gd name="T4" fmla="*/ 2147483647 w 46"/>
              <a:gd name="T5" fmla="*/ 2147483647 h 17"/>
              <a:gd name="T6" fmla="*/ 2147483647 w 46"/>
              <a:gd name="T7" fmla="*/ 2147483647 h 17"/>
              <a:gd name="T8" fmla="*/ 2147483647 w 46"/>
              <a:gd name="T9" fmla="*/ 2147483647 h 17"/>
              <a:gd name="T10" fmla="*/ 0 w 46"/>
              <a:gd name="T11" fmla="*/ 0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6"/>
              <a:gd name="T19" fmla="*/ 0 h 17"/>
              <a:gd name="T20" fmla="*/ 46 w 46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6" h="17">
                <a:moveTo>
                  <a:pt x="0" y="0"/>
                </a:moveTo>
                <a:lnTo>
                  <a:pt x="20" y="13"/>
                </a:lnTo>
                <a:lnTo>
                  <a:pt x="13" y="16"/>
                </a:lnTo>
                <a:lnTo>
                  <a:pt x="31" y="14"/>
                </a:lnTo>
                <a:lnTo>
                  <a:pt x="45" y="7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0" name="Freeform 182"/>
          <p:cNvSpPr>
            <a:spLocks/>
          </p:cNvSpPr>
          <p:nvPr/>
        </p:nvSpPr>
        <p:spPr bwMode="auto">
          <a:xfrm>
            <a:off x="6353175" y="1965325"/>
            <a:ext cx="147638" cy="68263"/>
          </a:xfrm>
          <a:custGeom>
            <a:avLst/>
            <a:gdLst>
              <a:gd name="T0" fmla="*/ 0 w 107"/>
              <a:gd name="T1" fmla="*/ 2147483647 h 46"/>
              <a:gd name="T2" fmla="*/ 2147483647 w 107"/>
              <a:gd name="T3" fmla="*/ 2147483647 h 46"/>
              <a:gd name="T4" fmla="*/ 2147483647 w 107"/>
              <a:gd name="T5" fmla="*/ 0 h 46"/>
              <a:gd name="T6" fmla="*/ 2147483647 w 107"/>
              <a:gd name="T7" fmla="*/ 2147483647 h 46"/>
              <a:gd name="T8" fmla="*/ 2147483647 w 107"/>
              <a:gd name="T9" fmla="*/ 2147483647 h 46"/>
              <a:gd name="T10" fmla="*/ 2147483647 w 107"/>
              <a:gd name="T11" fmla="*/ 2147483647 h 46"/>
              <a:gd name="T12" fmla="*/ 2147483647 w 107"/>
              <a:gd name="T13" fmla="*/ 2147483647 h 46"/>
              <a:gd name="T14" fmla="*/ 0 w 107"/>
              <a:gd name="T15" fmla="*/ 2147483647 h 4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7"/>
              <a:gd name="T25" fmla="*/ 0 h 46"/>
              <a:gd name="T26" fmla="*/ 107 w 107"/>
              <a:gd name="T27" fmla="*/ 46 h 4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7" h="46">
                <a:moveTo>
                  <a:pt x="0" y="36"/>
                </a:moveTo>
                <a:lnTo>
                  <a:pt x="29" y="13"/>
                </a:lnTo>
                <a:lnTo>
                  <a:pt x="69" y="0"/>
                </a:lnTo>
                <a:lnTo>
                  <a:pt x="106" y="21"/>
                </a:lnTo>
                <a:lnTo>
                  <a:pt x="95" y="27"/>
                </a:lnTo>
                <a:lnTo>
                  <a:pt x="99" y="36"/>
                </a:lnTo>
                <a:lnTo>
                  <a:pt x="44" y="45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1" name="Freeform 183"/>
          <p:cNvSpPr>
            <a:spLocks/>
          </p:cNvSpPr>
          <p:nvPr/>
        </p:nvSpPr>
        <p:spPr bwMode="auto">
          <a:xfrm>
            <a:off x="6388100" y="2024063"/>
            <a:ext cx="166688" cy="73025"/>
          </a:xfrm>
          <a:custGeom>
            <a:avLst/>
            <a:gdLst>
              <a:gd name="T0" fmla="*/ 0 w 121"/>
              <a:gd name="T1" fmla="*/ 2147483647 h 50"/>
              <a:gd name="T2" fmla="*/ 2147483647 w 121"/>
              <a:gd name="T3" fmla="*/ 2147483647 h 50"/>
              <a:gd name="T4" fmla="*/ 2147483647 w 121"/>
              <a:gd name="T5" fmla="*/ 2147483647 h 50"/>
              <a:gd name="T6" fmla="*/ 2147483647 w 121"/>
              <a:gd name="T7" fmla="*/ 2147483647 h 50"/>
              <a:gd name="T8" fmla="*/ 2147483647 w 121"/>
              <a:gd name="T9" fmla="*/ 2147483647 h 50"/>
              <a:gd name="T10" fmla="*/ 2147483647 w 121"/>
              <a:gd name="T11" fmla="*/ 2147483647 h 50"/>
              <a:gd name="T12" fmla="*/ 2147483647 w 121"/>
              <a:gd name="T13" fmla="*/ 2147483647 h 50"/>
              <a:gd name="T14" fmla="*/ 2147483647 w 121"/>
              <a:gd name="T15" fmla="*/ 2147483647 h 50"/>
              <a:gd name="T16" fmla="*/ 2147483647 w 121"/>
              <a:gd name="T17" fmla="*/ 2147483647 h 50"/>
              <a:gd name="T18" fmla="*/ 2147483647 w 121"/>
              <a:gd name="T19" fmla="*/ 2147483647 h 50"/>
              <a:gd name="T20" fmla="*/ 2147483647 w 121"/>
              <a:gd name="T21" fmla="*/ 2147483647 h 50"/>
              <a:gd name="T22" fmla="*/ 2147483647 w 121"/>
              <a:gd name="T23" fmla="*/ 2147483647 h 50"/>
              <a:gd name="T24" fmla="*/ 2147483647 w 121"/>
              <a:gd name="T25" fmla="*/ 0 h 50"/>
              <a:gd name="T26" fmla="*/ 2147483647 w 121"/>
              <a:gd name="T27" fmla="*/ 2147483647 h 50"/>
              <a:gd name="T28" fmla="*/ 0 w 121"/>
              <a:gd name="T29" fmla="*/ 2147483647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21"/>
              <a:gd name="T46" fmla="*/ 0 h 50"/>
              <a:gd name="T47" fmla="*/ 121 w 121"/>
              <a:gd name="T48" fmla="*/ 50 h 5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21" h="50">
                <a:moveTo>
                  <a:pt x="0" y="22"/>
                </a:moveTo>
                <a:lnTo>
                  <a:pt x="22" y="24"/>
                </a:lnTo>
                <a:lnTo>
                  <a:pt x="37" y="41"/>
                </a:lnTo>
                <a:lnTo>
                  <a:pt x="48" y="35"/>
                </a:lnTo>
                <a:lnTo>
                  <a:pt x="98" y="49"/>
                </a:lnTo>
                <a:lnTo>
                  <a:pt x="114" y="46"/>
                </a:lnTo>
                <a:lnTo>
                  <a:pt x="102" y="30"/>
                </a:lnTo>
                <a:lnTo>
                  <a:pt x="113" y="33"/>
                </a:lnTo>
                <a:lnTo>
                  <a:pt x="120" y="14"/>
                </a:lnTo>
                <a:lnTo>
                  <a:pt x="94" y="5"/>
                </a:lnTo>
                <a:lnTo>
                  <a:pt x="67" y="17"/>
                </a:lnTo>
                <a:lnTo>
                  <a:pt x="88" y="10"/>
                </a:lnTo>
                <a:lnTo>
                  <a:pt x="76" y="0"/>
                </a:lnTo>
                <a:lnTo>
                  <a:pt x="34" y="3"/>
                </a:lnTo>
                <a:lnTo>
                  <a:pt x="0" y="2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2" name="Freeform 184"/>
          <p:cNvSpPr>
            <a:spLocks/>
          </p:cNvSpPr>
          <p:nvPr/>
        </p:nvSpPr>
        <p:spPr bwMode="auto">
          <a:xfrm>
            <a:off x="6538913" y="2063750"/>
            <a:ext cx="139700" cy="74613"/>
          </a:xfrm>
          <a:custGeom>
            <a:avLst/>
            <a:gdLst>
              <a:gd name="T0" fmla="*/ 0 w 101"/>
              <a:gd name="T1" fmla="*/ 2147483647 h 51"/>
              <a:gd name="T2" fmla="*/ 2147483647 w 101"/>
              <a:gd name="T3" fmla="*/ 2147483647 h 51"/>
              <a:gd name="T4" fmla="*/ 2147483647 w 101"/>
              <a:gd name="T5" fmla="*/ 2147483647 h 51"/>
              <a:gd name="T6" fmla="*/ 2147483647 w 101"/>
              <a:gd name="T7" fmla="*/ 2147483647 h 51"/>
              <a:gd name="T8" fmla="*/ 2147483647 w 101"/>
              <a:gd name="T9" fmla="*/ 2147483647 h 51"/>
              <a:gd name="T10" fmla="*/ 2147483647 w 101"/>
              <a:gd name="T11" fmla="*/ 2147483647 h 51"/>
              <a:gd name="T12" fmla="*/ 2147483647 w 101"/>
              <a:gd name="T13" fmla="*/ 2147483647 h 51"/>
              <a:gd name="T14" fmla="*/ 2147483647 w 101"/>
              <a:gd name="T15" fmla="*/ 0 h 51"/>
              <a:gd name="T16" fmla="*/ 2147483647 w 101"/>
              <a:gd name="T17" fmla="*/ 2147483647 h 51"/>
              <a:gd name="T18" fmla="*/ 0 w 101"/>
              <a:gd name="T19" fmla="*/ 2147483647 h 5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01"/>
              <a:gd name="T31" fmla="*/ 0 h 51"/>
              <a:gd name="T32" fmla="*/ 101 w 101"/>
              <a:gd name="T33" fmla="*/ 51 h 5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01" h="51">
                <a:moveTo>
                  <a:pt x="0" y="43"/>
                </a:moveTo>
                <a:lnTo>
                  <a:pt x="7" y="50"/>
                </a:lnTo>
                <a:lnTo>
                  <a:pt x="91" y="39"/>
                </a:lnTo>
                <a:lnTo>
                  <a:pt x="100" y="23"/>
                </a:lnTo>
                <a:lnTo>
                  <a:pt x="77" y="9"/>
                </a:lnTo>
                <a:lnTo>
                  <a:pt x="58" y="15"/>
                </a:lnTo>
                <a:lnTo>
                  <a:pt x="62" y="3"/>
                </a:lnTo>
                <a:lnTo>
                  <a:pt x="48" y="0"/>
                </a:lnTo>
                <a:lnTo>
                  <a:pt x="10" y="36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3" name="Freeform 185"/>
          <p:cNvSpPr>
            <a:spLocks/>
          </p:cNvSpPr>
          <p:nvPr/>
        </p:nvSpPr>
        <p:spPr bwMode="auto">
          <a:xfrm>
            <a:off x="7399338" y="2222500"/>
            <a:ext cx="155575" cy="69850"/>
          </a:xfrm>
          <a:custGeom>
            <a:avLst/>
            <a:gdLst>
              <a:gd name="T0" fmla="*/ 0 w 113"/>
              <a:gd name="T1" fmla="*/ 2147483647 h 48"/>
              <a:gd name="T2" fmla="*/ 2147483647 w 113"/>
              <a:gd name="T3" fmla="*/ 2147483647 h 48"/>
              <a:gd name="T4" fmla="*/ 2147483647 w 113"/>
              <a:gd name="T5" fmla="*/ 0 h 48"/>
              <a:gd name="T6" fmla="*/ 2147483647 w 113"/>
              <a:gd name="T7" fmla="*/ 2147483647 h 48"/>
              <a:gd name="T8" fmla="*/ 2147483647 w 113"/>
              <a:gd name="T9" fmla="*/ 2147483647 h 48"/>
              <a:gd name="T10" fmla="*/ 2147483647 w 113"/>
              <a:gd name="T11" fmla="*/ 2147483647 h 48"/>
              <a:gd name="T12" fmla="*/ 2147483647 w 113"/>
              <a:gd name="T13" fmla="*/ 2147483647 h 48"/>
              <a:gd name="T14" fmla="*/ 2147483647 w 113"/>
              <a:gd name="T15" fmla="*/ 2147483647 h 48"/>
              <a:gd name="T16" fmla="*/ 2147483647 w 113"/>
              <a:gd name="T17" fmla="*/ 2147483647 h 48"/>
              <a:gd name="T18" fmla="*/ 2147483647 w 113"/>
              <a:gd name="T19" fmla="*/ 2147483647 h 48"/>
              <a:gd name="T20" fmla="*/ 2147483647 w 113"/>
              <a:gd name="T21" fmla="*/ 2147483647 h 48"/>
              <a:gd name="T22" fmla="*/ 0 w 113"/>
              <a:gd name="T23" fmla="*/ 2147483647 h 4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3"/>
              <a:gd name="T37" fmla="*/ 0 h 48"/>
              <a:gd name="T38" fmla="*/ 113 w 113"/>
              <a:gd name="T39" fmla="*/ 48 h 4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3" h="48">
                <a:moveTo>
                  <a:pt x="0" y="26"/>
                </a:moveTo>
                <a:lnTo>
                  <a:pt x="23" y="2"/>
                </a:lnTo>
                <a:lnTo>
                  <a:pt x="38" y="0"/>
                </a:lnTo>
                <a:lnTo>
                  <a:pt x="64" y="19"/>
                </a:lnTo>
                <a:lnTo>
                  <a:pt x="69" y="6"/>
                </a:lnTo>
                <a:lnTo>
                  <a:pt x="96" y="15"/>
                </a:lnTo>
                <a:lnTo>
                  <a:pt x="94" y="33"/>
                </a:lnTo>
                <a:lnTo>
                  <a:pt x="112" y="40"/>
                </a:lnTo>
                <a:lnTo>
                  <a:pt x="54" y="44"/>
                </a:lnTo>
                <a:lnTo>
                  <a:pt x="48" y="36"/>
                </a:lnTo>
                <a:lnTo>
                  <a:pt x="39" y="47"/>
                </a:lnTo>
                <a:lnTo>
                  <a:pt x="0" y="2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4" name="Freeform 186"/>
          <p:cNvSpPr>
            <a:spLocks/>
          </p:cNvSpPr>
          <p:nvPr/>
        </p:nvSpPr>
        <p:spPr bwMode="auto">
          <a:xfrm>
            <a:off x="7510463" y="2225675"/>
            <a:ext cx="93662" cy="49213"/>
          </a:xfrm>
          <a:custGeom>
            <a:avLst/>
            <a:gdLst>
              <a:gd name="T0" fmla="*/ 0 w 68"/>
              <a:gd name="T1" fmla="*/ 0 h 34"/>
              <a:gd name="T2" fmla="*/ 2147483647 w 68"/>
              <a:gd name="T3" fmla="*/ 2147483647 h 34"/>
              <a:gd name="T4" fmla="*/ 2147483647 w 68"/>
              <a:gd name="T5" fmla="*/ 2147483647 h 34"/>
              <a:gd name="T6" fmla="*/ 2147483647 w 68"/>
              <a:gd name="T7" fmla="*/ 2147483647 h 34"/>
              <a:gd name="T8" fmla="*/ 2147483647 w 68"/>
              <a:gd name="T9" fmla="*/ 2147483647 h 34"/>
              <a:gd name="T10" fmla="*/ 2147483647 w 68"/>
              <a:gd name="T11" fmla="*/ 2147483647 h 34"/>
              <a:gd name="T12" fmla="*/ 0 w 68"/>
              <a:gd name="T13" fmla="*/ 0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8"/>
              <a:gd name="T22" fmla="*/ 0 h 34"/>
              <a:gd name="T23" fmla="*/ 68 w 6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8" h="34">
                <a:moveTo>
                  <a:pt x="0" y="0"/>
                </a:moveTo>
                <a:lnTo>
                  <a:pt x="22" y="10"/>
                </a:lnTo>
                <a:lnTo>
                  <a:pt x="16" y="23"/>
                </a:lnTo>
                <a:lnTo>
                  <a:pt x="27" y="33"/>
                </a:lnTo>
                <a:lnTo>
                  <a:pt x="49" y="33"/>
                </a:lnTo>
                <a:lnTo>
                  <a:pt x="67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5" name="Freeform 187"/>
          <p:cNvSpPr>
            <a:spLocks/>
          </p:cNvSpPr>
          <p:nvPr/>
        </p:nvSpPr>
        <p:spPr bwMode="auto">
          <a:xfrm>
            <a:off x="7518400" y="3052763"/>
            <a:ext cx="68263" cy="258762"/>
          </a:xfrm>
          <a:custGeom>
            <a:avLst/>
            <a:gdLst>
              <a:gd name="T0" fmla="*/ 0 w 50"/>
              <a:gd name="T1" fmla="*/ 2147483647 h 176"/>
              <a:gd name="T2" fmla="*/ 2147483647 w 50"/>
              <a:gd name="T3" fmla="*/ 2147483647 h 176"/>
              <a:gd name="T4" fmla="*/ 2147483647 w 50"/>
              <a:gd name="T5" fmla="*/ 2147483647 h 176"/>
              <a:gd name="T6" fmla="*/ 2147483647 w 50"/>
              <a:gd name="T7" fmla="*/ 2147483647 h 176"/>
              <a:gd name="T8" fmla="*/ 2147483647 w 50"/>
              <a:gd name="T9" fmla="*/ 2147483647 h 176"/>
              <a:gd name="T10" fmla="*/ 2147483647 w 50"/>
              <a:gd name="T11" fmla="*/ 2147483647 h 176"/>
              <a:gd name="T12" fmla="*/ 2147483647 w 50"/>
              <a:gd name="T13" fmla="*/ 2147483647 h 176"/>
              <a:gd name="T14" fmla="*/ 2147483647 w 50"/>
              <a:gd name="T15" fmla="*/ 2147483647 h 176"/>
              <a:gd name="T16" fmla="*/ 2147483647 w 50"/>
              <a:gd name="T17" fmla="*/ 2147483647 h 176"/>
              <a:gd name="T18" fmla="*/ 2147483647 w 50"/>
              <a:gd name="T19" fmla="*/ 0 h 176"/>
              <a:gd name="T20" fmla="*/ 0 w 50"/>
              <a:gd name="T21" fmla="*/ 2147483647 h 17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0"/>
              <a:gd name="T34" fmla="*/ 0 h 176"/>
              <a:gd name="T35" fmla="*/ 50 w 50"/>
              <a:gd name="T36" fmla="*/ 176 h 17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0" h="176">
                <a:moveTo>
                  <a:pt x="0" y="44"/>
                </a:moveTo>
                <a:lnTo>
                  <a:pt x="8" y="67"/>
                </a:lnTo>
                <a:lnTo>
                  <a:pt x="8" y="175"/>
                </a:lnTo>
                <a:lnTo>
                  <a:pt x="17" y="160"/>
                </a:lnTo>
                <a:lnTo>
                  <a:pt x="31" y="168"/>
                </a:lnTo>
                <a:lnTo>
                  <a:pt x="16" y="140"/>
                </a:lnTo>
                <a:lnTo>
                  <a:pt x="23" y="109"/>
                </a:lnTo>
                <a:lnTo>
                  <a:pt x="49" y="118"/>
                </a:lnTo>
                <a:lnTo>
                  <a:pt x="24" y="62"/>
                </a:lnTo>
                <a:lnTo>
                  <a:pt x="17" y="0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6" name="Freeform 188"/>
          <p:cNvSpPr>
            <a:spLocks/>
          </p:cNvSpPr>
          <p:nvPr/>
        </p:nvSpPr>
        <p:spPr bwMode="auto">
          <a:xfrm>
            <a:off x="7620000" y="2254250"/>
            <a:ext cx="109538" cy="34925"/>
          </a:xfrm>
          <a:custGeom>
            <a:avLst/>
            <a:gdLst>
              <a:gd name="T0" fmla="*/ 0 w 79"/>
              <a:gd name="T1" fmla="*/ 0 h 24"/>
              <a:gd name="T2" fmla="*/ 2147483647 w 79"/>
              <a:gd name="T3" fmla="*/ 2147483647 h 24"/>
              <a:gd name="T4" fmla="*/ 2147483647 w 79"/>
              <a:gd name="T5" fmla="*/ 2147483647 h 24"/>
              <a:gd name="T6" fmla="*/ 2147483647 w 79"/>
              <a:gd name="T7" fmla="*/ 2147483647 h 24"/>
              <a:gd name="T8" fmla="*/ 0 w 79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9"/>
              <a:gd name="T16" fmla="*/ 0 h 24"/>
              <a:gd name="T17" fmla="*/ 79 w 79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9" h="24">
                <a:moveTo>
                  <a:pt x="0" y="0"/>
                </a:moveTo>
                <a:lnTo>
                  <a:pt x="14" y="14"/>
                </a:lnTo>
                <a:lnTo>
                  <a:pt x="50" y="23"/>
                </a:lnTo>
                <a:lnTo>
                  <a:pt x="78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7" name="Freeform 189"/>
          <p:cNvSpPr>
            <a:spLocks/>
          </p:cNvSpPr>
          <p:nvPr/>
        </p:nvSpPr>
        <p:spPr bwMode="auto">
          <a:xfrm>
            <a:off x="4027488" y="3373438"/>
            <a:ext cx="287337" cy="204787"/>
          </a:xfrm>
          <a:custGeom>
            <a:avLst/>
            <a:gdLst>
              <a:gd name="T0" fmla="*/ 0 w 209"/>
              <a:gd name="T1" fmla="*/ 2147483647 h 140"/>
              <a:gd name="T2" fmla="*/ 2147483647 w 209"/>
              <a:gd name="T3" fmla="*/ 2147483647 h 140"/>
              <a:gd name="T4" fmla="*/ 2147483647 w 209"/>
              <a:gd name="T5" fmla="*/ 2147483647 h 140"/>
              <a:gd name="T6" fmla="*/ 2147483647 w 209"/>
              <a:gd name="T7" fmla="*/ 2147483647 h 140"/>
              <a:gd name="T8" fmla="*/ 2147483647 w 209"/>
              <a:gd name="T9" fmla="*/ 2147483647 h 140"/>
              <a:gd name="T10" fmla="*/ 2147483647 w 209"/>
              <a:gd name="T11" fmla="*/ 2147483647 h 140"/>
              <a:gd name="T12" fmla="*/ 2147483647 w 209"/>
              <a:gd name="T13" fmla="*/ 2147483647 h 140"/>
              <a:gd name="T14" fmla="*/ 2147483647 w 209"/>
              <a:gd name="T15" fmla="*/ 2147483647 h 140"/>
              <a:gd name="T16" fmla="*/ 2147483647 w 209"/>
              <a:gd name="T17" fmla="*/ 2147483647 h 140"/>
              <a:gd name="T18" fmla="*/ 2147483647 w 209"/>
              <a:gd name="T19" fmla="*/ 2147483647 h 140"/>
              <a:gd name="T20" fmla="*/ 2147483647 w 209"/>
              <a:gd name="T21" fmla="*/ 2147483647 h 140"/>
              <a:gd name="T22" fmla="*/ 2147483647 w 209"/>
              <a:gd name="T23" fmla="*/ 2147483647 h 140"/>
              <a:gd name="T24" fmla="*/ 2147483647 w 209"/>
              <a:gd name="T25" fmla="*/ 2147483647 h 140"/>
              <a:gd name="T26" fmla="*/ 2147483647 w 209"/>
              <a:gd name="T27" fmla="*/ 2147483647 h 140"/>
              <a:gd name="T28" fmla="*/ 2147483647 w 209"/>
              <a:gd name="T29" fmla="*/ 2147483647 h 140"/>
              <a:gd name="T30" fmla="*/ 2147483647 w 209"/>
              <a:gd name="T31" fmla="*/ 0 h 140"/>
              <a:gd name="T32" fmla="*/ 0 w 209"/>
              <a:gd name="T33" fmla="*/ 2147483647 h 14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9"/>
              <a:gd name="T52" fmla="*/ 0 h 140"/>
              <a:gd name="T53" fmla="*/ 209 w 209"/>
              <a:gd name="T54" fmla="*/ 140 h 14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9" h="140">
                <a:moveTo>
                  <a:pt x="0" y="13"/>
                </a:moveTo>
                <a:lnTo>
                  <a:pt x="7" y="35"/>
                </a:lnTo>
                <a:lnTo>
                  <a:pt x="52" y="38"/>
                </a:lnTo>
                <a:lnTo>
                  <a:pt x="33" y="74"/>
                </a:lnTo>
                <a:lnTo>
                  <a:pt x="32" y="118"/>
                </a:lnTo>
                <a:lnTo>
                  <a:pt x="64" y="139"/>
                </a:lnTo>
                <a:lnTo>
                  <a:pt x="123" y="126"/>
                </a:lnTo>
                <a:lnTo>
                  <a:pt x="158" y="93"/>
                </a:lnTo>
                <a:lnTo>
                  <a:pt x="150" y="81"/>
                </a:lnTo>
                <a:lnTo>
                  <a:pt x="170" y="53"/>
                </a:lnTo>
                <a:lnTo>
                  <a:pt x="207" y="35"/>
                </a:lnTo>
                <a:lnTo>
                  <a:pt x="208" y="23"/>
                </a:lnTo>
                <a:lnTo>
                  <a:pt x="182" y="22"/>
                </a:lnTo>
                <a:lnTo>
                  <a:pt x="177" y="20"/>
                </a:lnTo>
                <a:lnTo>
                  <a:pt x="125" y="5"/>
                </a:lnTo>
                <a:lnTo>
                  <a:pt x="20" y="0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8" name="Freeform 190"/>
          <p:cNvSpPr>
            <a:spLocks/>
          </p:cNvSpPr>
          <p:nvPr/>
        </p:nvSpPr>
        <p:spPr bwMode="auto">
          <a:xfrm>
            <a:off x="3849688" y="3790950"/>
            <a:ext cx="193675" cy="163513"/>
          </a:xfrm>
          <a:custGeom>
            <a:avLst/>
            <a:gdLst>
              <a:gd name="T0" fmla="*/ 0 w 140"/>
              <a:gd name="T1" fmla="*/ 2147483647 h 112"/>
              <a:gd name="T2" fmla="*/ 2147483647 w 140"/>
              <a:gd name="T3" fmla="*/ 0 h 112"/>
              <a:gd name="T4" fmla="*/ 2147483647 w 140"/>
              <a:gd name="T5" fmla="*/ 2147483647 h 112"/>
              <a:gd name="T6" fmla="*/ 2147483647 w 140"/>
              <a:gd name="T7" fmla="*/ 2147483647 h 112"/>
              <a:gd name="T8" fmla="*/ 2147483647 w 140"/>
              <a:gd name="T9" fmla="*/ 2147483647 h 112"/>
              <a:gd name="T10" fmla="*/ 2147483647 w 140"/>
              <a:gd name="T11" fmla="*/ 2147483647 h 112"/>
              <a:gd name="T12" fmla="*/ 2147483647 w 140"/>
              <a:gd name="T13" fmla="*/ 2147483647 h 112"/>
              <a:gd name="T14" fmla="*/ 2147483647 w 140"/>
              <a:gd name="T15" fmla="*/ 2147483647 h 112"/>
              <a:gd name="T16" fmla="*/ 2147483647 w 140"/>
              <a:gd name="T17" fmla="*/ 2147483647 h 112"/>
              <a:gd name="T18" fmla="*/ 0 w 140"/>
              <a:gd name="T19" fmla="*/ 2147483647 h 1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40"/>
              <a:gd name="T31" fmla="*/ 0 h 112"/>
              <a:gd name="T32" fmla="*/ 140 w 140"/>
              <a:gd name="T33" fmla="*/ 112 h 1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40" h="112">
                <a:moveTo>
                  <a:pt x="0" y="111"/>
                </a:moveTo>
                <a:lnTo>
                  <a:pt x="66" y="0"/>
                </a:lnTo>
                <a:lnTo>
                  <a:pt x="139" y="1"/>
                </a:lnTo>
                <a:lnTo>
                  <a:pt x="139" y="8"/>
                </a:lnTo>
                <a:lnTo>
                  <a:pt x="139" y="29"/>
                </a:lnTo>
                <a:lnTo>
                  <a:pt x="85" y="28"/>
                </a:lnTo>
                <a:lnTo>
                  <a:pt x="84" y="71"/>
                </a:lnTo>
                <a:lnTo>
                  <a:pt x="66" y="80"/>
                </a:lnTo>
                <a:lnTo>
                  <a:pt x="66" y="105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99" name="Freeform 191"/>
          <p:cNvSpPr>
            <a:spLocks/>
          </p:cNvSpPr>
          <p:nvPr/>
        </p:nvSpPr>
        <p:spPr bwMode="auto">
          <a:xfrm>
            <a:off x="4748213" y="3905250"/>
            <a:ext cx="382587" cy="460375"/>
          </a:xfrm>
          <a:custGeom>
            <a:avLst/>
            <a:gdLst>
              <a:gd name="T0" fmla="*/ 0 w 278"/>
              <a:gd name="T1" fmla="*/ 2147483647 h 314"/>
              <a:gd name="T2" fmla="*/ 2147483647 w 278"/>
              <a:gd name="T3" fmla="*/ 2147483647 h 314"/>
              <a:gd name="T4" fmla="*/ 2147483647 w 278"/>
              <a:gd name="T5" fmla="*/ 2147483647 h 314"/>
              <a:gd name="T6" fmla="*/ 2147483647 w 278"/>
              <a:gd name="T7" fmla="*/ 2147483647 h 314"/>
              <a:gd name="T8" fmla="*/ 2147483647 w 278"/>
              <a:gd name="T9" fmla="*/ 2147483647 h 314"/>
              <a:gd name="T10" fmla="*/ 2147483647 w 278"/>
              <a:gd name="T11" fmla="*/ 2147483647 h 314"/>
              <a:gd name="T12" fmla="*/ 2147483647 w 278"/>
              <a:gd name="T13" fmla="*/ 2147483647 h 314"/>
              <a:gd name="T14" fmla="*/ 2147483647 w 278"/>
              <a:gd name="T15" fmla="*/ 2147483647 h 314"/>
              <a:gd name="T16" fmla="*/ 2147483647 w 278"/>
              <a:gd name="T17" fmla="*/ 2147483647 h 314"/>
              <a:gd name="T18" fmla="*/ 2147483647 w 278"/>
              <a:gd name="T19" fmla="*/ 2147483647 h 314"/>
              <a:gd name="T20" fmla="*/ 2147483647 w 278"/>
              <a:gd name="T21" fmla="*/ 2147483647 h 314"/>
              <a:gd name="T22" fmla="*/ 2147483647 w 278"/>
              <a:gd name="T23" fmla="*/ 2147483647 h 314"/>
              <a:gd name="T24" fmla="*/ 2147483647 w 278"/>
              <a:gd name="T25" fmla="*/ 2147483647 h 314"/>
              <a:gd name="T26" fmla="*/ 2147483647 w 278"/>
              <a:gd name="T27" fmla="*/ 2147483647 h 314"/>
              <a:gd name="T28" fmla="*/ 2147483647 w 278"/>
              <a:gd name="T29" fmla="*/ 2147483647 h 314"/>
              <a:gd name="T30" fmla="*/ 2147483647 w 278"/>
              <a:gd name="T31" fmla="*/ 2147483647 h 314"/>
              <a:gd name="T32" fmla="*/ 2147483647 w 278"/>
              <a:gd name="T33" fmla="*/ 2147483647 h 314"/>
              <a:gd name="T34" fmla="*/ 2147483647 w 278"/>
              <a:gd name="T35" fmla="*/ 0 h 314"/>
              <a:gd name="T36" fmla="*/ 2147483647 w 278"/>
              <a:gd name="T37" fmla="*/ 2147483647 h 314"/>
              <a:gd name="T38" fmla="*/ 2147483647 w 278"/>
              <a:gd name="T39" fmla="*/ 2147483647 h 314"/>
              <a:gd name="T40" fmla="*/ 2147483647 w 278"/>
              <a:gd name="T41" fmla="*/ 2147483647 h 314"/>
              <a:gd name="T42" fmla="*/ 2147483647 w 278"/>
              <a:gd name="T43" fmla="*/ 2147483647 h 314"/>
              <a:gd name="T44" fmla="*/ 2147483647 w 278"/>
              <a:gd name="T45" fmla="*/ 2147483647 h 314"/>
              <a:gd name="T46" fmla="*/ 2147483647 w 278"/>
              <a:gd name="T47" fmla="*/ 2147483647 h 314"/>
              <a:gd name="T48" fmla="*/ 2147483647 w 278"/>
              <a:gd name="T49" fmla="*/ 2147483647 h 314"/>
              <a:gd name="T50" fmla="*/ 0 w 278"/>
              <a:gd name="T51" fmla="*/ 2147483647 h 31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78"/>
              <a:gd name="T79" fmla="*/ 0 h 314"/>
              <a:gd name="T80" fmla="*/ 278 w 278"/>
              <a:gd name="T81" fmla="*/ 314 h 31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78" h="314">
                <a:moveTo>
                  <a:pt x="0" y="164"/>
                </a:moveTo>
                <a:lnTo>
                  <a:pt x="14" y="194"/>
                </a:lnTo>
                <a:lnTo>
                  <a:pt x="27" y="228"/>
                </a:lnTo>
                <a:lnTo>
                  <a:pt x="55" y="242"/>
                </a:lnTo>
                <a:lnTo>
                  <a:pt x="95" y="287"/>
                </a:lnTo>
                <a:lnTo>
                  <a:pt x="151" y="313"/>
                </a:lnTo>
                <a:lnTo>
                  <a:pt x="203" y="306"/>
                </a:lnTo>
                <a:lnTo>
                  <a:pt x="233" y="297"/>
                </a:lnTo>
                <a:lnTo>
                  <a:pt x="215" y="264"/>
                </a:lnTo>
                <a:lnTo>
                  <a:pt x="186" y="246"/>
                </a:lnTo>
                <a:lnTo>
                  <a:pt x="204" y="233"/>
                </a:lnTo>
                <a:lnTo>
                  <a:pt x="207" y="202"/>
                </a:lnTo>
                <a:lnTo>
                  <a:pt x="239" y="164"/>
                </a:lnTo>
                <a:lnTo>
                  <a:pt x="252" y="98"/>
                </a:lnTo>
                <a:lnTo>
                  <a:pt x="277" y="81"/>
                </a:lnTo>
                <a:lnTo>
                  <a:pt x="259" y="67"/>
                </a:lnTo>
                <a:lnTo>
                  <a:pt x="250" y="17"/>
                </a:lnTo>
                <a:lnTo>
                  <a:pt x="229" y="0"/>
                </a:lnTo>
                <a:lnTo>
                  <a:pt x="203" y="21"/>
                </a:lnTo>
                <a:lnTo>
                  <a:pt x="52" y="17"/>
                </a:lnTo>
                <a:lnTo>
                  <a:pt x="52" y="48"/>
                </a:lnTo>
                <a:lnTo>
                  <a:pt x="37" y="49"/>
                </a:lnTo>
                <a:lnTo>
                  <a:pt x="37" y="59"/>
                </a:lnTo>
                <a:lnTo>
                  <a:pt x="36" y="119"/>
                </a:lnTo>
                <a:lnTo>
                  <a:pt x="20" y="121"/>
                </a:lnTo>
                <a:lnTo>
                  <a:pt x="0" y="16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0" name="Freeform 192"/>
          <p:cNvSpPr>
            <a:spLocks/>
          </p:cNvSpPr>
          <p:nvPr/>
        </p:nvSpPr>
        <p:spPr bwMode="auto">
          <a:xfrm>
            <a:off x="2897188" y="4311650"/>
            <a:ext cx="96837" cy="88900"/>
          </a:xfrm>
          <a:custGeom>
            <a:avLst/>
            <a:gdLst>
              <a:gd name="T0" fmla="*/ 0 w 70"/>
              <a:gd name="T1" fmla="*/ 2147483647 h 61"/>
              <a:gd name="T2" fmla="*/ 2147483647 w 70"/>
              <a:gd name="T3" fmla="*/ 0 h 61"/>
              <a:gd name="T4" fmla="*/ 2147483647 w 70"/>
              <a:gd name="T5" fmla="*/ 2147483647 h 61"/>
              <a:gd name="T6" fmla="*/ 2147483647 w 70"/>
              <a:gd name="T7" fmla="*/ 2147483647 h 61"/>
              <a:gd name="T8" fmla="*/ 2147483647 w 70"/>
              <a:gd name="T9" fmla="*/ 2147483647 h 61"/>
              <a:gd name="T10" fmla="*/ 0 w 70"/>
              <a:gd name="T11" fmla="*/ 2147483647 h 6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0"/>
              <a:gd name="T19" fmla="*/ 0 h 61"/>
              <a:gd name="T20" fmla="*/ 70 w 70"/>
              <a:gd name="T21" fmla="*/ 61 h 6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0" h="61">
                <a:moveTo>
                  <a:pt x="0" y="28"/>
                </a:moveTo>
                <a:lnTo>
                  <a:pt x="20" y="0"/>
                </a:lnTo>
                <a:lnTo>
                  <a:pt x="69" y="5"/>
                </a:lnTo>
                <a:lnTo>
                  <a:pt x="63" y="55"/>
                </a:lnTo>
                <a:lnTo>
                  <a:pt x="28" y="60"/>
                </a:lnTo>
                <a:lnTo>
                  <a:pt x="0" y="2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1" name="Freeform 193"/>
          <p:cNvSpPr>
            <a:spLocks/>
          </p:cNvSpPr>
          <p:nvPr/>
        </p:nvSpPr>
        <p:spPr bwMode="auto">
          <a:xfrm>
            <a:off x="4489450" y="2028825"/>
            <a:ext cx="246063" cy="176213"/>
          </a:xfrm>
          <a:custGeom>
            <a:avLst/>
            <a:gdLst>
              <a:gd name="T0" fmla="*/ 0 w 179"/>
              <a:gd name="T1" fmla="*/ 2147483647 h 121"/>
              <a:gd name="T2" fmla="*/ 2147483647 w 179"/>
              <a:gd name="T3" fmla="*/ 2147483647 h 121"/>
              <a:gd name="T4" fmla="*/ 2147483647 w 179"/>
              <a:gd name="T5" fmla="*/ 2147483647 h 121"/>
              <a:gd name="T6" fmla="*/ 2147483647 w 179"/>
              <a:gd name="T7" fmla="*/ 2147483647 h 121"/>
              <a:gd name="T8" fmla="*/ 2147483647 w 179"/>
              <a:gd name="T9" fmla="*/ 2147483647 h 121"/>
              <a:gd name="T10" fmla="*/ 2147483647 w 179"/>
              <a:gd name="T11" fmla="*/ 2147483647 h 121"/>
              <a:gd name="T12" fmla="*/ 2147483647 w 179"/>
              <a:gd name="T13" fmla="*/ 2147483647 h 121"/>
              <a:gd name="T14" fmla="*/ 2147483647 w 179"/>
              <a:gd name="T15" fmla="*/ 2147483647 h 121"/>
              <a:gd name="T16" fmla="*/ 2147483647 w 179"/>
              <a:gd name="T17" fmla="*/ 2147483647 h 121"/>
              <a:gd name="T18" fmla="*/ 2147483647 w 179"/>
              <a:gd name="T19" fmla="*/ 2147483647 h 121"/>
              <a:gd name="T20" fmla="*/ 2147483647 w 179"/>
              <a:gd name="T21" fmla="*/ 2147483647 h 121"/>
              <a:gd name="T22" fmla="*/ 2147483647 w 179"/>
              <a:gd name="T23" fmla="*/ 2147483647 h 121"/>
              <a:gd name="T24" fmla="*/ 2147483647 w 179"/>
              <a:gd name="T25" fmla="*/ 2147483647 h 121"/>
              <a:gd name="T26" fmla="*/ 2147483647 w 179"/>
              <a:gd name="T27" fmla="*/ 2147483647 h 121"/>
              <a:gd name="T28" fmla="*/ 2147483647 w 179"/>
              <a:gd name="T29" fmla="*/ 2147483647 h 121"/>
              <a:gd name="T30" fmla="*/ 2147483647 w 179"/>
              <a:gd name="T31" fmla="*/ 2147483647 h 121"/>
              <a:gd name="T32" fmla="*/ 2147483647 w 179"/>
              <a:gd name="T33" fmla="*/ 2147483647 h 121"/>
              <a:gd name="T34" fmla="*/ 2147483647 w 179"/>
              <a:gd name="T35" fmla="*/ 2147483647 h 121"/>
              <a:gd name="T36" fmla="*/ 2147483647 w 179"/>
              <a:gd name="T37" fmla="*/ 2147483647 h 121"/>
              <a:gd name="T38" fmla="*/ 2147483647 w 179"/>
              <a:gd name="T39" fmla="*/ 2147483647 h 121"/>
              <a:gd name="T40" fmla="*/ 2147483647 w 179"/>
              <a:gd name="T41" fmla="*/ 2147483647 h 121"/>
              <a:gd name="T42" fmla="*/ 2147483647 w 179"/>
              <a:gd name="T43" fmla="*/ 2147483647 h 121"/>
              <a:gd name="T44" fmla="*/ 2147483647 w 179"/>
              <a:gd name="T45" fmla="*/ 2147483647 h 121"/>
              <a:gd name="T46" fmla="*/ 2147483647 w 179"/>
              <a:gd name="T47" fmla="*/ 2147483647 h 121"/>
              <a:gd name="T48" fmla="*/ 2147483647 w 179"/>
              <a:gd name="T49" fmla="*/ 2147483647 h 121"/>
              <a:gd name="T50" fmla="*/ 2147483647 w 179"/>
              <a:gd name="T51" fmla="*/ 2147483647 h 121"/>
              <a:gd name="T52" fmla="*/ 2147483647 w 179"/>
              <a:gd name="T53" fmla="*/ 2147483647 h 121"/>
              <a:gd name="T54" fmla="*/ 2147483647 w 179"/>
              <a:gd name="T55" fmla="*/ 2147483647 h 121"/>
              <a:gd name="T56" fmla="*/ 2147483647 w 179"/>
              <a:gd name="T57" fmla="*/ 2147483647 h 121"/>
              <a:gd name="T58" fmla="*/ 2147483647 w 179"/>
              <a:gd name="T59" fmla="*/ 0 h 121"/>
              <a:gd name="T60" fmla="*/ 2147483647 w 179"/>
              <a:gd name="T61" fmla="*/ 2147483647 h 121"/>
              <a:gd name="T62" fmla="*/ 2147483647 w 179"/>
              <a:gd name="T63" fmla="*/ 2147483647 h 121"/>
              <a:gd name="T64" fmla="*/ 2147483647 w 179"/>
              <a:gd name="T65" fmla="*/ 2147483647 h 121"/>
              <a:gd name="T66" fmla="*/ 2147483647 w 179"/>
              <a:gd name="T67" fmla="*/ 2147483647 h 121"/>
              <a:gd name="T68" fmla="*/ 2147483647 w 179"/>
              <a:gd name="T69" fmla="*/ 2147483647 h 121"/>
              <a:gd name="T70" fmla="*/ 2147483647 w 179"/>
              <a:gd name="T71" fmla="*/ 2147483647 h 121"/>
              <a:gd name="T72" fmla="*/ 2147483647 w 179"/>
              <a:gd name="T73" fmla="*/ 2147483647 h 121"/>
              <a:gd name="T74" fmla="*/ 0 w 179"/>
              <a:gd name="T75" fmla="*/ 2147483647 h 12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79"/>
              <a:gd name="T115" fmla="*/ 0 h 121"/>
              <a:gd name="T116" fmla="*/ 179 w 179"/>
              <a:gd name="T117" fmla="*/ 121 h 12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79" h="121">
                <a:moveTo>
                  <a:pt x="0" y="14"/>
                </a:moveTo>
                <a:lnTo>
                  <a:pt x="1" y="28"/>
                </a:lnTo>
                <a:lnTo>
                  <a:pt x="20" y="28"/>
                </a:lnTo>
                <a:lnTo>
                  <a:pt x="14" y="37"/>
                </a:lnTo>
                <a:lnTo>
                  <a:pt x="27" y="43"/>
                </a:lnTo>
                <a:lnTo>
                  <a:pt x="9" y="40"/>
                </a:lnTo>
                <a:lnTo>
                  <a:pt x="39" y="54"/>
                </a:lnTo>
                <a:lnTo>
                  <a:pt x="28" y="58"/>
                </a:lnTo>
                <a:lnTo>
                  <a:pt x="37" y="65"/>
                </a:lnTo>
                <a:lnTo>
                  <a:pt x="65" y="61"/>
                </a:lnTo>
                <a:lnTo>
                  <a:pt x="64" y="49"/>
                </a:lnTo>
                <a:lnTo>
                  <a:pt x="77" y="44"/>
                </a:lnTo>
                <a:lnTo>
                  <a:pt x="80" y="58"/>
                </a:lnTo>
                <a:lnTo>
                  <a:pt x="97" y="49"/>
                </a:lnTo>
                <a:lnTo>
                  <a:pt x="93" y="58"/>
                </a:lnTo>
                <a:lnTo>
                  <a:pt x="109" y="59"/>
                </a:lnTo>
                <a:lnTo>
                  <a:pt x="48" y="73"/>
                </a:lnTo>
                <a:lnTo>
                  <a:pt x="52" y="83"/>
                </a:lnTo>
                <a:lnTo>
                  <a:pt x="102" y="77"/>
                </a:lnTo>
                <a:lnTo>
                  <a:pt x="68" y="86"/>
                </a:lnTo>
                <a:lnTo>
                  <a:pt x="87" y="91"/>
                </a:lnTo>
                <a:lnTo>
                  <a:pt x="54" y="96"/>
                </a:lnTo>
                <a:lnTo>
                  <a:pt x="104" y="120"/>
                </a:lnTo>
                <a:lnTo>
                  <a:pt x="136" y="58"/>
                </a:lnTo>
                <a:lnTo>
                  <a:pt x="178" y="44"/>
                </a:lnTo>
                <a:lnTo>
                  <a:pt x="133" y="33"/>
                </a:lnTo>
                <a:lnTo>
                  <a:pt x="128" y="19"/>
                </a:lnTo>
                <a:lnTo>
                  <a:pt x="113" y="27"/>
                </a:lnTo>
                <a:lnTo>
                  <a:pt x="119" y="13"/>
                </a:lnTo>
                <a:lnTo>
                  <a:pt x="92" y="0"/>
                </a:lnTo>
                <a:lnTo>
                  <a:pt x="81" y="13"/>
                </a:lnTo>
                <a:lnTo>
                  <a:pt x="95" y="43"/>
                </a:lnTo>
                <a:lnTo>
                  <a:pt x="61" y="12"/>
                </a:lnTo>
                <a:lnTo>
                  <a:pt x="52" y="19"/>
                </a:lnTo>
                <a:lnTo>
                  <a:pt x="58" y="31"/>
                </a:lnTo>
                <a:lnTo>
                  <a:pt x="26" y="20"/>
                </a:lnTo>
                <a:lnTo>
                  <a:pt x="49" y="9"/>
                </a:lnTo>
                <a:lnTo>
                  <a:pt x="0" y="1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2" name="Freeform 194"/>
          <p:cNvSpPr>
            <a:spLocks/>
          </p:cNvSpPr>
          <p:nvPr/>
        </p:nvSpPr>
        <p:spPr bwMode="auto">
          <a:xfrm>
            <a:off x="4645025" y="2003425"/>
            <a:ext cx="223838" cy="76200"/>
          </a:xfrm>
          <a:custGeom>
            <a:avLst/>
            <a:gdLst>
              <a:gd name="T0" fmla="*/ 0 w 163"/>
              <a:gd name="T1" fmla="*/ 2147483647 h 52"/>
              <a:gd name="T2" fmla="*/ 2147483647 w 163"/>
              <a:gd name="T3" fmla="*/ 2147483647 h 52"/>
              <a:gd name="T4" fmla="*/ 2147483647 w 163"/>
              <a:gd name="T5" fmla="*/ 2147483647 h 52"/>
              <a:gd name="T6" fmla="*/ 2147483647 w 163"/>
              <a:gd name="T7" fmla="*/ 2147483647 h 52"/>
              <a:gd name="T8" fmla="*/ 2147483647 w 163"/>
              <a:gd name="T9" fmla="*/ 2147483647 h 52"/>
              <a:gd name="T10" fmla="*/ 2147483647 w 163"/>
              <a:gd name="T11" fmla="*/ 2147483647 h 52"/>
              <a:gd name="T12" fmla="*/ 2147483647 w 163"/>
              <a:gd name="T13" fmla="*/ 2147483647 h 52"/>
              <a:gd name="T14" fmla="*/ 2147483647 w 163"/>
              <a:gd name="T15" fmla="*/ 2147483647 h 52"/>
              <a:gd name="T16" fmla="*/ 2147483647 w 163"/>
              <a:gd name="T17" fmla="*/ 2147483647 h 52"/>
              <a:gd name="T18" fmla="*/ 2147483647 w 163"/>
              <a:gd name="T19" fmla="*/ 2147483647 h 52"/>
              <a:gd name="T20" fmla="*/ 2147483647 w 163"/>
              <a:gd name="T21" fmla="*/ 2147483647 h 52"/>
              <a:gd name="T22" fmla="*/ 2147483647 w 163"/>
              <a:gd name="T23" fmla="*/ 2147483647 h 52"/>
              <a:gd name="T24" fmla="*/ 2147483647 w 163"/>
              <a:gd name="T25" fmla="*/ 2147483647 h 52"/>
              <a:gd name="T26" fmla="*/ 2147483647 w 163"/>
              <a:gd name="T27" fmla="*/ 0 h 52"/>
              <a:gd name="T28" fmla="*/ 2147483647 w 163"/>
              <a:gd name="T29" fmla="*/ 2147483647 h 52"/>
              <a:gd name="T30" fmla="*/ 2147483647 w 163"/>
              <a:gd name="T31" fmla="*/ 0 h 52"/>
              <a:gd name="T32" fmla="*/ 2147483647 w 163"/>
              <a:gd name="T33" fmla="*/ 2147483647 h 52"/>
              <a:gd name="T34" fmla="*/ 2147483647 w 163"/>
              <a:gd name="T35" fmla="*/ 2147483647 h 52"/>
              <a:gd name="T36" fmla="*/ 2147483647 w 163"/>
              <a:gd name="T37" fmla="*/ 2147483647 h 52"/>
              <a:gd name="T38" fmla="*/ 0 w 163"/>
              <a:gd name="T39" fmla="*/ 2147483647 h 5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63"/>
              <a:gd name="T61" fmla="*/ 0 h 52"/>
              <a:gd name="T62" fmla="*/ 163 w 163"/>
              <a:gd name="T63" fmla="*/ 52 h 5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63" h="52">
                <a:moveTo>
                  <a:pt x="0" y="14"/>
                </a:moveTo>
                <a:lnTo>
                  <a:pt x="23" y="19"/>
                </a:lnTo>
                <a:lnTo>
                  <a:pt x="11" y="24"/>
                </a:lnTo>
                <a:lnTo>
                  <a:pt x="17" y="28"/>
                </a:lnTo>
                <a:lnTo>
                  <a:pt x="74" y="27"/>
                </a:lnTo>
                <a:lnTo>
                  <a:pt x="37" y="36"/>
                </a:lnTo>
                <a:lnTo>
                  <a:pt x="98" y="51"/>
                </a:lnTo>
                <a:lnTo>
                  <a:pt x="137" y="42"/>
                </a:lnTo>
                <a:lnTo>
                  <a:pt x="162" y="24"/>
                </a:lnTo>
                <a:lnTo>
                  <a:pt x="156" y="14"/>
                </a:lnTo>
                <a:lnTo>
                  <a:pt x="117" y="15"/>
                </a:lnTo>
                <a:lnTo>
                  <a:pt x="124" y="7"/>
                </a:lnTo>
                <a:lnTo>
                  <a:pt x="94" y="15"/>
                </a:lnTo>
                <a:lnTo>
                  <a:pt x="89" y="0"/>
                </a:lnTo>
                <a:lnTo>
                  <a:pt x="82" y="20"/>
                </a:lnTo>
                <a:lnTo>
                  <a:pt x="37" y="0"/>
                </a:lnTo>
                <a:lnTo>
                  <a:pt x="40" y="13"/>
                </a:lnTo>
                <a:lnTo>
                  <a:pt x="27" y="7"/>
                </a:lnTo>
                <a:lnTo>
                  <a:pt x="32" y="19"/>
                </a:lnTo>
                <a:lnTo>
                  <a:pt x="0" y="1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3" name="Freeform 195"/>
          <p:cNvSpPr>
            <a:spLocks/>
          </p:cNvSpPr>
          <p:nvPr/>
        </p:nvSpPr>
        <p:spPr bwMode="auto">
          <a:xfrm>
            <a:off x="4719638" y="2122488"/>
            <a:ext cx="98425" cy="50800"/>
          </a:xfrm>
          <a:custGeom>
            <a:avLst/>
            <a:gdLst>
              <a:gd name="T0" fmla="*/ 0 w 71"/>
              <a:gd name="T1" fmla="*/ 2147483647 h 35"/>
              <a:gd name="T2" fmla="*/ 2147483647 w 71"/>
              <a:gd name="T3" fmla="*/ 2147483647 h 35"/>
              <a:gd name="T4" fmla="*/ 2147483647 w 71"/>
              <a:gd name="T5" fmla="*/ 0 h 35"/>
              <a:gd name="T6" fmla="*/ 2147483647 w 71"/>
              <a:gd name="T7" fmla="*/ 2147483647 h 35"/>
              <a:gd name="T8" fmla="*/ 2147483647 w 71"/>
              <a:gd name="T9" fmla="*/ 2147483647 h 35"/>
              <a:gd name="T10" fmla="*/ 2147483647 w 71"/>
              <a:gd name="T11" fmla="*/ 2147483647 h 35"/>
              <a:gd name="T12" fmla="*/ 2147483647 w 71"/>
              <a:gd name="T13" fmla="*/ 2147483647 h 35"/>
              <a:gd name="T14" fmla="*/ 0 w 71"/>
              <a:gd name="T15" fmla="*/ 2147483647 h 3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1"/>
              <a:gd name="T25" fmla="*/ 0 h 35"/>
              <a:gd name="T26" fmla="*/ 71 w 71"/>
              <a:gd name="T27" fmla="*/ 35 h 3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1" h="35">
                <a:moveTo>
                  <a:pt x="0" y="28"/>
                </a:moveTo>
                <a:lnTo>
                  <a:pt x="6" y="11"/>
                </a:lnTo>
                <a:lnTo>
                  <a:pt x="35" y="0"/>
                </a:lnTo>
                <a:lnTo>
                  <a:pt x="39" y="11"/>
                </a:lnTo>
                <a:lnTo>
                  <a:pt x="70" y="18"/>
                </a:lnTo>
                <a:lnTo>
                  <a:pt x="30" y="34"/>
                </a:lnTo>
                <a:lnTo>
                  <a:pt x="35" y="25"/>
                </a:lnTo>
                <a:lnTo>
                  <a:pt x="0" y="2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4" name="Freeform 196"/>
          <p:cNvSpPr>
            <a:spLocks/>
          </p:cNvSpPr>
          <p:nvPr/>
        </p:nvSpPr>
        <p:spPr bwMode="auto">
          <a:xfrm>
            <a:off x="4951413" y="5049838"/>
            <a:ext cx="28575" cy="36512"/>
          </a:xfrm>
          <a:custGeom>
            <a:avLst/>
            <a:gdLst>
              <a:gd name="T0" fmla="*/ 0 w 21"/>
              <a:gd name="T1" fmla="*/ 2147483647 h 25"/>
              <a:gd name="T2" fmla="*/ 2147483647 w 21"/>
              <a:gd name="T3" fmla="*/ 2147483647 h 25"/>
              <a:gd name="T4" fmla="*/ 2147483647 w 21"/>
              <a:gd name="T5" fmla="*/ 2147483647 h 25"/>
              <a:gd name="T6" fmla="*/ 2147483647 w 21"/>
              <a:gd name="T7" fmla="*/ 0 h 25"/>
              <a:gd name="T8" fmla="*/ 0 w 21"/>
              <a:gd name="T9" fmla="*/ 2147483647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1"/>
              <a:gd name="T16" fmla="*/ 0 h 25"/>
              <a:gd name="T17" fmla="*/ 21 w 21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1" h="25">
                <a:moveTo>
                  <a:pt x="0" y="14"/>
                </a:moveTo>
                <a:lnTo>
                  <a:pt x="13" y="24"/>
                </a:lnTo>
                <a:lnTo>
                  <a:pt x="20" y="17"/>
                </a:lnTo>
                <a:lnTo>
                  <a:pt x="20" y="0"/>
                </a:lnTo>
                <a:lnTo>
                  <a:pt x="0" y="1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5" name="Freeform 197"/>
          <p:cNvSpPr>
            <a:spLocks/>
          </p:cNvSpPr>
          <p:nvPr/>
        </p:nvSpPr>
        <p:spPr bwMode="auto">
          <a:xfrm>
            <a:off x="4497388" y="2541588"/>
            <a:ext cx="298450" cy="488950"/>
          </a:xfrm>
          <a:custGeom>
            <a:avLst/>
            <a:gdLst>
              <a:gd name="T0" fmla="*/ 0 w 217"/>
              <a:gd name="T1" fmla="*/ 2147483647 h 334"/>
              <a:gd name="T2" fmla="*/ 2147483647 w 217"/>
              <a:gd name="T3" fmla="*/ 2147483647 h 334"/>
              <a:gd name="T4" fmla="*/ 2147483647 w 217"/>
              <a:gd name="T5" fmla="*/ 2147483647 h 334"/>
              <a:gd name="T6" fmla="*/ 2147483647 w 217"/>
              <a:gd name="T7" fmla="*/ 2147483647 h 334"/>
              <a:gd name="T8" fmla="*/ 2147483647 w 217"/>
              <a:gd name="T9" fmla="*/ 2147483647 h 334"/>
              <a:gd name="T10" fmla="*/ 2147483647 w 217"/>
              <a:gd name="T11" fmla="*/ 2147483647 h 334"/>
              <a:gd name="T12" fmla="*/ 2147483647 w 217"/>
              <a:gd name="T13" fmla="*/ 2147483647 h 334"/>
              <a:gd name="T14" fmla="*/ 2147483647 w 217"/>
              <a:gd name="T15" fmla="*/ 2147483647 h 334"/>
              <a:gd name="T16" fmla="*/ 2147483647 w 217"/>
              <a:gd name="T17" fmla="*/ 2147483647 h 334"/>
              <a:gd name="T18" fmla="*/ 2147483647 w 217"/>
              <a:gd name="T19" fmla="*/ 2147483647 h 334"/>
              <a:gd name="T20" fmla="*/ 2147483647 w 217"/>
              <a:gd name="T21" fmla="*/ 2147483647 h 334"/>
              <a:gd name="T22" fmla="*/ 2147483647 w 217"/>
              <a:gd name="T23" fmla="*/ 2147483647 h 334"/>
              <a:gd name="T24" fmla="*/ 2147483647 w 217"/>
              <a:gd name="T25" fmla="*/ 2147483647 h 334"/>
              <a:gd name="T26" fmla="*/ 2147483647 w 217"/>
              <a:gd name="T27" fmla="*/ 2147483647 h 334"/>
              <a:gd name="T28" fmla="*/ 2147483647 w 217"/>
              <a:gd name="T29" fmla="*/ 2147483647 h 334"/>
              <a:gd name="T30" fmla="*/ 2147483647 w 217"/>
              <a:gd name="T31" fmla="*/ 2147483647 h 334"/>
              <a:gd name="T32" fmla="*/ 2147483647 w 217"/>
              <a:gd name="T33" fmla="*/ 2147483647 h 334"/>
              <a:gd name="T34" fmla="*/ 2147483647 w 217"/>
              <a:gd name="T35" fmla="*/ 2147483647 h 334"/>
              <a:gd name="T36" fmla="*/ 2147483647 w 217"/>
              <a:gd name="T37" fmla="*/ 2147483647 h 334"/>
              <a:gd name="T38" fmla="*/ 2147483647 w 217"/>
              <a:gd name="T39" fmla="*/ 2147483647 h 334"/>
              <a:gd name="T40" fmla="*/ 2147483647 w 217"/>
              <a:gd name="T41" fmla="*/ 0 h 334"/>
              <a:gd name="T42" fmla="*/ 2147483647 w 217"/>
              <a:gd name="T43" fmla="*/ 2147483647 h 334"/>
              <a:gd name="T44" fmla="*/ 2147483647 w 217"/>
              <a:gd name="T45" fmla="*/ 2147483647 h 334"/>
              <a:gd name="T46" fmla="*/ 2147483647 w 217"/>
              <a:gd name="T47" fmla="*/ 2147483647 h 334"/>
              <a:gd name="T48" fmla="*/ 2147483647 w 217"/>
              <a:gd name="T49" fmla="*/ 2147483647 h 334"/>
              <a:gd name="T50" fmla="*/ 2147483647 w 217"/>
              <a:gd name="T51" fmla="*/ 2147483647 h 334"/>
              <a:gd name="T52" fmla="*/ 2147483647 w 217"/>
              <a:gd name="T53" fmla="*/ 2147483647 h 334"/>
              <a:gd name="T54" fmla="*/ 2147483647 w 217"/>
              <a:gd name="T55" fmla="*/ 2147483647 h 334"/>
              <a:gd name="T56" fmla="*/ 2147483647 w 217"/>
              <a:gd name="T57" fmla="*/ 2147483647 h 334"/>
              <a:gd name="T58" fmla="*/ 2147483647 w 217"/>
              <a:gd name="T59" fmla="*/ 2147483647 h 334"/>
              <a:gd name="T60" fmla="*/ 2147483647 w 217"/>
              <a:gd name="T61" fmla="*/ 2147483647 h 334"/>
              <a:gd name="T62" fmla="*/ 2147483647 w 217"/>
              <a:gd name="T63" fmla="*/ 2147483647 h 334"/>
              <a:gd name="T64" fmla="*/ 2147483647 w 217"/>
              <a:gd name="T65" fmla="*/ 2147483647 h 334"/>
              <a:gd name="T66" fmla="*/ 2147483647 w 217"/>
              <a:gd name="T67" fmla="*/ 2147483647 h 334"/>
              <a:gd name="T68" fmla="*/ 2147483647 w 217"/>
              <a:gd name="T69" fmla="*/ 2147483647 h 334"/>
              <a:gd name="T70" fmla="*/ 0 w 217"/>
              <a:gd name="T71" fmla="*/ 2147483647 h 334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17"/>
              <a:gd name="T109" fmla="*/ 0 h 334"/>
              <a:gd name="T110" fmla="*/ 217 w 217"/>
              <a:gd name="T111" fmla="*/ 334 h 334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17" h="334">
                <a:moveTo>
                  <a:pt x="0" y="252"/>
                </a:moveTo>
                <a:lnTo>
                  <a:pt x="10" y="290"/>
                </a:lnTo>
                <a:lnTo>
                  <a:pt x="27" y="307"/>
                </a:lnTo>
                <a:lnTo>
                  <a:pt x="26" y="333"/>
                </a:lnTo>
                <a:lnTo>
                  <a:pt x="78" y="317"/>
                </a:lnTo>
                <a:lnTo>
                  <a:pt x="93" y="265"/>
                </a:lnTo>
                <a:lnTo>
                  <a:pt x="81" y="261"/>
                </a:lnTo>
                <a:lnTo>
                  <a:pt x="122" y="244"/>
                </a:lnTo>
                <a:lnTo>
                  <a:pt x="85" y="241"/>
                </a:lnTo>
                <a:lnTo>
                  <a:pt x="111" y="244"/>
                </a:lnTo>
                <a:lnTo>
                  <a:pt x="127" y="231"/>
                </a:lnTo>
                <a:lnTo>
                  <a:pt x="105" y="215"/>
                </a:lnTo>
                <a:lnTo>
                  <a:pt x="83" y="225"/>
                </a:lnTo>
                <a:lnTo>
                  <a:pt x="101" y="216"/>
                </a:lnTo>
                <a:lnTo>
                  <a:pt x="101" y="169"/>
                </a:lnTo>
                <a:lnTo>
                  <a:pt x="175" y="123"/>
                </a:lnTo>
                <a:lnTo>
                  <a:pt x="168" y="111"/>
                </a:lnTo>
                <a:lnTo>
                  <a:pt x="180" y="89"/>
                </a:lnTo>
                <a:lnTo>
                  <a:pt x="216" y="84"/>
                </a:lnTo>
                <a:lnTo>
                  <a:pt x="207" y="30"/>
                </a:lnTo>
                <a:lnTo>
                  <a:pt x="158" y="0"/>
                </a:lnTo>
                <a:lnTo>
                  <a:pt x="149" y="1"/>
                </a:lnTo>
                <a:lnTo>
                  <a:pt x="148" y="17"/>
                </a:lnTo>
                <a:lnTo>
                  <a:pt x="120" y="15"/>
                </a:lnTo>
                <a:lnTo>
                  <a:pt x="111" y="30"/>
                </a:lnTo>
                <a:lnTo>
                  <a:pt x="91" y="32"/>
                </a:lnTo>
                <a:lnTo>
                  <a:pt x="86" y="55"/>
                </a:lnTo>
                <a:lnTo>
                  <a:pt x="56" y="80"/>
                </a:lnTo>
                <a:lnTo>
                  <a:pt x="43" y="116"/>
                </a:lnTo>
                <a:lnTo>
                  <a:pt x="48" y="129"/>
                </a:lnTo>
                <a:lnTo>
                  <a:pt x="16" y="142"/>
                </a:lnTo>
                <a:lnTo>
                  <a:pt x="16" y="188"/>
                </a:lnTo>
                <a:lnTo>
                  <a:pt x="25" y="197"/>
                </a:lnTo>
                <a:lnTo>
                  <a:pt x="16" y="207"/>
                </a:lnTo>
                <a:lnTo>
                  <a:pt x="20" y="227"/>
                </a:lnTo>
                <a:lnTo>
                  <a:pt x="0" y="25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6" name="Freeform 198"/>
          <p:cNvSpPr>
            <a:spLocks/>
          </p:cNvSpPr>
          <p:nvPr/>
        </p:nvSpPr>
        <p:spPr bwMode="auto">
          <a:xfrm>
            <a:off x="4375150" y="3259138"/>
            <a:ext cx="107950" cy="52387"/>
          </a:xfrm>
          <a:custGeom>
            <a:avLst/>
            <a:gdLst>
              <a:gd name="T0" fmla="*/ 0 w 78"/>
              <a:gd name="T1" fmla="*/ 2147483647 h 35"/>
              <a:gd name="T2" fmla="*/ 2147483647 w 78"/>
              <a:gd name="T3" fmla="*/ 2147483647 h 35"/>
              <a:gd name="T4" fmla="*/ 2147483647 w 78"/>
              <a:gd name="T5" fmla="*/ 2147483647 h 35"/>
              <a:gd name="T6" fmla="*/ 2147483647 w 78"/>
              <a:gd name="T7" fmla="*/ 2147483647 h 35"/>
              <a:gd name="T8" fmla="*/ 2147483647 w 78"/>
              <a:gd name="T9" fmla="*/ 2147483647 h 35"/>
              <a:gd name="T10" fmla="*/ 2147483647 w 78"/>
              <a:gd name="T11" fmla="*/ 2147483647 h 35"/>
              <a:gd name="T12" fmla="*/ 2147483647 w 78"/>
              <a:gd name="T13" fmla="*/ 2147483647 h 35"/>
              <a:gd name="T14" fmla="*/ 2147483647 w 78"/>
              <a:gd name="T15" fmla="*/ 2147483647 h 35"/>
              <a:gd name="T16" fmla="*/ 2147483647 w 78"/>
              <a:gd name="T17" fmla="*/ 0 h 35"/>
              <a:gd name="T18" fmla="*/ 0 w 78"/>
              <a:gd name="T19" fmla="*/ 2147483647 h 3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78"/>
              <a:gd name="T31" fmla="*/ 0 h 35"/>
              <a:gd name="T32" fmla="*/ 78 w 78"/>
              <a:gd name="T33" fmla="*/ 35 h 3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78" h="35">
                <a:moveTo>
                  <a:pt x="0" y="24"/>
                </a:moveTo>
                <a:lnTo>
                  <a:pt x="18" y="34"/>
                </a:lnTo>
                <a:lnTo>
                  <a:pt x="42" y="24"/>
                </a:lnTo>
                <a:lnTo>
                  <a:pt x="52" y="34"/>
                </a:lnTo>
                <a:lnTo>
                  <a:pt x="77" y="15"/>
                </a:lnTo>
                <a:lnTo>
                  <a:pt x="64" y="12"/>
                </a:lnTo>
                <a:lnTo>
                  <a:pt x="62" y="6"/>
                </a:lnTo>
                <a:lnTo>
                  <a:pt x="61" y="3"/>
                </a:lnTo>
                <a:lnTo>
                  <a:pt x="27" y="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7" name="Freeform 199"/>
          <p:cNvSpPr>
            <a:spLocks/>
          </p:cNvSpPr>
          <p:nvPr/>
        </p:nvSpPr>
        <p:spPr bwMode="auto">
          <a:xfrm>
            <a:off x="5060950" y="3548063"/>
            <a:ext cx="165100" cy="130175"/>
          </a:xfrm>
          <a:custGeom>
            <a:avLst/>
            <a:gdLst>
              <a:gd name="T0" fmla="*/ 0 w 119"/>
              <a:gd name="T1" fmla="*/ 2147483647 h 89"/>
              <a:gd name="T2" fmla="*/ 2147483647 w 119"/>
              <a:gd name="T3" fmla="*/ 2147483647 h 89"/>
              <a:gd name="T4" fmla="*/ 2147483647 w 119"/>
              <a:gd name="T5" fmla="*/ 2147483647 h 89"/>
              <a:gd name="T6" fmla="*/ 2147483647 w 119"/>
              <a:gd name="T7" fmla="*/ 2147483647 h 89"/>
              <a:gd name="T8" fmla="*/ 2147483647 w 119"/>
              <a:gd name="T9" fmla="*/ 2147483647 h 89"/>
              <a:gd name="T10" fmla="*/ 2147483647 w 119"/>
              <a:gd name="T11" fmla="*/ 2147483647 h 89"/>
              <a:gd name="T12" fmla="*/ 2147483647 w 119"/>
              <a:gd name="T13" fmla="*/ 0 h 89"/>
              <a:gd name="T14" fmla="*/ 2147483647 w 119"/>
              <a:gd name="T15" fmla="*/ 2147483647 h 89"/>
              <a:gd name="T16" fmla="*/ 2147483647 w 119"/>
              <a:gd name="T17" fmla="*/ 2147483647 h 89"/>
              <a:gd name="T18" fmla="*/ 2147483647 w 119"/>
              <a:gd name="T19" fmla="*/ 2147483647 h 89"/>
              <a:gd name="T20" fmla="*/ 2147483647 w 119"/>
              <a:gd name="T21" fmla="*/ 2147483647 h 89"/>
              <a:gd name="T22" fmla="*/ 0 w 119"/>
              <a:gd name="T23" fmla="*/ 2147483647 h 8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9"/>
              <a:gd name="T37" fmla="*/ 0 h 89"/>
              <a:gd name="T38" fmla="*/ 119 w 119"/>
              <a:gd name="T39" fmla="*/ 89 h 8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9" h="89">
                <a:moveTo>
                  <a:pt x="0" y="81"/>
                </a:moveTo>
                <a:lnTo>
                  <a:pt x="2" y="71"/>
                </a:lnTo>
                <a:lnTo>
                  <a:pt x="21" y="52"/>
                </a:lnTo>
                <a:lnTo>
                  <a:pt x="9" y="45"/>
                </a:lnTo>
                <a:lnTo>
                  <a:pt x="9" y="22"/>
                </a:lnTo>
                <a:lnTo>
                  <a:pt x="21" y="7"/>
                </a:lnTo>
                <a:lnTo>
                  <a:pt x="118" y="0"/>
                </a:lnTo>
                <a:lnTo>
                  <a:pt x="100" y="14"/>
                </a:lnTo>
                <a:lnTo>
                  <a:pt x="93" y="49"/>
                </a:lnTo>
                <a:lnTo>
                  <a:pt x="53" y="69"/>
                </a:lnTo>
                <a:lnTo>
                  <a:pt x="18" y="88"/>
                </a:lnTo>
                <a:lnTo>
                  <a:pt x="0" y="8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8" name="Freeform 200"/>
          <p:cNvSpPr>
            <a:spLocks/>
          </p:cNvSpPr>
          <p:nvPr/>
        </p:nvSpPr>
        <p:spPr bwMode="auto">
          <a:xfrm>
            <a:off x="4922838" y="4465638"/>
            <a:ext cx="254000" cy="246062"/>
          </a:xfrm>
          <a:custGeom>
            <a:avLst/>
            <a:gdLst>
              <a:gd name="T0" fmla="*/ 0 w 185"/>
              <a:gd name="T1" fmla="*/ 2147483647 h 168"/>
              <a:gd name="T2" fmla="*/ 2147483647 w 185"/>
              <a:gd name="T3" fmla="*/ 2147483647 h 168"/>
              <a:gd name="T4" fmla="*/ 2147483647 w 185"/>
              <a:gd name="T5" fmla="*/ 2147483647 h 168"/>
              <a:gd name="T6" fmla="*/ 2147483647 w 185"/>
              <a:gd name="T7" fmla="*/ 2147483647 h 168"/>
              <a:gd name="T8" fmla="*/ 2147483647 w 185"/>
              <a:gd name="T9" fmla="*/ 2147483647 h 168"/>
              <a:gd name="T10" fmla="*/ 2147483647 w 185"/>
              <a:gd name="T11" fmla="*/ 2147483647 h 168"/>
              <a:gd name="T12" fmla="*/ 2147483647 w 185"/>
              <a:gd name="T13" fmla="*/ 2147483647 h 168"/>
              <a:gd name="T14" fmla="*/ 2147483647 w 185"/>
              <a:gd name="T15" fmla="*/ 2147483647 h 168"/>
              <a:gd name="T16" fmla="*/ 2147483647 w 185"/>
              <a:gd name="T17" fmla="*/ 2147483647 h 168"/>
              <a:gd name="T18" fmla="*/ 2147483647 w 185"/>
              <a:gd name="T19" fmla="*/ 2147483647 h 168"/>
              <a:gd name="T20" fmla="*/ 2147483647 w 185"/>
              <a:gd name="T21" fmla="*/ 0 h 168"/>
              <a:gd name="T22" fmla="*/ 2147483647 w 185"/>
              <a:gd name="T23" fmla="*/ 2147483647 h 168"/>
              <a:gd name="T24" fmla="*/ 2147483647 w 185"/>
              <a:gd name="T25" fmla="*/ 2147483647 h 168"/>
              <a:gd name="T26" fmla="*/ 2147483647 w 185"/>
              <a:gd name="T27" fmla="*/ 2147483647 h 168"/>
              <a:gd name="T28" fmla="*/ 2147483647 w 185"/>
              <a:gd name="T29" fmla="*/ 0 h 168"/>
              <a:gd name="T30" fmla="*/ 2147483647 w 185"/>
              <a:gd name="T31" fmla="*/ 0 h 168"/>
              <a:gd name="T32" fmla="*/ 2147483647 w 185"/>
              <a:gd name="T33" fmla="*/ 2147483647 h 168"/>
              <a:gd name="T34" fmla="*/ 2147483647 w 185"/>
              <a:gd name="T35" fmla="*/ 2147483647 h 168"/>
              <a:gd name="T36" fmla="*/ 0 w 185"/>
              <a:gd name="T37" fmla="*/ 2147483647 h 168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85"/>
              <a:gd name="T58" fmla="*/ 0 h 168"/>
              <a:gd name="T59" fmla="*/ 185 w 185"/>
              <a:gd name="T60" fmla="*/ 168 h 168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85" h="168">
                <a:moveTo>
                  <a:pt x="0" y="55"/>
                </a:moveTo>
                <a:lnTo>
                  <a:pt x="4" y="86"/>
                </a:lnTo>
                <a:lnTo>
                  <a:pt x="26" y="119"/>
                </a:lnTo>
                <a:lnTo>
                  <a:pt x="57" y="132"/>
                </a:lnTo>
                <a:lnTo>
                  <a:pt x="72" y="138"/>
                </a:lnTo>
                <a:lnTo>
                  <a:pt x="91" y="167"/>
                </a:lnTo>
                <a:lnTo>
                  <a:pt x="158" y="164"/>
                </a:lnTo>
                <a:lnTo>
                  <a:pt x="184" y="151"/>
                </a:lnTo>
                <a:lnTo>
                  <a:pt x="157" y="84"/>
                </a:lnTo>
                <a:lnTo>
                  <a:pt x="165" y="58"/>
                </a:lnTo>
                <a:lnTo>
                  <a:pt x="78" y="0"/>
                </a:lnTo>
                <a:lnTo>
                  <a:pt x="56" y="30"/>
                </a:lnTo>
                <a:lnTo>
                  <a:pt x="46" y="20"/>
                </a:lnTo>
                <a:lnTo>
                  <a:pt x="40" y="28"/>
                </a:lnTo>
                <a:lnTo>
                  <a:pt x="37" y="0"/>
                </a:lnTo>
                <a:lnTo>
                  <a:pt x="15" y="0"/>
                </a:lnTo>
                <a:lnTo>
                  <a:pt x="17" y="22"/>
                </a:lnTo>
                <a:lnTo>
                  <a:pt x="20" y="34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09" name="Freeform 201"/>
          <p:cNvSpPr>
            <a:spLocks/>
          </p:cNvSpPr>
          <p:nvPr/>
        </p:nvSpPr>
        <p:spPr bwMode="auto">
          <a:xfrm>
            <a:off x="6494463" y="3960813"/>
            <a:ext cx="185737" cy="355600"/>
          </a:xfrm>
          <a:custGeom>
            <a:avLst/>
            <a:gdLst>
              <a:gd name="T0" fmla="*/ 0 w 135"/>
              <a:gd name="T1" fmla="*/ 2147483647 h 243"/>
              <a:gd name="T2" fmla="*/ 2147483647 w 135"/>
              <a:gd name="T3" fmla="*/ 2147483647 h 243"/>
              <a:gd name="T4" fmla="*/ 2147483647 w 135"/>
              <a:gd name="T5" fmla="*/ 0 h 243"/>
              <a:gd name="T6" fmla="*/ 2147483647 w 135"/>
              <a:gd name="T7" fmla="*/ 2147483647 h 243"/>
              <a:gd name="T8" fmla="*/ 2147483647 w 135"/>
              <a:gd name="T9" fmla="*/ 2147483647 h 243"/>
              <a:gd name="T10" fmla="*/ 2147483647 w 135"/>
              <a:gd name="T11" fmla="*/ 2147483647 h 243"/>
              <a:gd name="T12" fmla="*/ 2147483647 w 135"/>
              <a:gd name="T13" fmla="*/ 2147483647 h 243"/>
              <a:gd name="T14" fmla="*/ 2147483647 w 135"/>
              <a:gd name="T15" fmla="*/ 2147483647 h 243"/>
              <a:gd name="T16" fmla="*/ 2147483647 w 135"/>
              <a:gd name="T17" fmla="*/ 2147483647 h 243"/>
              <a:gd name="T18" fmla="*/ 2147483647 w 135"/>
              <a:gd name="T19" fmla="*/ 2147483647 h 243"/>
              <a:gd name="T20" fmla="*/ 2147483647 w 135"/>
              <a:gd name="T21" fmla="*/ 2147483647 h 243"/>
              <a:gd name="T22" fmla="*/ 2147483647 w 135"/>
              <a:gd name="T23" fmla="*/ 2147483647 h 243"/>
              <a:gd name="T24" fmla="*/ 2147483647 w 135"/>
              <a:gd name="T25" fmla="*/ 2147483647 h 243"/>
              <a:gd name="T26" fmla="*/ 2147483647 w 135"/>
              <a:gd name="T27" fmla="*/ 2147483647 h 243"/>
              <a:gd name="T28" fmla="*/ 2147483647 w 135"/>
              <a:gd name="T29" fmla="*/ 2147483647 h 243"/>
              <a:gd name="T30" fmla="*/ 2147483647 w 135"/>
              <a:gd name="T31" fmla="*/ 2147483647 h 243"/>
              <a:gd name="T32" fmla="*/ 2147483647 w 135"/>
              <a:gd name="T33" fmla="*/ 2147483647 h 243"/>
              <a:gd name="T34" fmla="*/ 2147483647 w 135"/>
              <a:gd name="T35" fmla="*/ 2147483647 h 243"/>
              <a:gd name="T36" fmla="*/ 2147483647 w 135"/>
              <a:gd name="T37" fmla="*/ 2147483647 h 243"/>
              <a:gd name="T38" fmla="*/ 2147483647 w 135"/>
              <a:gd name="T39" fmla="*/ 2147483647 h 243"/>
              <a:gd name="T40" fmla="*/ 2147483647 w 135"/>
              <a:gd name="T41" fmla="*/ 2147483647 h 243"/>
              <a:gd name="T42" fmla="*/ 2147483647 w 135"/>
              <a:gd name="T43" fmla="*/ 2147483647 h 243"/>
              <a:gd name="T44" fmla="*/ 2147483647 w 135"/>
              <a:gd name="T45" fmla="*/ 2147483647 h 243"/>
              <a:gd name="T46" fmla="*/ 2147483647 w 135"/>
              <a:gd name="T47" fmla="*/ 2147483647 h 243"/>
              <a:gd name="T48" fmla="*/ 0 w 135"/>
              <a:gd name="T49" fmla="*/ 2147483647 h 24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35"/>
              <a:gd name="T76" fmla="*/ 0 h 243"/>
              <a:gd name="T77" fmla="*/ 135 w 135"/>
              <a:gd name="T78" fmla="*/ 243 h 24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35" h="243">
                <a:moveTo>
                  <a:pt x="0" y="37"/>
                </a:moveTo>
                <a:lnTo>
                  <a:pt x="9" y="19"/>
                </a:lnTo>
                <a:lnTo>
                  <a:pt x="44" y="0"/>
                </a:lnTo>
                <a:lnTo>
                  <a:pt x="61" y="19"/>
                </a:lnTo>
                <a:lnTo>
                  <a:pt x="58" y="51"/>
                </a:lnTo>
                <a:lnTo>
                  <a:pt x="101" y="37"/>
                </a:lnTo>
                <a:lnTo>
                  <a:pt x="118" y="51"/>
                </a:lnTo>
                <a:lnTo>
                  <a:pt x="134" y="83"/>
                </a:lnTo>
                <a:lnTo>
                  <a:pt x="130" y="105"/>
                </a:lnTo>
                <a:lnTo>
                  <a:pt x="95" y="104"/>
                </a:lnTo>
                <a:lnTo>
                  <a:pt x="84" y="112"/>
                </a:lnTo>
                <a:lnTo>
                  <a:pt x="91" y="148"/>
                </a:lnTo>
                <a:lnTo>
                  <a:pt x="45" y="118"/>
                </a:lnTo>
                <a:lnTo>
                  <a:pt x="28" y="169"/>
                </a:lnTo>
                <a:lnTo>
                  <a:pt x="51" y="215"/>
                </a:lnTo>
                <a:lnTo>
                  <a:pt x="78" y="234"/>
                </a:lnTo>
                <a:lnTo>
                  <a:pt x="61" y="242"/>
                </a:lnTo>
                <a:lnTo>
                  <a:pt x="59" y="229"/>
                </a:lnTo>
                <a:lnTo>
                  <a:pt x="45" y="229"/>
                </a:lnTo>
                <a:lnTo>
                  <a:pt x="13" y="201"/>
                </a:lnTo>
                <a:lnTo>
                  <a:pt x="19" y="170"/>
                </a:lnTo>
                <a:lnTo>
                  <a:pt x="35" y="142"/>
                </a:lnTo>
                <a:lnTo>
                  <a:pt x="11" y="95"/>
                </a:lnTo>
                <a:lnTo>
                  <a:pt x="21" y="74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0" name="Freeform 202"/>
          <p:cNvSpPr>
            <a:spLocks/>
          </p:cNvSpPr>
          <p:nvPr/>
        </p:nvSpPr>
        <p:spPr bwMode="auto">
          <a:xfrm>
            <a:off x="4232275" y="4184650"/>
            <a:ext cx="53975" cy="120650"/>
          </a:xfrm>
          <a:custGeom>
            <a:avLst/>
            <a:gdLst>
              <a:gd name="T0" fmla="*/ 0 w 39"/>
              <a:gd name="T1" fmla="*/ 0 h 82"/>
              <a:gd name="T2" fmla="*/ 2147483647 w 39"/>
              <a:gd name="T3" fmla="*/ 2147483647 h 82"/>
              <a:gd name="T4" fmla="*/ 2147483647 w 39"/>
              <a:gd name="T5" fmla="*/ 2147483647 h 82"/>
              <a:gd name="T6" fmla="*/ 2147483647 w 39"/>
              <a:gd name="T7" fmla="*/ 2147483647 h 82"/>
              <a:gd name="T8" fmla="*/ 0 w 39"/>
              <a:gd name="T9" fmla="*/ 0 h 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9"/>
              <a:gd name="T16" fmla="*/ 0 h 82"/>
              <a:gd name="T17" fmla="*/ 39 w 39"/>
              <a:gd name="T18" fmla="*/ 82 h 8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9" h="82">
                <a:moveTo>
                  <a:pt x="0" y="0"/>
                </a:moveTo>
                <a:lnTo>
                  <a:pt x="20" y="3"/>
                </a:lnTo>
                <a:lnTo>
                  <a:pt x="38" y="78"/>
                </a:lnTo>
                <a:lnTo>
                  <a:pt x="25" y="8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1" name="Freeform 203"/>
          <p:cNvSpPr>
            <a:spLocks/>
          </p:cNvSpPr>
          <p:nvPr/>
        </p:nvSpPr>
        <p:spPr bwMode="auto">
          <a:xfrm>
            <a:off x="2808288" y="4195763"/>
            <a:ext cx="23812" cy="17462"/>
          </a:xfrm>
          <a:custGeom>
            <a:avLst/>
            <a:gdLst>
              <a:gd name="T0" fmla="*/ 0 w 17"/>
              <a:gd name="T1" fmla="*/ 2147483647 h 12"/>
              <a:gd name="T2" fmla="*/ 2147483647 w 17"/>
              <a:gd name="T3" fmla="*/ 2147483647 h 12"/>
              <a:gd name="T4" fmla="*/ 2147483647 w 17"/>
              <a:gd name="T5" fmla="*/ 0 h 12"/>
              <a:gd name="T6" fmla="*/ 0 w 17"/>
              <a:gd name="T7" fmla="*/ 2147483647 h 12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2"/>
              <a:gd name="T14" fmla="*/ 17 w 17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2">
                <a:moveTo>
                  <a:pt x="0" y="11"/>
                </a:moveTo>
                <a:lnTo>
                  <a:pt x="14" y="9"/>
                </a:lnTo>
                <a:lnTo>
                  <a:pt x="16" y="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2" name="Freeform 204"/>
          <p:cNvSpPr>
            <a:spLocks/>
          </p:cNvSpPr>
          <p:nvPr/>
        </p:nvSpPr>
        <p:spPr bwMode="auto">
          <a:xfrm>
            <a:off x="5416550" y="3829050"/>
            <a:ext cx="123825" cy="85725"/>
          </a:xfrm>
          <a:custGeom>
            <a:avLst/>
            <a:gdLst>
              <a:gd name="T0" fmla="*/ 0 w 90"/>
              <a:gd name="T1" fmla="*/ 2147483647 h 58"/>
              <a:gd name="T2" fmla="*/ 2147483647 w 90"/>
              <a:gd name="T3" fmla="*/ 2147483647 h 58"/>
              <a:gd name="T4" fmla="*/ 2147483647 w 90"/>
              <a:gd name="T5" fmla="*/ 2147483647 h 58"/>
              <a:gd name="T6" fmla="*/ 2147483647 w 90"/>
              <a:gd name="T7" fmla="*/ 2147483647 h 58"/>
              <a:gd name="T8" fmla="*/ 2147483647 w 90"/>
              <a:gd name="T9" fmla="*/ 0 h 58"/>
              <a:gd name="T10" fmla="*/ 2147483647 w 90"/>
              <a:gd name="T11" fmla="*/ 2147483647 h 58"/>
              <a:gd name="T12" fmla="*/ 2147483647 w 90"/>
              <a:gd name="T13" fmla="*/ 2147483647 h 58"/>
              <a:gd name="T14" fmla="*/ 2147483647 w 90"/>
              <a:gd name="T15" fmla="*/ 2147483647 h 58"/>
              <a:gd name="T16" fmla="*/ 2147483647 w 90"/>
              <a:gd name="T17" fmla="*/ 2147483647 h 58"/>
              <a:gd name="T18" fmla="*/ 2147483647 w 90"/>
              <a:gd name="T19" fmla="*/ 2147483647 h 58"/>
              <a:gd name="T20" fmla="*/ 0 w 90"/>
              <a:gd name="T21" fmla="*/ 2147483647 h 5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0"/>
              <a:gd name="T34" fmla="*/ 0 h 58"/>
              <a:gd name="T35" fmla="*/ 90 w 90"/>
              <a:gd name="T36" fmla="*/ 58 h 5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0" h="58">
                <a:moveTo>
                  <a:pt x="0" y="27"/>
                </a:moveTo>
                <a:lnTo>
                  <a:pt x="7" y="24"/>
                </a:lnTo>
                <a:lnTo>
                  <a:pt x="15" y="34"/>
                </a:lnTo>
                <a:lnTo>
                  <a:pt x="51" y="34"/>
                </a:lnTo>
                <a:lnTo>
                  <a:pt x="85" y="0"/>
                </a:lnTo>
                <a:lnTo>
                  <a:pt x="89" y="21"/>
                </a:lnTo>
                <a:lnTo>
                  <a:pt x="79" y="22"/>
                </a:lnTo>
                <a:lnTo>
                  <a:pt x="85" y="34"/>
                </a:lnTo>
                <a:lnTo>
                  <a:pt x="72" y="57"/>
                </a:lnTo>
                <a:lnTo>
                  <a:pt x="17" y="52"/>
                </a:lnTo>
                <a:lnTo>
                  <a:pt x="0" y="2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3" name="Freeform 205"/>
          <p:cNvSpPr>
            <a:spLocks/>
          </p:cNvSpPr>
          <p:nvPr/>
        </p:nvSpPr>
        <p:spPr bwMode="auto">
          <a:xfrm>
            <a:off x="4410075" y="3551238"/>
            <a:ext cx="92075" cy="176212"/>
          </a:xfrm>
          <a:custGeom>
            <a:avLst/>
            <a:gdLst>
              <a:gd name="T0" fmla="*/ 0 w 67"/>
              <a:gd name="T1" fmla="*/ 2147483647 h 121"/>
              <a:gd name="T2" fmla="*/ 2147483647 w 67"/>
              <a:gd name="T3" fmla="*/ 2147483647 h 121"/>
              <a:gd name="T4" fmla="*/ 2147483647 w 67"/>
              <a:gd name="T5" fmla="*/ 2147483647 h 121"/>
              <a:gd name="T6" fmla="*/ 2147483647 w 67"/>
              <a:gd name="T7" fmla="*/ 0 h 121"/>
              <a:gd name="T8" fmla="*/ 2147483647 w 67"/>
              <a:gd name="T9" fmla="*/ 2147483647 h 121"/>
              <a:gd name="T10" fmla="*/ 2147483647 w 67"/>
              <a:gd name="T11" fmla="*/ 2147483647 h 121"/>
              <a:gd name="T12" fmla="*/ 2147483647 w 67"/>
              <a:gd name="T13" fmla="*/ 2147483647 h 121"/>
              <a:gd name="T14" fmla="*/ 2147483647 w 67"/>
              <a:gd name="T15" fmla="*/ 2147483647 h 121"/>
              <a:gd name="T16" fmla="*/ 2147483647 w 67"/>
              <a:gd name="T17" fmla="*/ 2147483647 h 121"/>
              <a:gd name="T18" fmla="*/ 2147483647 w 67"/>
              <a:gd name="T19" fmla="*/ 2147483647 h 121"/>
              <a:gd name="T20" fmla="*/ 0 w 67"/>
              <a:gd name="T21" fmla="*/ 2147483647 h 12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7"/>
              <a:gd name="T34" fmla="*/ 0 h 121"/>
              <a:gd name="T35" fmla="*/ 67 w 67"/>
              <a:gd name="T36" fmla="*/ 121 h 12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7" h="121">
                <a:moveTo>
                  <a:pt x="0" y="57"/>
                </a:moveTo>
                <a:lnTo>
                  <a:pt x="14" y="45"/>
                </a:lnTo>
                <a:lnTo>
                  <a:pt x="22" y="3"/>
                </a:lnTo>
                <a:lnTo>
                  <a:pt x="61" y="0"/>
                </a:lnTo>
                <a:lnTo>
                  <a:pt x="52" y="17"/>
                </a:lnTo>
                <a:lnTo>
                  <a:pt x="64" y="33"/>
                </a:lnTo>
                <a:lnTo>
                  <a:pt x="42" y="57"/>
                </a:lnTo>
                <a:lnTo>
                  <a:pt x="66" y="70"/>
                </a:lnTo>
                <a:lnTo>
                  <a:pt x="32" y="120"/>
                </a:lnTo>
                <a:lnTo>
                  <a:pt x="27" y="89"/>
                </a:lnTo>
                <a:lnTo>
                  <a:pt x="0" y="5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4" name="Freeform 206"/>
          <p:cNvSpPr>
            <a:spLocks/>
          </p:cNvSpPr>
          <p:nvPr/>
        </p:nvSpPr>
        <p:spPr bwMode="auto">
          <a:xfrm>
            <a:off x="4843463" y="3422650"/>
            <a:ext cx="68262" cy="49213"/>
          </a:xfrm>
          <a:custGeom>
            <a:avLst/>
            <a:gdLst>
              <a:gd name="T0" fmla="*/ 0 w 50"/>
              <a:gd name="T1" fmla="*/ 2147483647 h 34"/>
              <a:gd name="T2" fmla="*/ 2147483647 w 50"/>
              <a:gd name="T3" fmla="*/ 2147483647 h 34"/>
              <a:gd name="T4" fmla="*/ 2147483647 w 50"/>
              <a:gd name="T5" fmla="*/ 0 h 34"/>
              <a:gd name="T6" fmla="*/ 2147483647 w 50"/>
              <a:gd name="T7" fmla="*/ 2147483647 h 34"/>
              <a:gd name="T8" fmla="*/ 2147483647 w 50"/>
              <a:gd name="T9" fmla="*/ 2147483647 h 34"/>
              <a:gd name="T10" fmla="*/ 2147483647 w 50"/>
              <a:gd name="T11" fmla="*/ 2147483647 h 34"/>
              <a:gd name="T12" fmla="*/ 2147483647 w 50"/>
              <a:gd name="T13" fmla="*/ 2147483647 h 34"/>
              <a:gd name="T14" fmla="*/ 0 w 50"/>
              <a:gd name="T15" fmla="*/ 2147483647 h 3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0"/>
              <a:gd name="T25" fmla="*/ 0 h 34"/>
              <a:gd name="T26" fmla="*/ 50 w 50"/>
              <a:gd name="T27" fmla="*/ 34 h 3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0" h="34">
                <a:moveTo>
                  <a:pt x="0" y="22"/>
                </a:moveTo>
                <a:lnTo>
                  <a:pt x="5" y="2"/>
                </a:lnTo>
                <a:lnTo>
                  <a:pt x="33" y="0"/>
                </a:lnTo>
                <a:lnTo>
                  <a:pt x="49" y="16"/>
                </a:lnTo>
                <a:lnTo>
                  <a:pt x="27" y="17"/>
                </a:lnTo>
                <a:lnTo>
                  <a:pt x="4" y="33"/>
                </a:lnTo>
                <a:lnTo>
                  <a:pt x="13" y="23"/>
                </a:lnTo>
                <a:lnTo>
                  <a:pt x="0" y="22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5" name="Freeform 207"/>
          <p:cNvSpPr>
            <a:spLocks/>
          </p:cNvSpPr>
          <p:nvPr/>
        </p:nvSpPr>
        <p:spPr bwMode="auto">
          <a:xfrm>
            <a:off x="4848225" y="3416300"/>
            <a:ext cx="427038" cy="163513"/>
          </a:xfrm>
          <a:custGeom>
            <a:avLst/>
            <a:gdLst>
              <a:gd name="T0" fmla="*/ 0 w 310"/>
              <a:gd name="T1" fmla="*/ 2147483647 h 112"/>
              <a:gd name="T2" fmla="*/ 2147483647 w 310"/>
              <a:gd name="T3" fmla="*/ 2147483647 h 112"/>
              <a:gd name="T4" fmla="*/ 0 w 310"/>
              <a:gd name="T5" fmla="*/ 2147483647 h 112"/>
              <a:gd name="T6" fmla="*/ 2147483647 w 310"/>
              <a:gd name="T7" fmla="*/ 2147483647 h 112"/>
              <a:gd name="T8" fmla="*/ 2147483647 w 310"/>
              <a:gd name="T9" fmla="*/ 2147483647 h 112"/>
              <a:gd name="T10" fmla="*/ 2147483647 w 310"/>
              <a:gd name="T11" fmla="*/ 2147483647 h 112"/>
              <a:gd name="T12" fmla="*/ 2147483647 w 310"/>
              <a:gd name="T13" fmla="*/ 2147483647 h 112"/>
              <a:gd name="T14" fmla="*/ 2147483647 w 310"/>
              <a:gd name="T15" fmla="*/ 2147483647 h 112"/>
              <a:gd name="T16" fmla="*/ 2147483647 w 310"/>
              <a:gd name="T17" fmla="*/ 2147483647 h 112"/>
              <a:gd name="T18" fmla="*/ 2147483647 w 310"/>
              <a:gd name="T19" fmla="*/ 2147483647 h 112"/>
              <a:gd name="T20" fmla="*/ 2147483647 w 310"/>
              <a:gd name="T21" fmla="*/ 2147483647 h 112"/>
              <a:gd name="T22" fmla="*/ 2147483647 w 310"/>
              <a:gd name="T23" fmla="*/ 2147483647 h 112"/>
              <a:gd name="T24" fmla="*/ 2147483647 w 310"/>
              <a:gd name="T25" fmla="*/ 2147483647 h 112"/>
              <a:gd name="T26" fmla="*/ 2147483647 w 310"/>
              <a:gd name="T27" fmla="*/ 2147483647 h 112"/>
              <a:gd name="T28" fmla="*/ 2147483647 w 310"/>
              <a:gd name="T29" fmla="*/ 2147483647 h 112"/>
              <a:gd name="T30" fmla="*/ 2147483647 w 310"/>
              <a:gd name="T31" fmla="*/ 2147483647 h 112"/>
              <a:gd name="T32" fmla="*/ 2147483647 w 310"/>
              <a:gd name="T33" fmla="*/ 2147483647 h 112"/>
              <a:gd name="T34" fmla="*/ 2147483647 w 310"/>
              <a:gd name="T35" fmla="*/ 2147483647 h 112"/>
              <a:gd name="T36" fmla="*/ 2147483647 w 310"/>
              <a:gd name="T37" fmla="*/ 2147483647 h 112"/>
              <a:gd name="T38" fmla="*/ 2147483647 w 310"/>
              <a:gd name="T39" fmla="*/ 2147483647 h 112"/>
              <a:gd name="T40" fmla="*/ 2147483647 w 310"/>
              <a:gd name="T41" fmla="*/ 2147483647 h 112"/>
              <a:gd name="T42" fmla="*/ 2147483647 w 310"/>
              <a:gd name="T43" fmla="*/ 0 h 112"/>
              <a:gd name="T44" fmla="*/ 2147483647 w 310"/>
              <a:gd name="T45" fmla="*/ 2147483647 h 112"/>
              <a:gd name="T46" fmla="*/ 2147483647 w 310"/>
              <a:gd name="T47" fmla="*/ 2147483647 h 112"/>
              <a:gd name="T48" fmla="*/ 2147483647 w 310"/>
              <a:gd name="T49" fmla="*/ 2147483647 h 112"/>
              <a:gd name="T50" fmla="*/ 2147483647 w 310"/>
              <a:gd name="T51" fmla="*/ 2147483647 h 112"/>
              <a:gd name="T52" fmla="*/ 0 w 310"/>
              <a:gd name="T53" fmla="*/ 2147483647 h 11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10"/>
              <a:gd name="T82" fmla="*/ 0 h 112"/>
              <a:gd name="T83" fmla="*/ 310 w 310"/>
              <a:gd name="T84" fmla="*/ 112 h 112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10" h="112">
                <a:moveTo>
                  <a:pt x="0" y="38"/>
                </a:moveTo>
                <a:lnTo>
                  <a:pt x="14" y="68"/>
                </a:lnTo>
                <a:lnTo>
                  <a:pt x="0" y="69"/>
                </a:lnTo>
                <a:lnTo>
                  <a:pt x="14" y="74"/>
                </a:lnTo>
                <a:lnTo>
                  <a:pt x="20" y="94"/>
                </a:lnTo>
                <a:lnTo>
                  <a:pt x="34" y="91"/>
                </a:lnTo>
                <a:lnTo>
                  <a:pt x="20" y="98"/>
                </a:lnTo>
                <a:lnTo>
                  <a:pt x="39" y="97"/>
                </a:lnTo>
                <a:lnTo>
                  <a:pt x="60" y="109"/>
                </a:lnTo>
                <a:lnTo>
                  <a:pt x="80" y="96"/>
                </a:lnTo>
                <a:lnTo>
                  <a:pt x="111" y="111"/>
                </a:lnTo>
                <a:lnTo>
                  <a:pt x="163" y="96"/>
                </a:lnTo>
                <a:lnTo>
                  <a:pt x="161" y="111"/>
                </a:lnTo>
                <a:lnTo>
                  <a:pt x="174" y="96"/>
                </a:lnTo>
                <a:lnTo>
                  <a:pt x="271" y="89"/>
                </a:lnTo>
                <a:lnTo>
                  <a:pt x="309" y="89"/>
                </a:lnTo>
                <a:lnTo>
                  <a:pt x="298" y="50"/>
                </a:lnTo>
                <a:lnTo>
                  <a:pt x="307" y="42"/>
                </a:lnTo>
                <a:lnTo>
                  <a:pt x="276" y="9"/>
                </a:lnTo>
                <a:lnTo>
                  <a:pt x="254" y="9"/>
                </a:lnTo>
                <a:lnTo>
                  <a:pt x="197" y="21"/>
                </a:lnTo>
                <a:lnTo>
                  <a:pt x="149" y="0"/>
                </a:lnTo>
                <a:lnTo>
                  <a:pt x="119" y="1"/>
                </a:lnTo>
                <a:lnTo>
                  <a:pt x="81" y="20"/>
                </a:lnTo>
                <a:lnTo>
                  <a:pt x="50" y="15"/>
                </a:lnTo>
                <a:lnTo>
                  <a:pt x="59" y="24"/>
                </a:lnTo>
                <a:lnTo>
                  <a:pt x="0" y="3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6" name="Freeform 208"/>
          <p:cNvSpPr>
            <a:spLocks/>
          </p:cNvSpPr>
          <p:nvPr/>
        </p:nvSpPr>
        <p:spPr bwMode="auto">
          <a:xfrm>
            <a:off x="4926013" y="4351338"/>
            <a:ext cx="123825" cy="123825"/>
          </a:xfrm>
          <a:custGeom>
            <a:avLst/>
            <a:gdLst>
              <a:gd name="T0" fmla="*/ 0 w 91"/>
              <a:gd name="T1" fmla="*/ 2147483647 h 84"/>
              <a:gd name="T2" fmla="*/ 2147483647 w 91"/>
              <a:gd name="T3" fmla="*/ 2147483647 h 84"/>
              <a:gd name="T4" fmla="*/ 2147483647 w 91"/>
              <a:gd name="T5" fmla="*/ 2147483647 h 84"/>
              <a:gd name="T6" fmla="*/ 2147483647 w 91"/>
              <a:gd name="T7" fmla="*/ 2147483647 h 84"/>
              <a:gd name="T8" fmla="*/ 2147483647 w 91"/>
              <a:gd name="T9" fmla="*/ 2147483647 h 84"/>
              <a:gd name="T10" fmla="*/ 2147483647 w 91"/>
              <a:gd name="T11" fmla="*/ 2147483647 h 84"/>
              <a:gd name="T12" fmla="*/ 2147483647 w 91"/>
              <a:gd name="T13" fmla="*/ 0 h 84"/>
              <a:gd name="T14" fmla="*/ 2147483647 w 91"/>
              <a:gd name="T15" fmla="*/ 2147483647 h 84"/>
              <a:gd name="T16" fmla="*/ 2147483647 w 91"/>
              <a:gd name="T17" fmla="*/ 2147483647 h 84"/>
              <a:gd name="T18" fmla="*/ 2147483647 w 91"/>
              <a:gd name="T19" fmla="*/ 2147483647 h 84"/>
              <a:gd name="T20" fmla="*/ 0 w 91"/>
              <a:gd name="T21" fmla="*/ 2147483647 h 8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1"/>
              <a:gd name="T34" fmla="*/ 0 h 84"/>
              <a:gd name="T35" fmla="*/ 91 w 91"/>
              <a:gd name="T36" fmla="*/ 84 h 8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1" h="84">
                <a:moveTo>
                  <a:pt x="0" y="83"/>
                </a:moveTo>
                <a:lnTo>
                  <a:pt x="14" y="78"/>
                </a:lnTo>
                <a:lnTo>
                  <a:pt x="36" y="78"/>
                </a:lnTo>
                <a:lnTo>
                  <a:pt x="39" y="65"/>
                </a:lnTo>
                <a:lnTo>
                  <a:pt x="74" y="60"/>
                </a:lnTo>
                <a:lnTo>
                  <a:pt x="90" y="30"/>
                </a:lnTo>
                <a:lnTo>
                  <a:pt x="74" y="0"/>
                </a:lnTo>
                <a:lnTo>
                  <a:pt x="21" y="7"/>
                </a:lnTo>
                <a:lnTo>
                  <a:pt x="28" y="28"/>
                </a:lnTo>
                <a:lnTo>
                  <a:pt x="15" y="43"/>
                </a:lnTo>
                <a:lnTo>
                  <a:pt x="0" y="8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7" name="Freeform 209"/>
          <p:cNvSpPr>
            <a:spLocks/>
          </p:cNvSpPr>
          <p:nvPr/>
        </p:nvSpPr>
        <p:spPr bwMode="auto">
          <a:xfrm>
            <a:off x="4805363" y="3694113"/>
            <a:ext cx="263525" cy="244475"/>
          </a:xfrm>
          <a:custGeom>
            <a:avLst/>
            <a:gdLst>
              <a:gd name="T0" fmla="*/ 0 w 191"/>
              <a:gd name="T1" fmla="*/ 2147483647 h 167"/>
              <a:gd name="T2" fmla="*/ 2147483647 w 191"/>
              <a:gd name="T3" fmla="*/ 2147483647 h 167"/>
              <a:gd name="T4" fmla="*/ 2147483647 w 191"/>
              <a:gd name="T5" fmla="*/ 2147483647 h 167"/>
              <a:gd name="T6" fmla="*/ 2147483647 w 191"/>
              <a:gd name="T7" fmla="*/ 2147483647 h 167"/>
              <a:gd name="T8" fmla="*/ 2147483647 w 191"/>
              <a:gd name="T9" fmla="*/ 2147483647 h 167"/>
              <a:gd name="T10" fmla="*/ 2147483647 w 191"/>
              <a:gd name="T11" fmla="*/ 2147483647 h 167"/>
              <a:gd name="T12" fmla="*/ 2147483647 w 191"/>
              <a:gd name="T13" fmla="*/ 2147483647 h 167"/>
              <a:gd name="T14" fmla="*/ 2147483647 w 191"/>
              <a:gd name="T15" fmla="*/ 2147483647 h 167"/>
              <a:gd name="T16" fmla="*/ 2147483647 w 191"/>
              <a:gd name="T17" fmla="*/ 2147483647 h 167"/>
              <a:gd name="T18" fmla="*/ 2147483647 w 191"/>
              <a:gd name="T19" fmla="*/ 2147483647 h 167"/>
              <a:gd name="T20" fmla="*/ 2147483647 w 191"/>
              <a:gd name="T21" fmla="*/ 2147483647 h 167"/>
              <a:gd name="T22" fmla="*/ 2147483647 w 191"/>
              <a:gd name="T23" fmla="*/ 2147483647 h 167"/>
              <a:gd name="T24" fmla="*/ 2147483647 w 191"/>
              <a:gd name="T25" fmla="*/ 2147483647 h 167"/>
              <a:gd name="T26" fmla="*/ 2147483647 w 191"/>
              <a:gd name="T27" fmla="*/ 0 h 167"/>
              <a:gd name="T28" fmla="*/ 0 w 191"/>
              <a:gd name="T29" fmla="*/ 2147483647 h 16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91"/>
              <a:gd name="T46" fmla="*/ 0 h 167"/>
              <a:gd name="T47" fmla="*/ 191 w 191"/>
              <a:gd name="T48" fmla="*/ 167 h 16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91" h="167">
                <a:moveTo>
                  <a:pt x="0" y="27"/>
                </a:moveTo>
                <a:lnTo>
                  <a:pt x="9" y="163"/>
                </a:lnTo>
                <a:lnTo>
                  <a:pt x="160" y="166"/>
                </a:lnTo>
                <a:lnTo>
                  <a:pt x="186" y="145"/>
                </a:lnTo>
                <a:lnTo>
                  <a:pt x="190" y="131"/>
                </a:lnTo>
                <a:lnTo>
                  <a:pt x="132" y="35"/>
                </a:lnTo>
                <a:lnTo>
                  <a:pt x="160" y="66"/>
                </a:lnTo>
                <a:lnTo>
                  <a:pt x="174" y="38"/>
                </a:lnTo>
                <a:lnTo>
                  <a:pt x="160" y="6"/>
                </a:lnTo>
                <a:lnTo>
                  <a:pt x="126" y="10"/>
                </a:lnTo>
                <a:lnTo>
                  <a:pt x="123" y="1"/>
                </a:lnTo>
                <a:lnTo>
                  <a:pt x="104" y="1"/>
                </a:lnTo>
                <a:lnTo>
                  <a:pt x="74" y="13"/>
                </a:lnTo>
                <a:lnTo>
                  <a:pt x="9" y="0"/>
                </a:lnTo>
                <a:lnTo>
                  <a:pt x="0" y="2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8" name="Freeform 210"/>
          <p:cNvSpPr>
            <a:spLocks/>
          </p:cNvSpPr>
          <p:nvPr/>
        </p:nvSpPr>
        <p:spPr bwMode="auto">
          <a:xfrm>
            <a:off x="4054475" y="3024188"/>
            <a:ext cx="61913" cy="46037"/>
          </a:xfrm>
          <a:custGeom>
            <a:avLst/>
            <a:gdLst>
              <a:gd name="T0" fmla="*/ 0 w 44"/>
              <a:gd name="T1" fmla="*/ 2147483647 h 31"/>
              <a:gd name="T2" fmla="*/ 2147483647 w 44"/>
              <a:gd name="T3" fmla="*/ 2147483647 h 31"/>
              <a:gd name="T4" fmla="*/ 2147483647 w 44"/>
              <a:gd name="T5" fmla="*/ 2147483647 h 31"/>
              <a:gd name="T6" fmla="*/ 2147483647 w 44"/>
              <a:gd name="T7" fmla="*/ 2147483647 h 31"/>
              <a:gd name="T8" fmla="*/ 2147483647 w 44"/>
              <a:gd name="T9" fmla="*/ 2147483647 h 31"/>
              <a:gd name="T10" fmla="*/ 2147483647 w 44"/>
              <a:gd name="T11" fmla="*/ 2147483647 h 31"/>
              <a:gd name="T12" fmla="*/ 2147483647 w 44"/>
              <a:gd name="T13" fmla="*/ 0 h 31"/>
              <a:gd name="T14" fmla="*/ 2147483647 w 44"/>
              <a:gd name="T15" fmla="*/ 2147483647 h 31"/>
              <a:gd name="T16" fmla="*/ 0 w 44"/>
              <a:gd name="T17" fmla="*/ 2147483647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4"/>
              <a:gd name="T28" fmla="*/ 0 h 31"/>
              <a:gd name="T29" fmla="*/ 44 w 44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4" h="31">
                <a:moveTo>
                  <a:pt x="0" y="18"/>
                </a:moveTo>
                <a:lnTo>
                  <a:pt x="6" y="25"/>
                </a:lnTo>
                <a:lnTo>
                  <a:pt x="25" y="20"/>
                </a:lnTo>
                <a:lnTo>
                  <a:pt x="32" y="30"/>
                </a:lnTo>
                <a:lnTo>
                  <a:pt x="43" y="18"/>
                </a:lnTo>
                <a:lnTo>
                  <a:pt x="32" y="3"/>
                </a:lnTo>
                <a:lnTo>
                  <a:pt x="12" y="0"/>
                </a:lnTo>
                <a:lnTo>
                  <a:pt x="7" y="9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19" name="Freeform 211"/>
          <p:cNvSpPr>
            <a:spLocks/>
          </p:cNvSpPr>
          <p:nvPr/>
        </p:nvSpPr>
        <p:spPr bwMode="auto">
          <a:xfrm>
            <a:off x="4083050" y="2928938"/>
            <a:ext cx="14288" cy="17462"/>
          </a:xfrm>
          <a:custGeom>
            <a:avLst/>
            <a:gdLst>
              <a:gd name="T0" fmla="*/ 0 w 11"/>
              <a:gd name="T1" fmla="*/ 2147483647 h 12"/>
              <a:gd name="T2" fmla="*/ 0 w 11"/>
              <a:gd name="T3" fmla="*/ 2147483647 h 12"/>
              <a:gd name="T4" fmla="*/ 2147483647 w 11"/>
              <a:gd name="T5" fmla="*/ 0 h 12"/>
              <a:gd name="T6" fmla="*/ 0 w 11"/>
              <a:gd name="T7" fmla="*/ 2147483647 h 12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12"/>
              <a:gd name="T14" fmla="*/ 11 w 11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12">
                <a:moveTo>
                  <a:pt x="0" y="11"/>
                </a:moveTo>
                <a:lnTo>
                  <a:pt x="0" y="1"/>
                </a:lnTo>
                <a:lnTo>
                  <a:pt x="10" y="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0" name="Freeform 212"/>
          <p:cNvSpPr>
            <a:spLocks/>
          </p:cNvSpPr>
          <p:nvPr/>
        </p:nvSpPr>
        <p:spPr bwMode="auto">
          <a:xfrm>
            <a:off x="4087813" y="2946400"/>
            <a:ext cx="14287" cy="14288"/>
          </a:xfrm>
          <a:custGeom>
            <a:avLst/>
            <a:gdLst>
              <a:gd name="T0" fmla="*/ 0 w 10"/>
              <a:gd name="T1" fmla="*/ 2147483647 h 10"/>
              <a:gd name="T2" fmla="*/ 2147483647 w 10"/>
              <a:gd name="T3" fmla="*/ 0 h 10"/>
              <a:gd name="T4" fmla="*/ 2147483647 w 10"/>
              <a:gd name="T5" fmla="*/ 2147483647 h 10"/>
              <a:gd name="T6" fmla="*/ 0 w 10"/>
              <a:gd name="T7" fmla="*/ 2147483647 h 10"/>
              <a:gd name="T8" fmla="*/ 0 60000 65536"/>
              <a:gd name="T9" fmla="*/ 0 60000 65536"/>
              <a:gd name="T10" fmla="*/ 0 60000 65536"/>
              <a:gd name="T11" fmla="*/ 0 60000 65536"/>
              <a:gd name="T12" fmla="*/ 0 w 10"/>
              <a:gd name="T13" fmla="*/ 0 h 10"/>
              <a:gd name="T14" fmla="*/ 10 w 10"/>
              <a:gd name="T15" fmla="*/ 10 h 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" h="10">
                <a:moveTo>
                  <a:pt x="0" y="7"/>
                </a:moveTo>
                <a:lnTo>
                  <a:pt x="5" y="0"/>
                </a:lnTo>
                <a:lnTo>
                  <a:pt x="9" y="9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1" name="Freeform 213"/>
          <p:cNvSpPr>
            <a:spLocks/>
          </p:cNvSpPr>
          <p:nvPr/>
        </p:nvSpPr>
        <p:spPr bwMode="auto">
          <a:xfrm>
            <a:off x="4100513" y="2916238"/>
            <a:ext cx="179387" cy="274637"/>
          </a:xfrm>
          <a:custGeom>
            <a:avLst/>
            <a:gdLst>
              <a:gd name="T0" fmla="*/ 0 w 130"/>
              <a:gd name="T1" fmla="*/ 2147483647 h 188"/>
              <a:gd name="T2" fmla="*/ 2147483647 w 130"/>
              <a:gd name="T3" fmla="*/ 2147483647 h 188"/>
              <a:gd name="T4" fmla="*/ 2147483647 w 130"/>
              <a:gd name="T5" fmla="*/ 2147483647 h 188"/>
              <a:gd name="T6" fmla="*/ 2147483647 w 130"/>
              <a:gd name="T7" fmla="*/ 0 h 188"/>
              <a:gd name="T8" fmla="*/ 2147483647 w 130"/>
              <a:gd name="T9" fmla="*/ 2147483647 h 188"/>
              <a:gd name="T10" fmla="*/ 2147483647 w 130"/>
              <a:gd name="T11" fmla="*/ 2147483647 h 188"/>
              <a:gd name="T12" fmla="*/ 2147483647 w 130"/>
              <a:gd name="T13" fmla="*/ 2147483647 h 188"/>
              <a:gd name="T14" fmla="*/ 2147483647 w 130"/>
              <a:gd name="T15" fmla="*/ 2147483647 h 188"/>
              <a:gd name="T16" fmla="*/ 2147483647 w 130"/>
              <a:gd name="T17" fmla="*/ 2147483647 h 188"/>
              <a:gd name="T18" fmla="*/ 2147483647 w 130"/>
              <a:gd name="T19" fmla="*/ 2147483647 h 188"/>
              <a:gd name="T20" fmla="*/ 2147483647 w 130"/>
              <a:gd name="T21" fmla="*/ 2147483647 h 188"/>
              <a:gd name="T22" fmla="*/ 2147483647 w 130"/>
              <a:gd name="T23" fmla="*/ 2147483647 h 188"/>
              <a:gd name="T24" fmla="*/ 2147483647 w 130"/>
              <a:gd name="T25" fmla="*/ 2147483647 h 188"/>
              <a:gd name="T26" fmla="*/ 2147483647 w 130"/>
              <a:gd name="T27" fmla="*/ 2147483647 h 188"/>
              <a:gd name="T28" fmla="*/ 2147483647 w 130"/>
              <a:gd name="T29" fmla="*/ 2147483647 h 188"/>
              <a:gd name="T30" fmla="*/ 2147483647 w 130"/>
              <a:gd name="T31" fmla="*/ 2147483647 h 188"/>
              <a:gd name="T32" fmla="*/ 2147483647 w 130"/>
              <a:gd name="T33" fmla="*/ 2147483647 h 188"/>
              <a:gd name="T34" fmla="*/ 2147483647 w 130"/>
              <a:gd name="T35" fmla="*/ 2147483647 h 188"/>
              <a:gd name="T36" fmla="*/ 2147483647 w 130"/>
              <a:gd name="T37" fmla="*/ 2147483647 h 188"/>
              <a:gd name="T38" fmla="*/ 2147483647 w 130"/>
              <a:gd name="T39" fmla="*/ 2147483647 h 188"/>
              <a:gd name="T40" fmla="*/ 2147483647 w 130"/>
              <a:gd name="T41" fmla="*/ 2147483647 h 188"/>
              <a:gd name="T42" fmla="*/ 2147483647 w 130"/>
              <a:gd name="T43" fmla="*/ 2147483647 h 188"/>
              <a:gd name="T44" fmla="*/ 2147483647 w 130"/>
              <a:gd name="T45" fmla="*/ 2147483647 h 188"/>
              <a:gd name="T46" fmla="*/ 2147483647 w 130"/>
              <a:gd name="T47" fmla="*/ 2147483647 h 188"/>
              <a:gd name="T48" fmla="*/ 2147483647 w 130"/>
              <a:gd name="T49" fmla="*/ 2147483647 h 188"/>
              <a:gd name="T50" fmla="*/ 2147483647 w 130"/>
              <a:gd name="T51" fmla="*/ 2147483647 h 188"/>
              <a:gd name="T52" fmla="*/ 2147483647 w 130"/>
              <a:gd name="T53" fmla="*/ 2147483647 h 188"/>
              <a:gd name="T54" fmla="*/ 2147483647 w 130"/>
              <a:gd name="T55" fmla="*/ 2147483647 h 188"/>
              <a:gd name="T56" fmla="*/ 2147483647 w 130"/>
              <a:gd name="T57" fmla="*/ 2147483647 h 188"/>
              <a:gd name="T58" fmla="*/ 0 w 130"/>
              <a:gd name="T59" fmla="*/ 2147483647 h 188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30"/>
              <a:gd name="T91" fmla="*/ 0 h 188"/>
              <a:gd name="T92" fmla="*/ 130 w 130"/>
              <a:gd name="T93" fmla="*/ 188 h 188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30" h="188">
                <a:moveTo>
                  <a:pt x="0" y="44"/>
                </a:moveTo>
                <a:lnTo>
                  <a:pt x="5" y="19"/>
                </a:lnTo>
                <a:lnTo>
                  <a:pt x="19" y="1"/>
                </a:lnTo>
                <a:lnTo>
                  <a:pt x="50" y="0"/>
                </a:lnTo>
                <a:lnTo>
                  <a:pt x="32" y="23"/>
                </a:lnTo>
                <a:lnTo>
                  <a:pt x="71" y="28"/>
                </a:lnTo>
                <a:lnTo>
                  <a:pt x="47" y="59"/>
                </a:lnTo>
                <a:lnTo>
                  <a:pt x="74" y="69"/>
                </a:lnTo>
                <a:lnTo>
                  <a:pt x="105" y="107"/>
                </a:lnTo>
                <a:lnTo>
                  <a:pt x="97" y="109"/>
                </a:lnTo>
                <a:lnTo>
                  <a:pt x="109" y="118"/>
                </a:lnTo>
                <a:lnTo>
                  <a:pt x="102" y="127"/>
                </a:lnTo>
                <a:lnTo>
                  <a:pt x="129" y="131"/>
                </a:lnTo>
                <a:lnTo>
                  <a:pt x="113" y="156"/>
                </a:lnTo>
                <a:lnTo>
                  <a:pt x="124" y="163"/>
                </a:lnTo>
                <a:lnTo>
                  <a:pt x="9" y="187"/>
                </a:lnTo>
                <a:lnTo>
                  <a:pt x="58" y="151"/>
                </a:lnTo>
                <a:lnTo>
                  <a:pt x="45" y="158"/>
                </a:lnTo>
                <a:lnTo>
                  <a:pt x="14" y="148"/>
                </a:lnTo>
                <a:lnTo>
                  <a:pt x="36" y="134"/>
                </a:lnTo>
                <a:lnTo>
                  <a:pt x="24" y="127"/>
                </a:lnTo>
                <a:lnTo>
                  <a:pt x="53" y="115"/>
                </a:lnTo>
                <a:lnTo>
                  <a:pt x="57" y="99"/>
                </a:lnTo>
                <a:lnTo>
                  <a:pt x="41" y="92"/>
                </a:lnTo>
                <a:lnTo>
                  <a:pt x="51" y="82"/>
                </a:lnTo>
                <a:lnTo>
                  <a:pt x="17" y="88"/>
                </a:lnTo>
                <a:lnTo>
                  <a:pt x="19" y="60"/>
                </a:lnTo>
                <a:lnTo>
                  <a:pt x="5" y="73"/>
                </a:lnTo>
                <a:lnTo>
                  <a:pt x="12" y="45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2" name="Freeform 214"/>
          <p:cNvSpPr>
            <a:spLocks/>
          </p:cNvSpPr>
          <p:nvPr/>
        </p:nvSpPr>
        <p:spPr bwMode="auto">
          <a:xfrm>
            <a:off x="352425" y="2438400"/>
            <a:ext cx="690563" cy="600075"/>
          </a:xfrm>
          <a:custGeom>
            <a:avLst/>
            <a:gdLst>
              <a:gd name="T0" fmla="*/ 2147483647 w 501"/>
              <a:gd name="T1" fmla="*/ 2147483647 h 411"/>
              <a:gd name="T2" fmla="*/ 2147483647 w 501"/>
              <a:gd name="T3" fmla="*/ 2147483647 h 411"/>
              <a:gd name="T4" fmla="*/ 2147483647 w 501"/>
              <a:gd name="T5" fmla="*/ 2147483647 h 411"/>
              <a:gd name="T6" fmla="*/ 2147483647 w 501"/>
              <a:gd name="T7" fmla="*/ 2147483647 h 411"/>
              <a:gd name="T8" fmla="*/ 2147483647 w 501"/>
              <a:gd name="T9" fmla="*/ 2147483647 h 411"/>
              <a:gd name="T10" fmla="*/ 2147483647 w 501"/>
              <a:gd name="T11" fmla="*/ 2147483647 h 411"/>
              <a:gd name="T12" fmla="*/ 2147483647 w 501"/>
              <a:gd name="T13" fmla="*/ 2147483647 h 411"/>
              <a:gd name="T14" fmla="*/ 2147483647 w 501"/>
              <a:gd name="T15" fmla="*/ 2147483647 h 411"/>
              <a:gd name="T16" fmla="*/ 2147483647 w 501"/>
              <a:gd name="T17" fmla="*/ 2147483647 h 411"/>
              <a:gd name="T18" fmla="*/ 2147483647 w 501"/>
              <a:gd name="T19" fmla="*/ 2147483647 h 411"/>
              <a:gd name="T20" fmla="*/ 2147483647 w 501"/>
              <a:gd name="T21" fmla="*/ 2147483647 h 411"/>
              <a:gd name="T22" fmla="*/ 2147483647 w 501"/>
              <a:gd name="T23" fmla="*/ 2147483647 h 411"/>
              <a:gd name="T24" fmla="*/ 2147483647 w 501"/>
              <a:gd name="T25" fmla="*/ 2147483647 h 411"/>
              <a:gd name="T26" fmla="*/ 2147483647 w 501"/>
              <a:gd name="T27" fmla="*/ 2147483647 h 411"/>
              <a:gd name="T28" fmla="*/ 2147483647 w 501"/>
              <a:gd name="T29" fmla="*/ 2147483647 h 411"/>
              <a:gd name="T30" fmla="*/ 2147483647 w 501"/>
              <a:gd name="T31" fmla="*/ 2147483647 h 411"/>
              <a:gd name="T32" fmla="*/ 2147483647 w 501"/>
              <a:gd name="T33" fmla="*/ 2147483647 h 411"/>
              <a:gd name="T34" fmla="*/ 2147483647 w 501"/>
              <a:gd name="T35" fmla="*/ 2147483647 h 411"/>
              <a:gd name="T36" fmla="*/ 2147483647 w 501"/>
              <a:gd name="T37" fmla="*/ 2147483647 h 411"/>
              <a:gd name="T38" fmla="*/ 2147483647 w 501"/>
              <a:gd name="T39" fmla="*/ 2147483647 h 411"/>
              <a:gd name="T40" fmla="*/ 2147483647 w 501"/>
              <a:gd name="T41" fmla="*/ 2147483647 h 411"/>
              <a:gd name="T42" fmla="*/ 2147483647 w 501"/>
              <a:gd name="T43" fmla="*/ 2147483647 h 411"/>
              <a:gd name="T44" fmla="*/ 2147483647 w 501"/>
              <a:gd name="T45" fmla="*/ 2147483647 h 411"/>
              <a:gd name="T46" fmla="*/ 2147483647 w 501"/>
              <a:gd name="T47" fmla="*/ 2147483647 h 411"/>
              <a:gd name="T48" fmla="*/ 2147483647 w 501"/>
              <a:gd name="T49" fmla="*/ 2147483647 h 411"/>
              <a:gd name="T50" fmla="*/ 2147483647 w 501"/>
              <a:gd name="T51" fmla="*/ 2147483647 h 411"/>
              <a:gd name="T52" fmla="*/ 2147483647 w 501"/>
              <a:gd name="T53" fmla="*/ 2147483647 h 411"/>
              <a:gd name="T54" fmla="*/ 2147483647 w 501"/>
              <a:gd name="T55" fmla="*/ 2147483647 h 411"/>
              <a:gd name="T56" fmla="*/ 2147483647 w 501"/>
              <a:gd name="T57" fmla="*/ 2147483647 h 411"/>
              <a:gd name="T58" fmla="*/ 2147483647 w 501"/>
              <a:gd name="T59" fmla="*/ 2147483647 h 411"/>
              <a:gd name="T60" fmla="*/ 2147483647 w 501"/>
              <a:gd name="T61" fmla="*/ 2147483647 h 411"/>
              <a:gd name="T62" fmla="*/ 2147483647 w 501"/>
              <a:gd name="T63" fmla="*/ 2147483647 h 411"/>
              <a:gd name="T64" fmla="*/ 2147483647 w 501"/>
              <a:gd name="T65" fmla="*/ 2147483647 h 411"/>
              <a:gd name="T66" fmla="*/ 2147483647 w 501"/>
              <a:gd name="T67" fmla="*/ 2147483647 h 411"/>
              <a:gd name="T68" fmla="*/ 2147483647 w 501"/>
              <a:gd name="T69" fmla="*/ 2147483647 h 411"/>
              <a:gd name="T70" fmla="*/ 2147483647 w 501"/>
              <a:gd name="T71" fmla="*/ 2147483647 h 411"/>
              <a:gd name="T72" fmla="*/ 2147483647 w 501"/>
              <a:gd name="T73" fmla="*/ 0 h 411"/>
              <a:gd name="T74" fmla="*/ 2147483647 w 501"/>
              <a:gd name="T75" fmla="*/ 2147483647 h 411"/>
              <a:gd name="T76" fmla="*/ 2147483647 w 501"/>
              <a:gd name="T77" fmla="*/ 2147483647 h 411"/>
              <a:gd name="T78" fmla="*/ 2147483647 w 501"/>
              <a:gd name="T79" fmla="*/ 2147483647 h 411"/>
              <a:gd name="T80" fmla="*/ 2147483647 w 501"/>
              <a:gd name="T81" fmla="*/ 2147483647 h 411"/>
              <a:gd name="T82" fmla="*/ 2147483647 w 501"/>
              <a:gd name="T83" fmla="*/ 2147483647 h 411"/>
              <a:gd name="T84" fmla="*/ 2147483647 w 501"/>
              <a:gd name="T85" fmla="*/ 2147483647 h 411"/>
              <a:gd name="T86" fmla="*/ 2147483647 w 501"/>
              <a:gd name="T87" fmla="*/ 2147483647 h 411"/>
              <a:gd name="T88" fmla="*/ 2147483647 w 501"/>
              <a:gd name="T89" fmla="*/ 2147483647 h 411"/>
              <a:gd name="T90" fmla="*/ 2147483647 w 501"/>
              <a:gd name="T91" fmla="*/ 2147483647 h 411"/>
              <a:gd name="T92" fmla="*/ 2147483647 w 501"/>
              <a:gd name="T93" fmla="*/ 2147483647 h 4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501"/>
              <a:gd name="T142" fmla="*/ 0 h 411"/>
              <a:gd name="T143" fmla="*/ 501 w 501"/>
              <a:gd name="T144" fmla="*/ 411 h 41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501" h="411">
                <a:moveTo>
                  <a:pt x="0" y="158"/>
                </a:moveTo>
                <a:lnTo>
                  <a:pt x="33" y="165"/>
                </a:lnTo>
                <a:lnTo>
                  <a:pt x="22" y="167"/>
                </a:lnTo>
                <a:lnTo>
                  <a:pt x="33" y="182"/>
                </a:lnTo>
                <a:lnTo>
                  <a:pt x="85" y="182"/>
                </a:lnTo>
                <a:lnTo>
                  <a:pt x="91" y="190"/>
                </a:lnTo>
                <a:lnTo>
                  <a:pt x="124" y="179"/>
                </a:lnTo>
                <a:lnTo>
                  <a:pt x="113" y="186"/>
                </a:lnTo>
                <a:lnTo>
                  <a:pt x="119" y="209"/>
                </a:lnTo>
                <a:lnTo>
                  <a:pt x="49" y="235"/>
                </a:lnTo>
                <a:lnTo>
                  <a:pt x="31" y="260"/>
                </a:lnTo>
                <a:lnTo>
                  <a:pt x="48" y="256"/>
                </a:lnTo>
                <a:lnTo>
                  <a:pt x="37" y="261"/>
                </a:lnTo>
                <a:lnTo>
                  <a:pt x="48" y="272"/>
                </a:lnTo>
                <a:lnTo>
                  <a:pt x="74" y="275"/>
                </a:lnTo>
                <a:lnTo>
                  <a:pt x="60" y="289"/>
                </a:lnTo>
                <a:lnTo>
                  <a:pt x="71" y="302"/>
                </a:lnTo>
                <a:lnTo>
                  <a:pt x="86" y="303"/>
                </a:lnTo>
                <a:lnTo>
                  <a:pt x="111" y="275"/>
                </a:lnTo>
                <a:lnTo>
                  <a:pt x="95" y="288"/>
                </a:lnTo>
                <a:lnTo>
                  <a:pt x="110" y="316"/>
                </a:lnTo>
                <a:lnTo>
                  <a:pt x="101" y="326"/>
                </a:lnTo>
                <a:lnTo>
                  <a:pt x="132" y="311"/>
                </a:lnTo>
                <a:lnTo>
                  <a:pt x="151" y="331"/>
                </a:lnTo>
                <a:lnTo>
                  <a:pt x="159" y="318"/>
                </a:lnTo>
                <a:lnTo>
                  <a:pt x="167" y="326"/>
                </a:lnTo>
                <a:lnTo>
                  <a:pt x="191" y="317"/>
                </a:lnTo>
                <a:lnTo>
                  <a:pt x="158" y="367"/>
                </a:lnTo>
                <a:lnTo>
                  <a:pt x="133" y="377"/>
                </a:lnTo>
                <a:lnTo>
                  <a:pt x="132" y="389"/>
                </a:lnTo>
                <a:lnTo>
                  <a:pt x="101" y="390"/>
                </a:lnTo>
                <a:lnTo>
                  <a:pt x="79" y="410"/>
                </a:lnTo>
                <a:lnTo>
                  <a:pt x="110" y="394"/>
                </a:lnTo>
                <a:lnTo>
                  <a:pt x="142" y="394"/>
                </a:lnTo>
                <a:lnTo>
                  <a:pt x="159" y="384"/>
                </a:lnTo>
                <a:lnTo>
                  <a:pt x="149" y="374"/>
                </a:lnTo>
                <a:lnTo>
                  <a:pt x="171" y="375"/>
                </a:lnTo>
                <a:lnTo>
                  <a:pt x="234" y="336"/>
                </a:lnTo>
                <a:lnTo>
                  <a:pt x="246" y="322"/>
                </a:lnTo>
                <a:lnTo>
                  <a:pt x="235" y="309"/>
                </a:lnTo>
                <a:lnTo>
                  <a:pt x="291" y="264"/>
                </a:lnTo>
                <a:lnTo>
                  <a:pt x="299" y="239"/>
                </a:lnTo>
                <a:lnTo>
                  <a:pt x="293" y="264"/>
                </a:lnTo>
                <a:lnTo>
                  <a:pt x="314" y="259"/>
                </a:lnTo>
                <a:lnTo>
                  <a:pt x="302" y="268"/>
                </a:lnTo>
                <a:lnTo>
                  <a:pt x="319" y="274"/>
                </a:lnTo>
                <a:lnTo>
                  <a:pt x="281" y="276"/>
                </a:lnTo>
                <a:lnTo>
                  <a:pt x="272" y="300"/>
                </a:lnTo>
                <a:lnTo>
                  <a:pt x="287" y="300"/>
                </a:lnTo>
                <a:lnTo>
                  <a:pt x="275" y="314"/>
                </a:lnTo>
                <a:lnTo>
                  <a:pt x="326" y="294"/>
                </a:lnTo>
                <a:lnTo>
                  <a:pt x="335" y="282"/>
                </a:lnTo>
                <a:lnTo>
                  <a:pt x="325" y="275"/>
                </a:lnTo>
                <a:lnTo>
                  <a:pt x="340" y="265"/>
                </a:lnTo>
                <a:lnTo>
                  <a:pt x="337" y="274"/>
                </a:lnTo>
                <a:lnTo>
                  <a:pt x="363" y="268"/>
                </a:lnTo>
                <a:lnTo>
                  <a:pt x="357" y="278"/>
                </a:lnTo>
                <a:lnTo>
                  <a:pt x="403" y="295"/>
                </a:lnTo>
                <a:lnTo>
                  <a:pt x="466" y="302"/>
                </a:lnTo>
                <a:lnTo>
                  <a:pt x="478" y="293"/>
                </a:lnTo>
                <a:lnTo>
                  <a:pt x="486" y="298"/>
                </a:lnTo>
                <a:lnTo>
                  <a:pt x="474" y="307"/>
                </a:lnTo>
                <a:lnTo>
                  <a:pt x="493" y="315"/>
                </a:lnTo>
                <a:lnTo>
                  <a:pt x="500" y="308"/>
                </a:lnTo>
                <a:lnTo>
                  <a:pt x="485" y="289"/>
                </a:lnTo>
                <a:lnTo>
                  <a:pt x="456" y="289"/>
                </a:lnTo>
                <a:lnTo>
                  <a:pt x="456" y="46"/>
                </a:lnTo>
                <a:lnTo>
                  <a:pt x="276" y="26"/>
                </a:lnTo>
                <a:lnTo>
                  <a:pt x="268" y="15"/>
                </a:lnTo>
                <a:lnTo>
                  <a:pt x="219" y="8"/>
                </a:lnTo>
                <a:lnTo>
                  <a:pt x="213" y="19"/>
                </a:lnTo>
                <a:lnTo>
                  <a:pt x="197" y="15"/>
                </a:lnTo>
                <a:lnTo>
                  <a:pt x="211" y="7"/>
                </a:lnTo>
                <a:lnTo>
                  <a:pt x="191" y="0"/>
                </a:lnTo>
                <a:lnTo>
                  <a:pt x="171" y="15"/>
                </a:lnTo>
                <a:lnTo>
                  <a:pt x="139" y="19"/>
                </a:lnTo>
                <a:lnTo>
                  <a:pt x="137" y="31"/>
                </a:lnTo>
                <a:lnTo>
                  <a:pt x="133" y="22"/>
                </a:lnTo>
                <a:lnTo>
                  <a:pt x="103" y="31"/>
                </a:lnTo>
                <a:lnTo>
                  <a:pt x="110" y="41"/>
                </a:lnTo>
                <a:lnTo>
                  <a:pt x="95" y="37"/>
                </a:lnTo>
                <a:lnTo>
                  <a:pt x="78" y="62"/>
                </a:lnTo>
                <a:lnTo>
                  <a:pt x="31" y="70"/>
                </a:lnTo>
                <a:lnTo>
                  <a:pt x="33" y="80"/>
                </a:lnTo>
                <a:lnTo>
                  <a:pt x="22" y="82"/>
                </a:lnTo>
                <a:lnTo>
                  <a:pt x="75" y="118"/>
                </a:lnTo>
                <a:lnTo>
                  <a:pt x="145" y="134"/>
                </a:lnTo>
                <a:lnTo>
                  <a:pt x="101" y="129"/>
                </a:lnTo>
                <a:lnTo>
                  <a:pt x="103" y="139"/>
                </a:lnTo>
                <a:lnTo>
                  <a:pt x="121" y="139"/>
                </a:lnTo>
                <a:lnTo>
                  <a:pt x="106" y="148"/>
                </a:lnTo>
                <a:lnTo>
                  <a:pt x="75" y="145"/>
                </a:lnTo>
                <a:lnTo>
                  <a:pt x="75" y="131"/>
                </a:lnTo>
                <a:lnTo>
                  <a:pt x="59" y="132"/>
                </a:lnTo>
                <a:lnTo>
                  <a:pt x="0" y="15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3" name="Freeform 215"/>
          <p:cNvSpPr>
            <a:spLocks/>
          </p:cNvSpPr>
          <p:nvPr/>
        </p:nvSpPr>
        <p:spPr bwMode="auto">
          <a:xfrm>
            <a:off x="631825" y="3978275"/>
            <a:ext cx="26988" cy="31750"/>
          </a:xfrm>
          <a:custGeom>
            <a:avLst/>
            <a:gdLst>
              <a:gd name="T0" fmla="*/ 0 w 20"/>
              <a:gd name="T1" fmla="*/ 2147483647 h 21"/>
              <a:gd name="T2" fmla="*/ 2147483647 w 20"/>
              <a:gd name="T3" fmla="*/ 0 h 21"/>
              <a:gd name="T4" fmla="*/ 2147483647 w 20"/>
              <a:gd name="T5" fmla="*/ 2147483647 h 21"/>
              <a:gd name="T6" fmla="*/ 2147483647 w 20"/>
              <a:gd name="T7" fmla="*/ 2147483647 h 21"/>
              <a:gd name="T8" fmla="*/ 0 w 20"/>
              <a:gd name="T9" fmla="*/ 2147483647 h 2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21"/>
              <a:gd name="T17" fmla="*/ 20 w 20"/>
              <a:gd name="T18" fmla="*/ 21 h 2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21">
                <a:moveTo>
                  <a:pt x="0" y="7"/>
                </a:moveTo>
                <a:lnTo>
                  <a:pt x="3" y="0"/>
                </a:lnTo>
                <a:lnTo>
                  <a:pt x="19" y="10"/>
                </a:lnTo>
                <a:lnTo>
                  <a:pt x="6" y="20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4" name="Freeform 216"/>
          <p:cNvSpPr>
            <a:spLocks/>
          </p:cNvSpPr>
          <p:nvPr/>
        </p:nvSpPr>
        <p:spPr bwMode="auto">
          <a:xfrm>
            <a:off x="658813" y="2941638"/>
            <a:ext cx="61912" cy="38100"/>
          </a:xfrm>
          <a:custGeom>
            <a:avLst/>
            <a:gdLst>
              <a:gd name="T0" fmla="*/ 0 w 46"/>
              <a:gd name="T1" fmla="*/ 2147483647 h 26"/>
              <a:gd name="T2" fmla="*/ 2147483647 w 46"/>
              <a:gd name="T3" fmla="*/ 2147483647 h 26"/>
              <a:gd name="T4" fmla="*/ 2147483647 w 46"/>
              <a:gd name="T5" fmla="*/ 2147483647 h 26"/>
              <a:gd name="T6" fmla="*/ 2147483647 w 46"/>
              <a:gd name="T7" fmla="*/ 0 h 26"/>
              <a:gd name="T8" fmla="*/ 2147483647 w 46"/>
              <a:gd name="T9" fmla="*/ 2147483647 h 26"/>
              <a:gd name="T10" fmla="*/ 0 w 46"/>
              <a:gd name="T11" fmla="*/ 2147483647 h 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6"/>
              <a:gd name="T19" fmla="*/ 0 h 26"/>
              <a:gd name="T20" fmla="*/ 46 w 46"/>
              <a:gd name="T21" fmla="*/ 26 h 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6" h="26">
                <a:moveTo>
                  <a:pt x="0" y="11"/>
                </a:moveTo>
                <a:lnTo>
                  <a:pt x="13" y="25"/>
                </a:lnTo>
                <a:lnTo>
                  <a:pt x="45" y="6"/>
                </a:lnTo>
                <a:lnTo>
                  <a:pt x="15" y="0"/>
                </a:lnTo>
                <a:lnTo>
                  <a:pt x="16" y="1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5" name="Freeform 217"/>
          <p:cNvSpPr>
            <a:spLocks/>
          </p:cNvSpPr>
          <p:nvPr/>
        </p:nvSpPr>
        <p:spPr bwMode="auto">
          <a:xfrm>
            <a:off x="1046163" y="2876550"/>
            <a:ext cx="188912" cy="165100"/>
          </a:xfrm>
          <a:custGeom>
            <a:avLst/>
            <a:gdLst>
              <a:gd name="T0" fmla="*/ 0 w 137"/>
              <a:gd name="T1" fmla="*/ 2147483647 h 113"/>
              <a:gd name="T2" fmla="*/ 2147483647 w 137"/>
              <a:gd name="T3" fmla="*/ 2147483647 h 113"/>
              <a:gd name="T4" fmla="*/ 2147483647 w 137"/>
              <a:gd name="T5" fmla="*/ 2147483647 h 113"/>
              <a:gd name="T6" fmla="*/ 2147483647 w 137"/>
              <a:gd name="T7" fmla="*/ 2147483647 h 113"/>
              <a:gd name="T8" fmla="*/ 2147483647 w 137"/>
              <a:gd name="T9" fmla="*/ 2147483647 h 113"/>
              <a:gd name="T10" fmla="*/ 2147483647 w 137"/>
              <a:gd name="T11" fmla="*/ 2147483647 h 113"/>
              <a:gd name="T12" fmla="*/ 2147483647 w 137"/>
              <a:gd name="T13" fmla="*/ 2147483647 h 113"/>
              <a:gd name="T14" fmla="*/ 2147483647 w 137"/>
              <a:gd name="T15" fmla="*/ 2147483647 h 113"/>
              <a:gd name="T16" fmla="*/ 2147483647 w 137"/>
              <a:gd name="T17" fmla="*/ 2147483647 h 113"/>
              <a:gd name="T18" fmla="*/ 2147483647 w 137"/>
              <a:gd name="T19" fmla="*/ 2147483647 h 113"/>
              <a:gd name="T20" fmla="*/ 2147483647 w 137"/>
              <a:gd name="T21" fmla="*/ 2147483647 h 113"/>
              <a:gd name="T22" fmla="*/ 2147483647 w 137"/>
              <a:gd name="T23" fmla="*/ 2147483647 h 113"/>
              <a:gd name="T24" fmla="*/ 2147483647 w 137"/>
              <a:gd name="T25" fmla="*/ 2147483647 h 113"/>
              <a:gd name="T26" fmla="*/ 2147483647 w 137"/>
              <a:gd name="T27" fmla="*/ 2147483647 h 113"/>
              <a:gd name="T28" fmla="*/ 2147483647 w 137"/>
              <a:gd name="T29" fmla="*/ 2147483647 h 113"/>
              <a:gd name="T30" fmla="*/ 2147483647 w 137"/>
              <a:gd name="T31" fmla="*/ 2147483647 h 113"/>
              <a:gd name="T32" fmla="*/ 2147483647 w 137"/>
              <a:gd name="T33" fmla="*/ 2147483647 h 113"/>
              <a:gd name="T34" fmla="*/ 2147483647 w 137"/>
              <a:gd name="T35" fmla="*/ 2147483647 h 113"/>
              <a:gd name="T36" fmla="*/ 2147483647 w 137"/>
              <a:gd name="T37" fmla="*/ 0 h 113"/>
              <a:gd name="T38" fmla="*/ 2147483647 w 137"/>
              <a:gd name="T39" fmla="*/ 2147483647 h 113"/>
              <a:gd name="T40" fmla="*/ 0 w 137"/>
              <a:gd name="T41" fmla="*/ 2147483647 h 11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37"/>
              <a:gd name="T64" fmla="*/ 0 h 113"/>
              <a:gd name="T65" fmla="*/ 137 w 137"/>
              <a:gd name="T66" fmla="*/ 113 h 11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37" h="113">
                <a:moveTo>
                  <a:pt x="0" y="9"/>
                </a:moveTo>
                <a:lnTo>
                  <a:pt x="9" y="28"/>
                </a:lnTo>
                <a:lnTo>
                  <a:pt x="25" y="36"/>
                </a:lnTo>
                <a:lnTo>
                  <a:pt x="33" y="30"/>
                </a:lnTo>
                <a:lnTo>
                  <a:pt x="18" y="21"/>
                </a:lnTo>
                <a:lnTo>
                  <a:pt x="33" y="21"/>
                </a:lnTo>
                <a:lnTo>
                  <a:pt x="48" y="36"/>
                </a:lnTo>
                <a:lnTo>
                  <a:pt x="44" y="9"/>
                </a:lnTo>
                <a:lnTo>
                  <a:pt x="54" y="32"/>
                </a:lnTo>
                <a:lnTo>
                  <a:pt x="82" y="43"/>
                </a:lnTo>
                <a:lnTo>
                  <a:pt x="77" y="59"/>
                </a:lnTo>
                <a:lnTo>
                  <a:pt x="109" y="80"/>
                </a:lnTo>
                <a:lnTo>
                  <a:pt x="99" y="94"/>
                </a:lnTo>
                <a:lnTo>
                  <a:pt x="118" y="83"/>
                </a:lnTo>
                <a:lnTo>
                  <a:pt x="121" y="112"/>
                </a:lnTo>
                <a:lnTo>
                  <a:pt x="134" y="106"/>
                </a:lnTo>
                <a:lnTo>
                  <a:pt x="136" y="85"/>
                </a:lnTo>
                <a:lnTo>
                  <a:pt x="103" y="73"/>
                </a:lnTo>
                <a:lnTo>
                  <a:pt x="45" y="0"/>
                </a:lnTo>
                <a:lnTo>
                  <a:pt x="10" y="21"/>
                </a:lnTo>
                <a:lnTo>
                  <a:pt x="0" y="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6" name="Freeform 218"/>
          <p:cNvSpPr>
            <a:spLocks/>
          </p:cNvSpPr>
          <p:nvPr/>
        </p:nvSpPr>
        <p:spPr bwMode="auto">
          <a:xfrm>
            <a:off x="1085850" y="2928938"/>
            <a:ext cx="30163" cy="28575"/>
          </a:xfrm>
          <a:custGeom>
            <a:avLst/>
            <a:gdLst>
              <a:gd name="T0" fmla="*/ 0 w 22"/>
              <a:gd name="T1" fmla="*/ 0 h 19"/>
              <a:gd name="T2" fmla="*/ 2147483647 w 22"/>
              <a:gd name="T3" fmla="*/ 2147483647 h 19"/>
              <a:gd name="T4" fmla="*/ 2147483647 w 22"/>
              <a:gd name="T5" fmla="*/ 2147483647 h 19"/>
              <a:gd name="T6" fmla="*/ 2147483647 w 22"/>
              <a:gd name="T7" fmla="*/ 2147483647 h 19"/>
              <a:gd name="T8" fmla="*/ 2147483647 w 22"/>
              <a:gd name="T9" fmla="*/ 2147483647 h 19"/>
              <a:gd name="T10" fmla="*/ 2147483647 w 22"/>
              <a:gd name="T11" fmla="*/ 2147483647 h 19"/>
              <a:gd name="T12" fmla="*/ 0 w 22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19"/>
              <a:gd name="T23" fmla="*/ 22 w 22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19">
                <a:moveTo>
                  <a:pt x="0" y="0"/>
                </a:moveTo>
                <a:lnTo>
                  <a:pt x="7" y="18"/>
                </a:lnTo>
                <a:lnTo>
                  <a:pt x="9" y="9"/>
                </a:lnTo>
                <a:lnTo>
                  <a:pt x="21" y="16"/>
                </a:lnTo>
                <a:lnTo>
                  <a:pt x="12" y="8"/>
                </a:lnTo>
                <a:lnTo>
                  <a:pt x="20" y="3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7" name="Freeform 219"/>
          <p:cNvSpPr>
            <a:spLocks/>
          </p:cNvSpPr>
          <p:nvPr/>
        </p:nvSpPr>
        <p:spPr bwMode="auto">
          <a:xfrm>
            <a:off x="1108075" y="2952750"/>
            <a:ext cx="14288" cy="42863"/>
          </a:xfrm>
          <a:custGeom>
            <a:avLst/>
            <a:gdLst>
              <a:gd name="T0" fmla="*/ 0 w 10"/>
              <a:gd name="T1" fmla="*/ 0 h 30"/>
              <a:gd name="T2" fmla="*/ 2147483647 w 10"/>
              <a:gd name="T3" fmla="*/ 2147483647 h 30"/>
              <a:gd name="T4" fmla="*/ 2147483647 w 10"/>
              <a:gd name="T5" fmla="*/ 2147483647 h 30"/>
              <a:gd name="T6" fmla="*/ 0 w 10"/>
              <a:gd name="T7" fmla="*/ 0 h 30"/>
              <a:gd name="T8" fmla="*/ 0 60000 65536"/>
              <a:gd name="T9" fmla="*/ 0 60000 65536"/>
              <a:gd name="T10" fmla="*/ 0 60000 65536"/>
              <a:gd name="T11" fmla="*/ 0 60000 65536"/>
              <a:gd name="T12" fmla="*/ 0 w 10"/>
              <a:gd name="T13" fmla="*/ 0 h 30"/>
              <a:gd name="T14" fmla="*/ 10 w 10"/>
              <a:gd name="T15" fmla="*/ 30 h 3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" h="30">
                <a:moveTo>
                  <a:pt x="0" y="0"/>
                </a:moveTo>
                <a:lnTo>
                  <a:pt x="8" y="6"/>
                </a:lnTo>
                <a:lnTo>
                  <a:pt x="9" y="2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8" name="Freeform 220"/>
          <p:cNvSpPr>
            <a:spLocks/>
          </p:cNvSpPr>
          <p:nvPr/>
        </p:nvSpPr>
        <p:spPr bwMode="auto">
          <a:xfrm>
            <a:off x="1122363" y="2930525"/>
            <a:ext cx="23812" cy="28575"/>
          </a:xfrm>
          <a:custGeom>
            <a:avLst/>
            <a:gdLst>
              <a:gd name="T0" fmla="*/ 0 w 18"/>
              <a:gd name="T1" fmla="*/ 0 h 19"/>
              <a:gd name="T2" fmla="*/ 2147483647 w 18"/>
              <a:gd name="T3" fmla="*/ 2147483647 h 19"/>
              <a:gd name="T4" fmla="*/ 2147483647 w 18"/>
              <a:gd name="T5" fmla="*/ 2147483647 h 19"/>
              <a:gd name="T6" fmla="*/ 2147483647 w 18"/>
              <a:gd name="T7" fmla="*/ 2147483647 h 19"/>
              <a:gd name="T8" fmla="*/ 2147483647 w 18"/>
              <a:gd name="T9" fmla="*/ 2147483647 h 19"/>
              <a:gd name="T10" fmla="*/ 2147483647 w 18"/>
              <a:gd name="T11" fmla="*/ 0 h 19"/>
              <a:gd name="T12" fmla="*/ 0 w 18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"/>
              <a:gd name="T22" fmla="*/ 0 h 19"/>
              <a:gd name="T23" fmla="*/ 18 w 18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" h="19">
                <a:moveTo>
                  <a:pt x="0" y="0"/>
                </a:moveTo>
                <a:lnTo>
                  <a:pt x="4" y="18"/>
                </a:lnTo>
                <a:lnTo>
                  <a:pt x="13" y="18"/>
                </a:lnTo>
                <a:lnTo>
                  <a:pt x="8" y="3"/>
                </a:lnTo>
                <a:lnTo>
                  <a:pt x="17" y="14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29" name="Freeform 221"/>
          <p:cNvSpPr>
            <a:spLocks/>
          </p:cNvSpPr>
          <p:nvPr/>
        </p:nvSpPr>
        <p:spPr bwMode="auto">
          <a:xfrm>
            <a:off x="1139825" y="2965450"/>
            <a:ext cx="23813" cy="22225"/>
          </a:xfrm>
          <a:custGeom>
            <a:avLst/>
            <a:gdLst>
              <a:gd name="T0" fmla="*/ 0 w 17"/>
              <a:gd name="T1" fmla="*/ 0 h 15"/>
              <a:gd name="T2" fmla="*/ 2147483647 w 17"/>
              <a:gd name="T3" fmla="*/ 2147483647 h 15"/>
              <a:gd name="T4" fmla="*/ 2147483647 w 17"/>
              <a:gd name="T5" fmla="*/ 2147483647 h 15"/>
              <a:gd name="T6" fmla="*/ 0 w 17"/>
              <a:gd name="T7" fmla="*/ 0 h 15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5"/>
              <a:gd name="T14" fmla="*/ 17 w 17"/>
              <a:gd name="T15" fmla="*/ 15 h 1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5">
                <a:moveTo>
                  <a:pt x="0" y="0"/>
                </a:moveTo>
                <a:lnTo>
                  <a:pt x="15" y="14"/>
                </a:lnTo>
                <a:lnTo>
                  <a:pt x="16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0" name="Freeform 222"/>
          <p:cNvSpPr>
            <a:spLocks/>
          </p:cNvSpPr>
          <p:nvPr/>
        </p:nvSpPr>
        <p:spPr bwMode="auto">
          <a:xfrm>
            <a:off x="1147763" y="2992438"/>
            <a:ext cx="30162" cy="42862"/>
          </a:xfrm>
          <a:custGeom>
            <a:avLst/>
            <a:gdLst>
              <a:gd name="T0" fmla="*/ 0 w 21"/>
              <a:gd name="T1" fmla="*/ 0 h 30"/>
              <a:gd name="T2" fmla="*/ 2147483647 w 21"/>
              <a:gd name="T3" fmla="*/ 2147483647 h 30"/>
              <a:gd name="T4" fmla="*/ 2147483647 w 21"/>
              <a:gd name="T5" fmla="*/ 2147483647 h 30"/>
              <a:gd name="T6" fmla="*/ 0 w 21"/>
              <a:gd name="T7" fmla="*/ 0 h 30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30"/>
              <a:gd name="T14" fmla="*/ 21 w 21"/>
              <a:gd name="T15" fmla="*/ 30 h 3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30">
                <a:moveTo>
                  <a:pt x="0" y="0"/>
                </a:moveTo>
                <a:lnTo>
                  <a:pt x="18" y="10"/>
                </a:lnTo>
                <a:lnTo>
                  <a:pt x="20" y="2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1" name="Freeform 223"/>
          <p:cNvSpPr>
            <a:spLocks/>
          </p:cNvSpPr>
          <p:nvPr/>
        </p:nvSpPr>
        <p:spPr bwMode="auto">
          <a:xfrm>
            <a:off x="1196975" y="3005138"/>
            <a:ext cx="15875" cy="25400"/>
          </a:xfrm>
          <a:custGeom>
            <a:avLst/>
            <a:gdLst>
              <a:gd name="T0" fmla="*/ 0 w 12"/>
              <a:gd name="T1" fmla="*/ 2147483647 h 17"/>
              <a:gd name="T2" fmla="*/ 2147483647 w 12"/>
              <a:gd name="T3" fmla="*/ 0 h 17"/>
              <a:gd name="T4" fmla="*/ 2147483647 w 12"/>
              <a:gd name="T5" fmla="*/ 2147483647 h 17"/>
              <a:gd name="T6" fmla="*/ 0 w 12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17"/>
              <a:gd name="T14" fmla="*/ 12 w 12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17">
                <a:moveTo>
                  <a:pt x="0" y="9"/>
                </a:moveTo>
                <a:lnTo>
                  <a:pt x="4" y="0"/>
                </a:lnTo>
                <a:lnTo>
                  <a:pt x="11" y="16"/>
                </a:lnTo>
                <a:lnTo>
                  <a:pt x="0" y="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2" name="Freeform 224"/>
          <p:cNvSpPr>
            <a:spLocks/>
          </p:cNvSpPr>
          <p:nvPr/>
        </p:nvSpPr>
        <p:spPr bwMode="auto">
          <a:xfrm>
            <a:off x="1355725" y="3206750"/>
            <a:ext cx="1333500" cy="647700"/>
          </a:xfrm>
          <a:custGeom>
            <a:avLst/>
            <a:gdLst>
              <a:gd name="T0" fmla="*/ 2147483647 w 968"/>
              <a:gd name="T1" fmla="*/ 2147483647 h 443"/>
              <a:gd name="T2" fmla="*/ 2147483647 w 968"/>
              <a:gd name="T3" fmla="*/ 2147483647 h 443"/>
              <a:gd name="T4" fmla="*/ 2147483647 w 968"/>
              <a:gd name="T5" fmla="*/ 2147483647 h 443"/>
              <a:gd name="T6" fmla="*/ 2147483647 w 968"/>
              <a:gd name="T7" fmla="*/ 2147483647 h 443"/>
              <a:gd name="T8" fmla="*/ 2147483647 w 968"/>
              <a:gd name="T9" fmla="*/ 2147483647 h 443"/>
              <a:gd name="T10" fmla="*/ 2147483647 w 968"/>
              <a:gd name="T11" fmla="*/ 2147483647 h 443"/>
              <a:gd name="T12" fmla="*/ 2147483647 w 968"/>
              <a:gd name="T13" fmla="*/ 2147483647 h 443"/>
              <a:gd name="T14" fmla="*/ 2147483647 w 968"/>
              <a:gd name="T15" fmla="*/ 2147483647 h 443"/>
              <a:gd name="T16" fmla="*/ 2147483647 w 968"/>
              <a:gd name="T17" fmla="*/ 2147483647 h 443"/>
              <a:gd name="T18" fmla="*/ 2147483647 w 968"/>
              <a:gd name="T19" fmla="*/ 2147483647 h 443"/>
              <a:gd name="T20" fmla="*/ 2147483647 w 968"/>
              <a:gd name="T21" fmla="*/ 2147483647 h 443"/>
              <a:gd name="T22" fmla="*/ 2147483647 w 968"/>
              <a:gd name="T23" fmla="*/ 2147483647 h 443"/>
              <a:gd name="T24" fmla="*/ 2147483647 w 968"/>
              <a:gd name="T25" fmla="*/ 2147483647 h 443"/>
              <a:gd name="T26" fmla="*/ 2147483647 w 968"/>
              <a:gd name="T27" fmla="*/ 2147483647 h 443"/>
              <a:gd name="T28" fmla="*/ 2147483647 w 968"/>
              <a:gd name="T29" fmla="*/ 2147483647 h 443"/>
              <a:gd name="T30" fmla="*/ 2147483647 w 968"/>
              <a:gd name="T31" fmla="*/ 2147483647 h 443"/>
              <a:gd name="T32" fmla="*/ 2147483647 w 968"/>
              <a:gd name="T33" fmla="*/ 2147483647 h 443"/>
              <a:gd name="T34" fmla="*/ 2147483647 w 968"/>
              <a:gd name="T35" fmla="*/ 2147483647 h 443"/>
              <a:gd name="T36" fmla="*/ 2147483647 w 968"/>
              <a:gd name="T37" fmla="*/ 2147483647 h 443"/>
              <a:gd name="T38" fmla="*/ 2147483647 w 968"/>
              <a:gd name="T39" fmla="*/ 2147483647 h 443"/>
              <a:gd name="T40" fmla="*/ 2147483647 w 968"/>
              <a:gd name="T41" fmla="*/ 2147483647 h 443"/>
              <a:gd name="T42" fmla="*/ 2147483647 w 968"/>
              <a:gd name="T43" fmla="*/ 2147483647 h 443"/>
              <a:gd name="T44" fmla="*/ 2147483647 w 968"/>
              <a:gd name="T45" fmla="*/ 2147483647 h 443"/>
              <a:gd name="T46" fmla="*/ 2147483647 w 968"/>
              <a:gd name="T47" fmla="*/ 2147483647 h 443"/>
              <a:gd name="T48" fmla="*/ 2147483647 w 968"/>
              <a:gd name="T49" fmla="*/ 2147483647 h 443"/>
              <a:gd name="T50" fmla="*/ 2147483647 w 968"/>
              <a:gd name="T51" fmla="*/ 2147483647 h 443"/>
              <a:gd name="T52" fmla="*/ 2147483647 w 968"/>
              <a:gd name="T53" fmla="*/ 2147483647 h 443"/>
              <a:gd name="T54" fmla="*/ 2147483647 w 968"/>
              <a:gd name="T55" fmla="*/ 2147483647 h 443"/>
              <a:gd name="T56" fmla="*/ 2147483647 w 968"/>
              <a:gd name="T57" fmla="*/ 2147483647 h 443"/>
              <a:gd name="T58" fmla="*/ 2147483647 w 968"/>
              <a:gd name="T59" fmla="*/ 2147483647 h 443"/>
              <a:gd name="T60" fmla="*/ 2147483647 w 968"/>
              <a:gd name="T61" fmla="*/ 2147483647 h 443"/>
              <a:gd name="T62" fmla="*/ 2147483647 w 968"/>
              <a:gd name="T63" fmla="*/ 2147483647 h 443"/>
              <a:gd name="T64" fmla="*/ 2147483647 w 968"/>
              <a:gd name="T65" fmla="*/ 2147483647 h 443"/>
              <a:gd name="T66" fmla="*/ 2147483647 w 968"/>
              <a:gd name="T67" fmla="*/ 2147483647 h 443"/>
              <a:gd name="T68" fmla="*/ 2147483647 w 968"/>
              <a:gd name="T69" fmla="*/ 2147483647 h 443"/>
              <a:gd name="T70" fmla="*/ 2147483647 w 968"/>
              <a:gd name="T71" fmla="*/ 2147483647 h 443"/>
              <a:gd name="T72" fmla="*/ 2147483647 w 968"/>
              <a:gd name="T73" fmla="*/ 2147483647 h 443"/>
              <a:gd name="T74" fmla="*/ 2147483647 w 968"/>
              <a:gd name="T75" fmla="*/ 2147483647 h 443"/>
              <a:gd name="T76" fmla="*/ 2147483647 w 968"/>
              <a:gd name="T77" fmla="*/ 2147483647 h 443"/>
              <a:gd name="T78" fmla="*/ 2147483647 w 968"/>
              <a:gd name="T79" fmla="*/ 2147483647 h 443"/>
              <a:gd name="T80" fmla="*/ 2147483647 w 968"/>
              <a:gd name="T81" fmla="*/ 2147483647 h 443"/>
              <a:gd name="T82" fmla="*/ 2147483647 w 968"/>
              <a:gd name="T83" fmla="*/ 2147483647 h 443"/>
              <a:gd name="T84" fmla="*/ 2147483647 w 968"/>
              <a:gd name="T85" fmla="*/ 2147483647 h 443"/>
              <a:gd name="T86" fmla="*/ 2147483647 w 968"/>
              <a:gd name="T87" fmla="*/ 2147483647 h 443"/>
              <a:gd name="T88" fmla="*/ 2147483647 w 968"/>
              <a:gd name="T89" fmla="*/ 0 h 443"/>
              <a:gd name="T90" fmla="*/ 2147483647 w 968"/>
              <a:gd name="T91" fmla="*/ 2147483647 h 443"/>
              <a:gd name="T92" fmla="*/ 2147483647 w 968"/>
              <a:gd name="T93" fmla="*/ 2147483647 h 443"/>
              <a:gd name="T94" fmla="*/ 0 w 968"/>
              <a:gd name="T95" fmla="*/ 2147483647 h 44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968"/>
              <a:gd name="T145" fmla="*/ 0 h 443"/>
              <a:gd name="T146" fmla="*/ 968 w 968"/>
              <a:gd name="T147" fmla="*/ 443 h 443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968" h="443">
                <a:moveTo>
                  <a:pt x="0" y="26"/>
                </a:moveTo>
                <a:lnTo>
                  <a:pt x="14" y="60"/>
                </a:lnTo>
                <a:lnTo>
                  <a:pt x="25" y="63"/>
                </a:lnTo>
                <a:lnTo>
                  <a:pt x="15" y="66"/>
                </a:lnTo>
                <a:lnTo>
                  <a:pt x="7" y="174"/>
                </a:lnTo>
                <a:lnTo>
                  <a:pt x="32" y="218"/>
                </a:lnTo>
                <a:lnTo>
                  <a:pt x="47" y="218"/>
                </a:lnTo>
                <a:lnTo>
                  <a:pt x="41" y="235"/>
                </a:lnTo>
                <a:lnTo>
                  <a:pt x="70" y="281"/>
                </a:lnTo>
                <a:lnTo>
                  <a:pt x="104" y="291"/>
                </a:lnTo>
                <a:lnTo>
                  <a:pt x="127" y="318"/>
                </a:lnTo>
                <a:lnTo>
                  <a:pt x="167" y="315"/>
                </a:lnTo>
                <a:lnTo>
                  <a:pt x="231" y="338"/>
                </a:lnTo>
                <a:lnTo>
                  <a:pt x="306" y="330"/>
                </a:lnTo>
                <a:lnTo>
                  <a:pt x="353" y="377"/>
                </a:lnTo>
                <a:lnTo>
                  <a:pt x="389" y="364"/>
                </a:lnTo>
                <a:lnTo>
                  <a:pt x="430" y="421"/>
                </a:lnTo>
                <a:lnTo>
                  <a:pt x="463" y="430"/>
                </a:lnTo>
                <a:lnTo>
                  <a:pt x="460" y="399"/>
                </a:lnTo>
                <a:lnTo>
                  <a:pt x="495" y="380"/>
                </a:lnTo>
                <a:lnTo>
                  <a:pt x="500" y="366"/>
                </a:lnTo>
                <a:lnTo>
                  <a:pt x="549" y="364"/>
                </a:lnTo>
                <a:lnTo>
                  <a:pt x="591" y="377"/>
                </a:lnTo>
                <a:lnTo>
                  <a:pt x="593" y="359"/>
                </a:lnTo>
                <a:lnTo>
                  <a:pt x="574" y="355"/>
                </a:lnTo>
                <a:lnTo>
                  <a:pt x="612" y="354"/>
                </a:lnTo>
                <a:lnTo>
                  <a:pt x="614" y="345"/>
                </a:lnTo>
                <a:lnTo>
                  <a:pt x="615" y="356"/>
                </a:lnTo>
                <a:lnTo>
                  <a:pt x="685" y="359"/>
                </a:lnTo>
                <a:lnTo>
                  <a:pt x="702" y="376"/>
                </a:lnTo>
                <a:lnTo>
                  <a:pt x="706" y="405"/>
                </a:lnTo>
                <a:lnTo>
                  <a:pt x="729" y="442"/>
                </a:lnTo>
                <a:lnTo>
                  <a:pt x="740" y="442"/>
                </a:lnTo>
                <a:lnTo>
                  <a:pt x="746" y="412"/>
                </a:lnTo>
                <a:lnTo>
                  <a:pt x="723" y="345"/>
                </a:lnTo>
                <a:lnTo>
                  <a:pt x="738" y="316"/>
                </a:lnTo>
                <a:lnTo>
                  <a:pt x="821" y="262"/>
                </a:lnTo>
                <a:lnTo>
                  <a:pt x="807" y="257"/>
                </a:lnTo>
                <a:lnTo>
                  <a:pt x="820" y="255"/>
                </a:lnTo>
                <a:lnTo>
                  <a:pt x="809" y="238"/>
                </a:lnTo>
                <a:lnTo>
                  <a:pt x="812" y="221"/>
                </a:lnTo>
                <a:lnTo>
                  <a:pt x="796" y="209"/>
                </a:lnTo>
                <a:lnTo>
                  <a:pt x="812" y="216"/>
                </a:lnTo>
                <a:lnTo>
                  <a:pt x="808" y="197"/>
                </a:lnTo>
                <a:lnTo>
                  <a:pt x="819" y="191"/>
                </a:lnTo>
                <a:lnTo>
                  <a:pt x="820" y="235"/>
                </a:lnTo>
                <a:lnTo>
                  <a:pt x="834" y="211"/>
                </a:lnTo>
                <a:lnTo>
                  <a:pt x="826" y="188"/>
                </a:lnTo>
                <a:lnTo>
                  <a:pt x="836" y="201"/>
                </a:lnTo>
                <a:lnTo>
                  <a:pt x="852" y="166"/>
                </a:lnTo>
                <a:lnTo>
                  <a:pt x="919" y="151"/>
                </a:lnTo>
                <a:lnTo>
                  <a:pt x="903" y="140"/>
                </a:lnTo>
                <a:lnTo>
                  <a:pt x="914" y="113"/>
                </a:lnTo>
                <a:lnTo>
                  <a:pt x="967" y="94"/>
                </a:lnTo>
                <a:lnTo>
                  <a:pt x="967" y="84"/>
                </a:lnTo>
                <a:lnTo>
                  <a:pt x="955" y="74"/>
                </a:lnTo>
                <a:lnTo>
                  <a:pt x="955" y="48"/>
                </a:lnTo>
                <a:lnTo>
                  <a:pt x="929" y="41"/>
                </a:lnTo>
                <a:lnTo>
                  <a:pt x="907" y="81"/>
                </a:lnTo>
                <a:lnTo>
                  <a:pt x="820" y="98"/>
                </a:lnTo>
                <a:lnTo>
                  <a:pt x="814" y="115"/>
                </a:lnTo>
                <a:lnTo>
                  <a:pt x="765" y="121"/>
                </a:lnTo>
                <a:lnTo>
                  <a:pt x="768" y="128"/>
                </a:lnTo>
                <a:lnTo>
                  <a:pt x="719" y="155"/>
                </a:lnTo>
                <a:lnTo>
                  <a:pt x="699" y="154"/>
                </a:lnTo>
                <a:lnTo>
                  <a:pt x="698" y="145"/>
                </a:lnTo>
                <a:lnTo>
                  <a:pt x="701" y="137"/>
                </a:lnTo>
                <a:lnTo>
                  <a:pt x="707" y="133"/>
                </a:lnTo>
                <a:lnTo>
                  <a:pt x="709" y="124"/>
                </a:lnTo>
                <a:lnTo>
                  <a:pt x="701" y="105"/>
                </a:lnTo>
                <a:lnTo>
                  <a:pt x="683" y="112"/>
                </a:lnTo>
                <a:lnTo>
                  <a:pt x="691" y="84"/>
                </a:lnTo>
                <a:lnTo>
                  <a:pt x="665" y="74"/>
                </a:lnTo>
                <a:lnTo>
                  <a:pt x="645" y="94"/>
                </a:lnTo>
                <a:lnTo>
                  <a:pt x="636" y="147"/>
                </a:lnTo>
                <a:lnTo>
                  <a:pt x="622" y="149"/>
                </a:lnTo>
                <a:lnTo>
                  <a:pt x="617" y="121"/>
                </a:lnTo>
                <a:lnTo>
                  <a:pt x="630" y="85"/>
                </a:lnTo>
                <a:lnTo>
                  <a:pt x="618" y="92"/>
                </a:lnTo>
                <a:lnTo>
                  <a:pt x="639" y="70"/>
                </a:lnTo>
                <a:lnTo>
                  <a:pt x="683" y="70"/>
                </a:lnTo>
                <a:lnTo>
                  <a:pt x="676" y="59"/>
                </a:lnTo>
                <a:lnTo>
                  <a:pt x="675" y="59"/>
                </a:lnTo>
                <a:lnTo>
                  <a:pt x="607" y="54"/>
                </a:lnTo>
                <a:lnTo>
                  <a:pt x="618" y="38"/>
                </a:lnTo>
                <a:lnTo>
                  <a:pt x="578" y="56"/>
                </a:lnTo>
                <a:lnTo>
                  <a:pt x="549" y="55"/>
                </a:lnTo>
                <a:lnTo>
                  <a:pt x="586" y="29"/>
                </a:lnTo>
                <a:lnTo>
                  <a:pt x="506" y="13"/>
                </a:lnTo>
                <a:lnTo>
                  <a:pt x="497" y="0"/>
                </a:lnTo>
                <a:lnTo>
                  <a:pt x="495" y="9"/>
                </a:lnTo>
                <a:lnTo>
                  <a:pt x="32" y="9"/>
                </a:lnTo>
                <a:lnTo>
                  <a:pt x="42" y="27"/>
                </a:lnTo>
                <a:lnTo>
                  <a:pt x="32" y="41"/>
                </a:lnTo>
                <a:lnTo>
                  <a:pt x="35" y="26"/>
                </a:lnTo>
                <a:lnTo>
                  <a:pt x="0" y="26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3" name="Freeform 225"/>
          <p:cNvSpPr>
            <a:spLocks/>
          </p:cNvSpPr>
          <p:nvPr/>
        </p:nvSpPr>
        <p:spPr bwMode="auto">
          <a:xfrm>
            <a:off x="8588375" y="2740025"/>
            <a:ext cx="69850" cy="23813"/>
          </a:xfrm>
          <a:custGeom>
            <a:avLst/>
            <a:gdLst>
              <a:gd name="T0" fmla="*/ 0 w 51"/>
              <a:gd name="T1" fmla="*/ 2147483647 h 16"/>
              <a:gd name="T2" fmla="*/ 2147483647 w 51"/>
              <a:gd name="T3" fmla="*/ 0 h 16"/>
              <a:gd name="T4" fmla="*/ 2147483647 w 51"/>
              <a:gd name="T5" fmla="*/ 2147483647 h 16"/>
              <a:gd name="T6" fmla="*/ 2147483647 w 51"/>
              <a:gd name="T7" fmla="*/ 2147483647 h 16"/>
              <a:gd name="T8" fmla="*/ 0 w 51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"/>
              <a:gd name="T16" fmla="*/ 0 h 16"/>
              <a:gd name="T17" fmla="*/ 51 w 51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" h="16">
                <a:moveTo>
                  <a:pt x="0" y="3"/>
                </a:moveTo>
                <a:lnTo>
                  <a:pt x="30" y="0"/>
                </a:lnTo>
                <a:lnTo>
                  <a:pt x="50" y="8"/>
                </a:lnTo>
                <a:lnTo>
                  <a:pt x="39" y="15"/>
                </a:lnTo>
                <a:lnTo>
                  <a:pt x="0" y="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4" name="Freeform 226"/>
          <p:cNvSpPr>
            <a:spLocks/>
          </p:cNvSpPr>
          <p:nvPr/>
        </p:nvSpPr>
        <p:spPr bwMode="auto">
          <a:xfrm>
            <a:off x="4119563" y="4097338"/>
            <a:ext cx="174625" cy="127000"/>
          </a:xfrm>
          <a:custGeom>
            <a:avLst/>
            <a:gdLst>
              <a:gd name="T0" fmla="*/ 0 w 127"/>
              <a:gd name="T1" fmla="*/ 2147483647 h 87"/>
              <a:gd name="T2" fmla="*/ 2147483647 w 127"/>
              <a:gd name="T3" fmla="*/ 2147483647 h 87"/>
              <a:gd name="T4" fmla="*/ 2147483647 w 127"/>
              <a:gd name="T5" fmla="*/ 2147483647 h 87"/>
              <a:gd name="T6" fmla="*/ 2147483647 w 127"/>
              <a:gd name="T7" fmla="*/ 2147483647 h 87"/>
              <a:gd name="T8" fmla="*/ 2147483647 w 127"/>
              <a:gd name="T9" fmla="*/ 2147483647 h 87"/>
              <a:gd name="T10" fmla="*/ 2147483647 w 127"/>
              <a:gd name="T11" fmla="*/ 2147483647 h 87"/>
              <a:gd name="T12" fmla="*/ 2147483647 w 127"/>
              <a:gd name="T13" fmla="*/ 2147483647 h 87"/>
              <a:gd name="T14" fmla="*/ 2147483647 w 127"/>
              <a:gd name="T15" fmla="*/ 2147483647 h 87"/>
              <a:gd name="T16" fmla="*/ 2147483647 w 127"/>
              <a:gd name="T17" fmla="*/ 0 h 87"/>
              <a:gd name="T18" fmla="*/ 2147483647 w 127"/>
              <a:gd name="T19" fmla="*/ 2147483647 h 87"/>
              <a:gd name="T20" fmla="*/ 0 w 127"/>
              <a:gd name="T21" fmla="*/ 2147483647 h 8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27"/>
              <a:gd name="T34" fmla="*/ 0 h 87"/>
              <a:gd name="T35" fmla="*/ 127 w 127"/>
              <a:gd name="T36" fmla="*/ 87 h 8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27" h="87">
                <a:moveTo>
                  <a:pt x="0" y="73"/>
                </a:moveTo>
                <a:lnTo>
                  <a:pt x="9" y="84"/>
                </a:lnTo>
                <a:lnTo>
                  <a:pt x="44" y="86"/>
                </a:lnTo>
                <a:lnTo>
                  <a:pt x="40" y="64"/>
                </a:lnTo>
                <a:lnTo>
                  <a:pt x="83" y="60"/>
                </a:lnTo>
                <a:lnTo>
                  <a:pt x="103" y="64"/>
                </a:lnTo>
                <a:lnTo>
                  <a:pt x="126" y="48"/>
                </a:lnTo>
                <a:lnTo>
                  <a:pt x="92" y="15"/>
                </a:lnTo>
                <a:lnTo>
                  <a:pt x="91" y="0"/>
                </a:lnTo>
                <a:lnTo>
                  <a:pt x="22" y="29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5" name="Freeform 227"/>
          <p:cNvSpPr>
            <a:spLocks/>
          </p:cNvSpPr>
          <p:nvPr/>
        </p:nvSpPr>
        <p:spPr bwMode="auto">
          <a:xfrm>
            <a:off x="2887663" y="5159375"/>
            <a:ext cx="122237" cy="122238"/>
          </a:xfrm>
          <a:custGeom>
            <a:avLst/>
            <a:gdLst>
              <a:gd name="T0" fmla="*/ 0 w 89"/>
              <a:gd name="T1" fmla="*/ 2147483647 h 84"/>
              <a:gd name="T2" fmla="*/ 2147483647 w 89"/>
              <a:gd name="T3" fmla="*/ 2147483647 h 84"/>
              <a:gd name="T4" fmla="*/ 2147483647 w 89"/>
              <a:gd name="T5" fmla="*/ 0 h 84"/>
              <a:gd name="T6" fmla="*/ 2147483647 w 89"/>
              <a:gd name="T7" fmla="*/ 2147483647 h 84"/>
              <a:gd name="T8" fmla="*/ 2147483647 w 89"/>
              <a:gd name="T9" fmla="*/ 2147483647 h 84"/>
              <a:gd name="T10" fmla="*/ 2147483647 w 89"/>
              <a:gd name="T11" fmla="*/ 2147483647 h 84"/>
              <a:gd name="T12" fmla="*/ 2147483647 w 89"/>
              <a:gd name="T13" fmla="*/ 2147483647 h 84"/>
              <a:gd name="T14" fmla="*/ 0 w 89"/>
              <a:gd name="T15" fmla="*/ 2147483647 h 8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9"/>
              <a:gd name="T25" fmla="*/ 0 h 84"/>
              <a:gd name="T26" fmla="*/ 89 w 89"/>
              <a:gd name="T27" fmla="*/ 84 h 8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9" h="84">
                <a:moveTo>
                  <a:pt x="0" y="67"/>
                </a:moveTo>
                <a:lnTo>
                  <a:pt x="15" y="1"/>
                </a:lnTo>
                <a:lnTo>
                  <a:pt x="27" y="0"/>
                </a:lnTo>
                <a:lnTo>
                  <a:pt x="77" y="30"/>
                </a:lnTo>
                <a:lnTo>
                  <a:pt x="88" y="46"/>
                </a:lnTo>
                <a:lnTo>
                  <a:pt x="84" y="62"/>
                </a:lnTo>
                <a:lnTo>
                  <a:pt x="59" y="83"/>
                </a:lnTo>
                <a:lnTo>
                  <a:pt x="0" y="67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6" name="Freeform 228"/>
          <p:cNvSpPr>
            <a:spLocks/>
          </p:cNvSpPr>
          <p:nvPr/>
        </p:nvSpPr>
        <p:spPr bwMode="auto">
          <a:xfrm>
            <a:off x="2543175" y="4164013"/>
            <a:ext cx="315913" cy="263525"/>
          </a:xfrm>
          <a:custGeom>
            <a:avLst/>
            <a:gdLst>
              <a:gd name="T0" fmla="*/ 0 w 229"/>
              <a:gd name="T1" fmla="*/ 2147483647 h 181"/>
              <a:gd name="T2" fmla="*/ 2147483647 w 229"/>
              <a:gd name="T3" fmla="*/ 2147483647 h 181"/>
              <a:gd name="T4" fmla="*/ 2147483647 w 229"/>
              <a:gd name="T5" fmla="*/ 2147483647 h 181"/>
              <a:gd name="T6" fmla="*/ 2147483647 w 229"/>
              <a:gd name="T7" fmla="*/ 2147483647 h 181"/>
              <a:gd name="T8" fmla="*/ 2147483647 w 229"/>
              <a:gd name="T9" fmla="*/ 2147483647 h 181"/>
              <a:gd name="T10" fmla="*/ 2147483647 w 229"/>
              <a:gd name="T11" fmla="*/ 2147483647 h 181"/>
              <a:gd name="T12" fmla="*/ 2147483647 w 229"/>
              <a:gd name="T13" fmla="*/ 2147483647 h 181"/>
              <a:gd name="T14" fmla="*/ 2147483647 w 229"/>
              <a:gd name="T15" fmla="*/ 2147483647 h 181"/>
              <a:gd name="T16" fmla="*/ 2147483647 w 229"/>
              <a:gd name="T17" fmla="*/ 2147483647 h 181"/>
              <a:gd name="T18" fmla="*/ 2147483647 w 229"/>
              <a:gd name="T19" fmla="*/ 2147483647 h 181"/>
              <a:gd name="T20" fmla="*/ 2147483647 w 229"/>
              <a:gd name="T21" fmla="*/ 2147483647 h 181"/>
              <a:gd name="T22" fmla="*/ 2147483647 w 229"/>
              <a:gd name="T23" fmla="*/ 2147483647 h 181"/>
              <a:gd name="T24" fmla="*/ 2147483647 w 229"/>
              <a:gd name="T25" fmla="*/ 2147483647 h 181"/>
              <a:gd name="T26" fmla="*/ 2147483647 w 229"/>
              <a:gd name="T27" fmla="*/ 2147483647 h 181"/>
              <a:gd name="T28" fmla="*/ 2147483647 w 229"/>
              <a:gd name="T29" fmla="*/ 2147483647 h 181"/>
              <a:gd name="T30" fmla="*/ 2147483647 w 229"/>
              <a:gd name="T31" fmla="*/ 2147483647 h 181"/>
              <a:gd name="T32" fmla="*/ 2147483647 w 229"/>
              <a:gd name="T33" fmla="*/ 2147483647 h 181"/>
              <a:gd name="T34" fmla="*/ 2147483647 w 229"/>
              <a:gd name="T35" fmla="*/ 2147483647 h 181"/>
              <a:gd name="T36" fmla="*/ 2147483647 w 229"/>
              <a:gd name="T37" fmla="*/ 2147483647 h 181"/>
              <a:gd name="T38" fmla="*/ 2147483647 w 229"/>
              <a:gd name="T39" fmla="*/ 2147483647 h 181"/>
              <a:gd name="T40" fmla="*/ 2147483647 w 229"/>
              <a:gd name="T41" fmla="*/ 2147483647 h 181"/>
              <a:gd name="T42" fmla="*/ 2147483647 w 229"/>
              <a:gd name="T43" fmla="*/ 2147483647 h 181"/>
              <a:gd name="T44" fmla="*/ 2147483647 w 229"/>
              <a:gd name="T45" fmla="*/ 0 h 181"/>
              <a:gd name="T46" fmla="*/ 2147483647 w 229"/>
              <a:gd name="T47" fmla="*/ 2147483647 h 181"/>
              <a:gd name="T48" fmla="*/ 2147483647 w 229"/>
              <a:gd name="T49" fmla="*/ 2147483647 h 181"/>
              <a:gd name="T50" fmla="*/ 2147483647 w 229"/>
              <a:gd name="T51" fmla="*/ 2147483647 h 181"/>
              <a:gd name="T52" fmla="*/ 2147483647 w 229"/>
              <a:gd name="T53" fmla="*/ 2147483647 h 181"/>
              <a:gd name="T54" fmla="*/ 2147483647 w 229"/>
              <a:gd name="T55" fmla="*/ 2147483647 h 181"/>
              <a:gd name="T56" fmla="*/ 2147483647 w 229"/>
              <a:gd name="T57" fmla="*/ 2147483647 h 181"/>
              <a:gd name="T58" fmla="*/ 0 w 229"/>
              <a:gd name="T59" fmla="*/ 2147483647 h 181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29"/>
              <a:gd name="T91" fmla="*/ 0 h 181"/>
              <a:gd name="T92" fmla="*/ 229 w 229"/>
              <a:gd name="T93" fmla="*/ 181 h 181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29" h="181">
                <a:moveTo>
                  <a:pt x="0" y="49"/>
                </a:moveTo>
                <a:lnTo>
                  <a:pt x="22" y="80"/>
                </a:lnTo>
                <a:lnTo>
                  <a:pt x="56" y="82"/>
                </a:lnTo>
                <a:lnTo>
                  <a:pt x="68" y="96"/>
                </a:lnTo>
                <a:lnTo>
                  <a:pt x="98" y="95"/>
                </a:lnTo>
                <a:lnTo>
                  <a:pt x="94" y="149"/>
                </a:lnTo>
                <a:lnTo>
                  <a:pt x="109" y="172"/>
                </a:lnTo>
                <a:lnTo>
                  <a:pt x="130" y="180"/>
                </a:lnTo>
                <a:lnTo>
                  <a:pt x="169" y="158"/>
                </a:lnTo>
                <a:lnTo>
                  <a:pt x="155" y="154"/>
                </a:lnTo>
                <a:lnTo>
                  <a:pt x="145" y="124"/>
                </a:lnTo>
                <a:lnTo>
                  <a:pt x="175" y="131"/>
                </a:lnTo>
                <a:lnTo>
                  <a:pt x="216" y="110"/>
                </a:lnTo>
                <a:lnTo>
                  <a:pt x="204" y="96"/>
                </a:lnTo>
                <a:lnTo>
                  <a:pt x="217" y="81"/>
                </a:lnTo>
                <a:lnTo>
                  <a:pt x="213" y="71"/>
                </a:lnTo>
                <a:lnTo>
                  <a:pt x="228" y="62"/>
                </a:lnTo>
                <a:lnTo>
                  <a:pt x="209" y="59"/>
                </a:lnTo>
                <a:lnTo>
                  <a:pt x="209" y="44"/>
                </a:lnTo>
                <a:lnTo>
                  <a:pt x="175" y="29"/>
                </a:lnTo>
                <a:lnTo>
                  <a:pt x="190" y="24"/>
                </a:lnTo>
                <a:lnTo>
                  <a:pt x="90" y="27"/>
                </a:lnTo>
                <a:lnTo>
                  <a:pt x="57" y="0"/>
                </a:lnTo>
                <a:lnTo>
                  <a:pt x="61" y="12"/>
                </a:lnTo>
                <a:lnTo>
                  <a:pt x="32" y="22"/>
                </a:lnTo>
                <a:lnTo>
                  <a:pt x="38" y="44"/>
                </a:lnTo>
                <a:lnTo>
                  <a:pt x="30" y="51"/>
                </a:lnTo>
                <a:lnTo>
                  <a:pt x="22" y="34"/>
                </a:lnTo>
                <a:lnTo>
                  <a:pt x="35" y="6"/>
                </a:lnTo>
                <a:lnTo>
                  <a:pt x="0" y="49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7" name="Freeform 229"/>
          <p:cNvSpPr>
            <a:spLocks/>
          </p:cNvSpPr>
          <p:nvPr/>
        </p:nvSpPr>
        <p:spPr bwMode="auto">
          <a:xfrm>
            <a:off x="6600825" y="3900488"/>
            <a:ext cx="165100" cy="346075"/>
          </a:xfrm>
          <a:custGeom>
            <a:avLst/>
            <a:gdLst>
              <a:gd name="T0" fmla="*/ 0 w 120"/>
              <a:gd name="T1" fmla="*/ 2147483647 h 237"/>
              <a:gd name="T2" fmla="*/ 2147483647 w 120"/>
              <a:gd name="T3" fmla="*/ 2147483647 h 237"/>
              <a:gd name="T4" fmla="*/ 2147483647 w 120"/>
              <a:gd name="T5" fmla="*/ 2147483647 h 237"/>
              <a:gd name="T6" fmla="*/ 2147483647 w 120"/>
              <a:gd name="T7" fmla="*/ 2147483647 h 237"/>
              <a:gd name="T8" fmla="*/ 2147483647 w 120"/>
              <a:gd name="T9" fmla="*/ 2147483647 h 237"/>
              <a:gd name="T10" fmla="*/ 2147483647 w 120"/>
              <a:gd name="T11" fmla="*/ 2147483647 h 237"/>
              <a:gd name="T12" fmla="*/ 2147483647 w 120"/>
              <a:gd name="T13" fmla="*/ 2147483647 h 237"/>
              <a:gd name="T14" fmla="*/ 2147483647 w 120"/>
              <a:gd name="T15" fmla="*/ 2147483647 h 237"/>
              <a:gd name="T16" fmla="*/ 2147483647 w 120"/>
              <a:gd name="T17" fmla="*/ 2147483647 h 237"/>
              <a:gd name="T18" fmla="*/ 2147483647 w 120"/>
              <a:gd name="T19" fmla="*/ 2147483647 h 237"/>
              <a:gd name="T20" fmla="*/ 2147483647 w 120"/>
              <a:gd name="T21" fmla="*/ 2147483647 h 237"/>
              <a:gd name="T22" fmla="*/ 2147483647 w 120"/>
              <a:gd name="T23" fmla="*/ 2147483647 h 237"/>
              <a:gd name="T24" fmla="*/ 2147483647 w 120"/>
              <a:gd name="T25" fmla="*/ 2147483647 h 237"/>
              <a:gd name="T26" fmla="*/ 2147483647 w 120"/>
              <a:gd name="T27" fmla="*/ 2147483647 h 237"/>
              <a:gd name="T28" fmla="*/ 2147483647 w 120"/>
              <a:gd name="T29" fmla="*/ 2147483647 h 237"/>
              <a:gd name="T30" fmla="*/ 2147483647 w 120"/>
              <a:gd name="T31" fmla="*/ 2147483647 h 237"/>
              <a:gd name="T32" fmla="*/ 2147483647 w 120"/>
              <a:gd name="T33" fmla="*/ 2147483647 h 237"/>
              <a:gd name="T34" fmla="*/ 2147483647 w 120"/>
              <a:gd name="T35" fmla="*/ 0 h 237"/>
              <a:gd name="T36" fmla="*/ 0 w 120"/>
              <a:gd name="T37" fmla="*/ 2147483647 h 23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0"/>
              <a:gd name="T58" fmla="*/ 0 h 237"/>
              <a:gd name="T59" fmla="*/ 120 w 120"/>
              <a:gd name="T60" fmla="*/ 237 h 23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0" h="237">
                <a:moveTo>
                  <a:pt x="0" y="13"/>
                </a:moveTo>
                <a:lnTo>
                  <a:pt x="18" y="38"/>
                </a:lnTo>
                <a:lnTo>
                  <a:pt x="42" y="49"/>
                </a:lnTo>
                <a:lnTo>
                  <a:pt x="31" y="64"/>
                </a:lnTo>
                <a:lnTo>
                  <a:pt x="71" y="96"/>
                </a:lnTo>
                <a:lnTo>
                  <a:pt x="90" y="140"/>
                </a:lnTo>
                <a:lnTo>
                  <a:pt x="91" y="176"/>
                </a:lnTo>
                <a:lnTo>
                  <a:pt x="40" y="207"/>
                </a:lnTo>
                <a:lnTo>
                  <a:pt x="49" y="236"/>
                </a:lnTo>
                <a:lnTo>
                  <a:pt x="65" y="215"/>
                </a:lnTo>
                <a:lnTo>
                  <a:pt x="72" y="221"/>
                </a:lnTo>
                <a:lnTo>
                  <a:pt x="79" y="208"/>
                </a:lnTo>
                <a:lnTo>
                  <a:pt x="119" y="189"/>
                </a:lnTo>
                <a:lnTo>
                  <a:pt x="112" y="130"/>
                </a:lnTo>
                <a:lnTo>
                  <a:pt x="59" y="73"/>
                </a:lnTo>
                <a:lnTo>
                  <a:pt x="65" y="56"/>
                </a:lnTo>
                <a:lnTo>
                  <a:pt x="97" y="28"/>
                </a:lnTo>
                <a:lnTo>
                  <a:pt x="53" y="0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8" name="Freeform 230"/>
          <p:cNvSpPr>
            <a:spLocks/>
          </p:cNvSpPr>
          <p:nvPr/>
        </p:nvSpPr>
        <p:spPr bwMode="auto">
          <a:xfrm>
            <a:off x="4554538" y="3279775"/>
            <a:ext cx="215900" cy="173038"/>
          </a:xfrm>
          <a:custGeom>
            <a:avLst/>
            <a:gdLst>
              <a:gd name="T0" fmla="*/ 0 w 156"/>
              <a:gd name="T1" fmla="*/ 2147483647 h 118"/>
              <a:gd name="T2" fmla="*/ 0 w 156"/>
              <a:gd name="T3" fmla="*/ 2147483647 h 118"/>
              <a:gd name="T4" fmla="*/ 2147483647 w 156"/>
              <a:gd name="T5" fmla="*/ 0 h 118"/>
              <a:gd name="T6" fmla="*/ 2147483647 w 156"/>
              <a:gd name="T7" fmla="*/ 2147483647 h 118"/>
              <a:gd name="T8" fmla="*/ 2147483647 w 156"/>
              <a:gd name="T9" fmla="*/ 2147483647 h 118"/>
              <a:gd name="T10" fmla="*/ 2147483647 w 156"/>
              <a:gd name="T11" fmla="*/ 2147483647 h 118"/>
              <a:gd name="T12" fmla="*/ 2147483647 w 156"/>
              <a:gd name="T13" fmla="*/ 2147483647 h 118"/>
              <a:gd name="T14" fmla="*/ 2147483647 w 156"/>
              <a:gd name="T15" fmla="*/ 2147483647 h 118"/>
              <a:gd name="T16" fmla="*/ 2147483647 w 156"/>
              <a:gd name="T17" fmla="*/ 2147483647 h 118"/>
              <a:gd name="T18" fmla="*/ 2147483647 w 156"/>
              <a:gd name="T19" fmla="*/ 2147483647 h 118"/>
              <a:gd name="T20" fmla="*/ 2147483647 w 156"/>
              <a:gd name="T21" fmla="*/ 2147483647 h 118"/>
              <a:gd name="T22" fmla="*/ 2147483647 w 156"/>
              <a:gd name="T23" fmla="*/ 2147483647 h 118"/>
              <a:gd name="T24" fmla="*/ 2147483647 w 156"/>
              <a:gd name="T25" fmla="*/ 2147483647 h 118"/>
              <a:gd name="T26" fmla="*/ 2147483647 w 156"/>
              <a:gd name="T27" fmla="*/ 2147483647 h 118"/>
              <a:gd name="T28" fmla="*/ 0 w 156"/>
              <a:gd name="T29" fmla="*/ 2147483647 h 11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56"/>
              <a:gd name="T46" fmla="*/ 0 h 118"/>
              <a:gd name="T47" fmla="*/ 156 w 156"/>
              <a:gd name="T48" fmla="*/ 118 h 11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56" h="118">
                <a:moveTo>
                  <a:pt x="0" y="28"/>
                </a:moveTo>
                <a:lnTo>
                  <a:pt x="0" y="9"/>
                </a:lnTo>
                <a:lnTo>
                  <a:pt x="40" y="0"/>
                </a:lnTo>
                <a:lnTo>
                  <a:pt x="72" y="22"/>
                </a:lnTo>
                <a:lnTo>
                  <a:pt x="109" y="15"/>
                </a:lnTo>
                <a:lnTo>
                  <a:pt x="153" y="54"/>
                </a:lnTo>
                <a:lnTo>
                  <a:pt x="146" y="90"/>
                </a:lnTo>
                <a:lnTo>
                  <a:pt x="155" y="108"/>
                </a:lnTo>
                <a:lnTo>
                  <a:pt x="123" y="117"/>
                </a:lnTo>
                <a:lnTo>
                  <a:pt x="109" y="85"/>
                </a:lnTo>
                <a:lnTo>
                  <a:pt x="94" y="97"/>
                </a:lnTo>
                <a:lnTo>
                  <a:pt x="40" y="66"/>
                </a:lnTo>
                <a:lnTo>
                  <a:pt x="15" y="33"/>
                </a:lnTo>
                <a:lnTo>
                  <a:pt x="4" y="40"/>
                </a:lnTo>
                <a:lnTo>
                  <a:pt x="0" y="2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39" name="Freeform 231"/>
          <p:cNvSpPr>
            <a:spLocks/>
          </p:cNvSpPr>
          <p:nvPr/>
        </p:nvSpPr>
        <p:spPr bwMode="auto">
          <a:xfrm>
            <a:off x="4749800" y="4632325"/>
            <a:ext cx="269875" cy="227013"/>
          </a:xfrm>
          <a:custGeom>
            <a:avLst/>
            <a:gdLst>
              <a:gd name="T0" fmla="*/ 0 w 197"/>
              <a:gd name="T1" fmla="*/ 2147483647 h 155"/>
              <a:gd name="T2" fmla="*/ 0 w 197"/>
              <a:gd name="T3" fmla="*/ 2147483647 h 155"/>
              <a:gd name="T4" fmla="*/ 2147483647 w 197"/>
              <a:gd name="T5" fmla="*/ 2147483647 h 155"/>
              <a:gd name="T6" fmla="*/ 2147483647 w 197"/>
              <a:gd name="T7" fmla="*/ 2147483647 h 155"/>
              <a:gd name="T8" fmla="*/ 2147483647 w 197"/>
              <a:gd name="T9" fmla="*/ 2147483647 h 155"/>
              <a:gd name="T10" fmla="*/ 2147483647 w 197"/>
              <a:gd name="T11" fmla="*/ 2147483647 h 155"/>
              <a:gd name="T12" fmla="*/ 2147483647 w 197"/>
              <a:gd name="T13" fmla="*/ 2147483647 h 155"/>
              <a:gd name="T14" fmla="*/ 2147483647 w 197"/>
              <a:gd name="T15" fmla="*/ 2147483647 h 155"/>
              <a:gd name="T16" fmla="*/ 2147483647 w 197"/>
              <a:gd name="T17" fmla="*/ 2147483647 h 155"/>
              <a:gd name="T18" fmla="*/ 2147483647 w 197"/>
              <a:gd name="T19" fmla="*/ 2147483647 h 155"/>
              <a:gd name="T20" fmla="*/ 2147483647 w 197"/>
              <a:gd name="T21" fmla="*/ 2147483647 h 155"/>
              <a:gd name="T22" fmla="*/ 2147483647 w 197"/>
              <a:gd name="T23" fmla="*/ 2147483647 h 155"/>
              <a:gd name="T24" fmla="*/ 2147483647 w 197"/>
              <a:gd name="T25" fmla="*/ 2147483647 h 155"/>
              <a:gd name="T26" fmla="*/ 2147483647 w 197"/>
              <a:gd name="T27" fmla="*/ 2147483647 h 155"/>
              <a:gd name="T28" fmla="*/ 2147483647 w 197"/>
              <a:gd name="T29" fmla="*/ 0 h 155"/>
              <a:gd name="T30" fmla="*/ 2147483647 w 197"/>
              <a:gd name="T31" fmla="*/ 2147483647 h 155"/>
              <a:gd name="T32" fmla="*/ 2147483647 w 197"/>
              <a:gd name="T33" fmla="*/ 2147483647 h 155"/>
              <a:gd name="T34" fmla="*/ 2147483647 w 197"/>
              <a:gd name="T35" fmla="*/ 2147483647 h 155"/>
              <a:gd name="T36" fmla="*/ 2147483647 w 197"/>
              <a:gd name="T37" fmla="*/ 2147483647 h 155"/>
              <a:gd name="T38" fmla="*/ 2147483647 w 197"/>
              <a:gd name="T39" fmla="*/ 2147483647 h 155"/>
              <a:gd name="T40" fmla="*/ 2147483647 w 197"/>
              <a:gd name="T41" fmla="*/ 2147483647 h 155"/>
              <a:gd name="T42" fmla="*/ 0 w 197"/>
              <a:gd name="T43" fmla="*/ 2147483647 h 1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97"/>
              <a:gd name="T67" fmla="*/ 0 h 155"/>
              <a:gd name="T68" fmla="*/ 197 w 197"/>
              <a:gd name="T69" fmla="*/ 155 h 15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97" h="155">
                <a:moveTo>
                  <a:pt x="0" y="75"/>
                </a:moveTo>
                <a:lnTo>
                  <a:pt x="0" y="134"/>
                </a:lnTo>
                <a:lnTo>
                  <a:pt x="20" y="151"/>
                </a:lnTo>
                <a:lnTo>
                  <a:pt x="51" y="153"/>
                </a:lnTo>
                <a:lnTo>
                  <a:pt x="81" y="154"/>
                </a:lnTo>
                <a:lnTo>
                  <a:pt x="111" y="133"/>
                </a:lnTo>
                <a:lnTo>
                  <a:pt x="111" y="123"/>
                </a:lnTo>
                <a:lnTo>
                  <a:pt x="138" y="117"/>
                </a:lnTo>
                <a:lnTo>
                  <a:pt x="133" y="110"/>
                </a:lnTo>
                <a:lnTo>
                  <a:pt x="186" y="93"/>
                </a:lnTo>
                <a:lnTo>
                  <a:pt x="179" y="87"/>
                </a:lnTo>
                <a:lnTo>
                  <a:pt x="196" y="39"/>
                </a:lnTo>
                <a:lnTo>
                  <a:pt x="184" y="19"/>
                </a:lnTo>
                <a:lnTo>
                  <a:pt x="153" y="6"/>
                </a:lnTo>
                <a:lnTo>
                  <a:pt x="143" y="0"/>
                </a:lnTo>
                <a:lnTo>
                  <a:pt x="112" y="16"/>
                </a:lnTo>
                <a:lnTo>
                  <a:pt x="110" y="56"/>
                </a:lnTo>
                <a:lnTo>
                  <a:pt x="127" y="64"/>
                </a:lnTo>
                <a:lnTo>
                  <a:pt x="128" y="81"/>
                </a:lnTo>
                <a:lnTo>
                  <a:pt x="33" y="42"/>
                </a:lnTo>
                <a:lnTo>
                  <a:pt x="36" y="75"/>
                </a:lnTo>
                <a:lnTo>
                  <a:pt x="0" y="7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40" name="Freeform 232"/>
          <p:cNvSpPr>
            <a:spLocks/>
          </p:cNvSpPr>
          <p:nvPr/>
        </p:nvSpPr>
        <p:spPr bwMode="auto">
          <a:xfrm>
            <a:off x="4621213" y="4959350"/>
            <a:ext cx="379412" cy="309563"/>
          </a:xfrm>
          <a:custGeom>
            <a:avLst/>
            <a:gdLst>
              <a:gd name="T0" fmla="*/ 0 w 276"/>
              <a:gd name="T1" fmla="*/ 2147483647 h 211"/>
              <a:gd name="T2" fmla="*/ 2147483647 w 276"/>
              <a:gd name="T3" fmla="*/ 2147483647 h 211"/>
              <a:gd name="T4" fmla="*/ 2147483647 w 276"/>
              <a:gd name="T5" fmla="*/ 2147483647 h 211"/>
              <a:gd name="T6" fmla="*/ 2147483647 w 276"/>
              <a:gd name="T7" fmla="*/ 2147483647 h 211"/>
              <a:gd name="T8" fmla="*/ 2147483647 w 276"/>
              <a:gd name="T9" fmla="*/ 2147483647 h 211"/>
              <a:gd name="T10" fmla="*/ 2147483647 w 276"/>
              <a:gd name="T11" fmla="*/ 2147483647 h 211"/>
              <a:gd name="T12" fmla="*/ 2147483647 w 276"/>
              <a:gd name="T13" fmla="*/ 2147483647 h 211"/>
              <a:gd name="T14" fmla="*/ 2147483647 w 276"/>
              <a:gd name="T15" fmla="*/ 2147483647 h 211"/>
              <a:gd name="T16" fmla="*/ 2147483647 w 276"/>
              <a:gd name="T17" fmla="*/ 2147483647 h 211"/>
              <a:gd name="T18" fmla="*/ 2147483647 w 276"/>
              <a:gd name="T19" fmla="*/ 2147483647 h 211"/>
              <a:gd name="T20" fmla="*/ 2147483647 w 276"/>
              <a:gd name="T21" fmla="*/ 2147483647 h 211"/>
              <a:gd name="T22" fmla="*/ 2147483647 w 276"/>
              <a:gd name="T23" fmla="*/ 0 h 211"/>
              <a:gd name="T24" fmla="*/ 2147483647 w 276"/>
              <a:gd name="T25" fmla="*/ 2147483647 h 211"/>
              <a:gd name="T26" fmla="*/ 2147483647 w 276"/>
              <a:gd name="T27" fmla="*/ 2147483647 h 211"/>
              <a:gd name="T28" fmla="*/ 2147483647 w 276"/>
              <a:gd name="T29" fmla="*/ 2147483647 h 211"/>
              <a:gd name="T30" fmla="*/ 2147483647 w 276"/>
              <a:gd name="T31" fmla="*/ 2147483647 h 211"/>
              <a:gd name="T32" fmla="*/ 2147483647 w 276"/>
              <a:gd name="T33" fmla="*/ 2147483647 h 211"/>
              <a:gd name="T34" fmla="*/ 2147483647 w 276"/>
              <a:gd name="T35" fmla="*/ 2147483647 h 211"/>
              <a:gd name="T36" fmla="*/ 2147483647 w 276"/>
              <a:gd name="T37" fmla="*/ 2147483647 h 211"/>
              <a:gd name="T38" fmla="*/ 2147483647 w 276"/>
              <a:gd name="T39" fmla="*/ 2147483647 h 211"/>
              <a:gd name="T40" fmla="*/ 2147483647 w 276"/>
              <a:gd name="T41" fmla="*/ 2147483647 h 211"/>
              <a:gd name="T42" fmla="*/ 2147483647 w 276"/>
              <a:gd name="T43" fmla="*/ 2147483647 h 211"/>
              <a:gd name="T44" fmla="*/ 2147483647 w 276"/>
              <a:gd name="T45" fmla="*/ 2147483647 h 211"/>
              <a:gd name="T46" fmla="*/ 2147483647 w 276"/>
              <a:gd name="T47" fmla="*/ 2147483647 h 211"/>
              <a:gd name="T48" fmla="*/ 2147483647 w 276"/>
              <a:gd name="T49" fmla="*/ 2147483647 h 211"/>
              <a:gd name="T50" fmla="*/ 0 w 276"/>
              <a:gd name="T51" fmla="*/ 2147483647 h 21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76"/>
              <a:gd name="T79" fmla="*/ 0 h 211"/>
              <a:gd name="T80" fmla="*/ 276 w 276"/>
              <a:gd name="T81" fmla="*/ 211 h 211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76" h="211">
                <a:moveTo>
                  <a:pt x="0" y="110"/>
                </a:moveTo>
                <a:lnTo>
                  <a:pt x="10" y="103"/>
                </a:lnTo>
                <a:lnTo>
                  <a:pt x="21" y="116"/>
                </a:lnTo>
                <a:lnTo>
                  <a:pt x="42" y="116"/>
                </a:lnTo>
                <a:lnTo>
                  <a:pt x="57" y="108"/>
                </a:lnTo>
                <a:lnTo>
                  <a:pt x="57" y="44"/>
                </a:lnTo>
                <a:lnTo>
                  <a:pt x="72" y="59"/>
                </a:lnTo>
                <a:lnTo>
                  <a:pt x="71" y="77"/>
                </a:lnTo>
                <a:lnTo>
                  <a:pt x="94" y="75"/>
                </a:lnTo>
                <a:lnTo>
                  <a:pt x="115" y="56"/>
                </a:lnTo>
                <a:lnTo>
                  <a:pt x="151" y="56"/>
                </a:lnTo>
                <a:lnTo>
                  <a:pt x="217" y="0"/>
                </a:lnTo>
                <a:lnTo>
                  <a:pt x="254" y="9"/>
                </a:lnTo>
                <a:lnTo>
                  <a:pt x="261" y="60"/>
                </a:lnTo>
                <a:lnTo>
                  <a:pt x="242" y="74"/>
                </a:lnTo>
                <a:lnTo>
                  <a:pt x="254" y="85"/>
                </a:lnTo>
                <a:lnTo>
                  <a:pt x="261" y="78"/>
                </a:lnTo>
                <a:lnTo>
                  <a:pt x="275" y="78"/>
                </a:lnTo>
                <a:lnTo>
                  <a:pt x="269" y="106"/>
                </a:lnTo>
                <a:lnTo>
                  <a:pt x="229" y="153"/>
                </a:lnTo>
                <a:lnTo>
                  <a:pt x="180" y="195"/>
                </a:lnTo>
                <a:lnTo>
                  <a:pt x="141" y="207"/>
                </a:lnTo>
                <a:lnTo>
                  <a:pt x="32" y="210"/>
                </a:lnTo>
                <a:lnTo>
                  <a:pt x="22" y="186"/>
                </a:lnTo>
                <a:lnTo>
                  <a:pt x="30" y="166"/>
                </a:lnTo>
                <a:lnTo>
                  <a:pt x="0" y="110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41" name="Freeform 233"/>
          <p:cNvSpPr>
            <a:spLocks/>
          </p:cNvSpPr>
          <p:nvPr/>
        </p:nvSpPr>
        <p:spPr bwMode="auto">
          <a:xfrm>
            <a:off x="4867275" y="5124450"/>
            <a:ext cx="50800" cy="57150"/>
          </a:xfrm>
          <a:custGeom>
            <a:avLst/>
            <a:gdLst>
              <a:gd name="T0" fmla="*/ 0 w 37"/>
              <a:gd name="T1" fmla="*/ 2147483647 h 39"/>
              <a:gd name="T2" fmla="*/ 2147483647 w 37"/>
              <a:gd name="T3" fmla="*/ 2147483647 h 39"/>
              <a:gd name="T4" fmla="*/ 2147483647 w 37"/>
              <a:gd name="T5" fmla="*/ 2147483647 h 39"/>
              <a:gd name="T6" fmla="*/ 2147483647 w 37"/>
              <a:gd name="T7" fmla="*/ 0 h 39"/>
              <a:gd name="T8" fmla="*/ 0 w 37"/>
              <a:gd name="T9" fmla="*/ 2147483647 h 3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"/>
              <a:gd name="T16" fmla="*/ 0 h 39"/>
              <a:gd name="T17" fmla="*/ 37 w 37"/>
              <a:gd name="T18" fmla="*/ 39 h 3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" h="39">
                <a:moveTo>
                  <a:pt x="0" y="18"/>
                </a:moveTo>
                <a:lnTo>
                  <a:pt x="12" y="38"/>
                </a:lnTo>
                <a:lnTo>
                  <a:pt x="36" y="18"/>
                </a:lnTo>
                <a:lnTo>
                  <a:pt x="25" y="0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42" name="Freeform 234"/>
          <p:cNvSpPr>
            <a:spLocks/>
          </p:cNvSpPr>
          <p:nvPr/>
        </p:nvSpPr>
        <p:spPr bwMode="auto">
          <a:xfrm>
            <a:off x="5227638" y="4002088"/>
            <a:ext cx="238125" cy="149225"/>
          </a:xfrm>
          <a:custGeom>
            <a:avLst/>
            <a:gdLst>
              <a:gd name="T0" fmla="*/ 2147483647 w 174"/>
              <a:gd name="T1" fmla="*/ 2147483647 h 102"/>
              <a:gd name="T2" fmla="*/ 2147483647 w 174"/>
              <a:gd name="T3" fmla="*/ 2147483647 h 102"/>
              <a:gd name="T4" fmla="*/ 2147483647 w 174"/>
              <a:gd name="T5" fmla="*/ 2147483647 h 102"/>
              <a:gd name="T6" fmla="*/ 0 w 174"/>
              <a:gd name="T7" fmla="*/ 2147483647 h 102"/>
              <a:gd name="T8" fmla="*/ 2147483647 w 174"/>
              <a:gd name="T9" fmla="*/ 2147483647 h 102"/>
              <a:gd name="T10" fmla="*/ 2147483647 w 174"/>
              <a:gd name="T11" fmla="*/ 2147483647 h 102"/>
              <a:gd name="T12" fmla="*/ 2147483647 w 174"/>
              <a:gd name="T13" fmla="*/ 2147483647 h 102"/>
              <a:gd name="T14" fmla="*/ 2147483647 w 174"/>
              <a:gd name="T15" fmla="*/ 2147483647 h 102"/>
              <a:gd name="T16" fmla="*/ 2147483647 w 174"/>
              <a:gd name="T17" fmla="*/ 0 h 102"/>
              <a:gd name="T18" fmla="*/ 2147483647 w 174"/>
              <a:gd name="T19" fmla="*/ 2147483647 h 102"/>
              <a:gd name="T20" fmla="*/ 2147483647 w 174"/>
              <a:gd name="T21" fmla="*/ 2147483647 h 102"/>
              <a:gd name="T22" fmla="*/ 2147483647 w 174"/>
              <a:gd name="T23" fmla="*/ 2147483647 h 102"/>
              <a:gd name="T24" fmla="*/ 2147483647 w 174"/>
              <a:gd name="T25" fmla="*/ 2147483647 h 10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74"/>
              <a:gd name="T40" fmla="*/ 0 h 102"/>
              <a:gd name="T41" fmla="*/ 174 w 174"/>
              <a:gd name="T42" fmla="*/ 102 h 10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74" h="102">
                <a:moveTo>
                  <a:pt x="59" y="55"/>
                </a:moveTo>
                <a:lnTo>
                  <a:pt x="59" y="37"/>
                </a:lnTo>
                <a:lnTo>
                  <a:pt x="30" y="27"/>
                </a:lnTo>
                <a:lnTo>
                  <a:pt x="0" y="42"/>
                </a:lnTo>
                <a:lnTo>
                  <a:pt x="12" y="101"/>
                </a:lnTo>
                <a:lnTo>
                  <a:pt x="99" y="82"/>
                </a:lnTo>
                <a:lnTo>
                  <a:pt x="159" y="55"/>
                </a:lnTo>
                <a:lnTo>
                  <a:pt x="173" y="38"/>
                </a:lnTo>
                <a:lnTo>
                  <a:pt x="156" y="0"/>
                </a:lnTo>
                <a:lnTo>
                  <a:pt x="101" y="12"/>
                </a:lnTo>
                <a:lnTo>
                  <a:pt x="59" y="55"/>
                </a:lnTo>
                <a:lnTo>
                  <a:pt x="59" y="37"/>
                </a:lnTo>
                <a:lnTo>
                  <a:pt x="59" y="55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pic>
        <p:nvPicPr>
          <p:cNvPr id="243" name="Picture 2" descr="Drapeau des États-Uni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47800" y="3267075"/>
            <a:ext cx="438150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4" name="Rectangle 236"/>
          <p:cNvSpPr>
            <a:spLocks noChangeArrowheads="1"/>
          </p:cNvSpPr>
          <p:nvPr/>
        </p:nvSpPr>
        <p:spPr bwMode="auto">
          <a:xfrm>
            <a:off x="1622425" y="3424238"/>
            <a:ext cx="635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400" b="1">
                <a:solidFill>
                  <a:srgbClr val="000099"/>
                </a:solidFill>
              </a:rPr>
              <a:t>AGOA</a:t>
            </a:r>
            <a:endParaRPr lang="fr-FR" sz="1400">
              <a:solidFill>
                <a:srgbClr val="000099"/>
              </a:solidFill>
            </a:endParaRPr>
          </a:p>
        </p:txBody>
      </p:sp>
      <p:sp>
        <p:nvSpPr>
          <p:cNvPr id="245" name="Rectangle 238"/>
          <p:cNvSpPr>
            <a:spLocks noChangeArrowheads="1"/>
          </p:cNvSpPr>
          <p:nvPr/>
        </p:nvSpPr>
        <p:spPr bwMode="auto">
          <a:xfrm>
            <a:off x="3967163" y="4144963"/>
            <a:ext cx="13684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1200" b="1" dirty="0">
                <a:solidFill>
                  <a:srgbClr val="000099"/>
                </a:solidFill>
              </a:rPr>
              <a:t>UEMOA - CEDEAO</a:t>
            </a:r>
            <a:endParaRPr lang="fr-FR" sz="1200" dirty="0">
              <a:solidFill>
                <a:srgbClr val="000099"/>
              </a:solidFill>
            </a:endParaRPr>
          </a:p>
        </p:txBody>
      </p:sp>
      <p:sp>
        <p:nvSpPr>
          <p:cNvPr id="246" name="Rectangle 240"/>
          <p:cNvSpPr>
            <a:spLocks noChangeArrowheads="1"/>
          </p:cNvSpPr>
          <p:nvPr/>
        </p:nvSpPr>
        <p:spPr bwMode="auto">
          <a:xfrm>
            <a:off x="7424738" y="3713163"/>
            <a:ext cx="8477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200" b="1">
                <a:solidFill>
                  <a:srgbClr val="000099"/>
                </a:solidFill>
              </a:rPr>
              <a:t>SGP Japon</a:t>
            </a:r>
            <a:endParaRPr lang="fr-FR" sz="1200">
              <a:solidFill>
                <a:srgbClr val="000099"/>
              </a:solidFill>
            </a:endParaRPr>
          </a:p>
        </p:txBody>
      </p:sp>
      <p:sp>
        <p:nvSpPr>
          <p:cNvPr id="247" name="AutoShape 6" descr="https://encrypted-tbn3.gstatic.com/images?q=tbn:ANd9GcTZjtyUL1-UfPPUIVutyLt9cK991f9r0za5JRn5PvB0Ln3TkGGpaQ"/>
          <p:cNvSpPr>
            <a:spLocks noChangeAspect="1" noChangeArrowheads="1"/>
          </p:cNvSpPr>
          <p:nvPr/>
        </p:nvSpPr>
        <p:spPr bwMode="auto">
          <a:xfrm>
            <a:off x="34925" y="74613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fr-FR"/>
          </a:p>
        </p:txBody>
      </p:sp>
      <p:pic>
        <p:nvPicPr>
          <p:cNvPr id="248" name="Picture 8" descr="https://encrypted-tbn3.gstatic.com/images?q=tbn:ANd9GcRECEBOuiU16yYe0sh1NBqLzASbUYo5nIF4qhi12P_Y9A5hNjgjj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04013" y="3281363"/>
            <a:ext cx="58102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9" name="Rectangle 244"/>
          <p:cNvSpPr>
            <a:spLocks noChangeArrowheads="1"/>
          </p:cNvSpPr>
          <p:nvPr/>
        </p:nvSpPr>
        <p:spPr bwMode="auto">
          <a:xfrm>
            <a:off x="6632575" y="3568700"/>
            <a:ext cx="8604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1200" b="1" dirty="0">
                <a:solidFill>
                  <a:srgbClr val="000099"/>
                </a:solidFill>
              </a:rPr>
              <a:t>SGP</a:t>
            </a:r>
            <a:r>
              <a:rPr lang="fr-FR" b="1" dirty="0">
                <a:solidFill>
                  <a:srgbClr val="000099"/>
                </a:solidFill>
              </a:rPr>
              <a:t> </a:t>
            </a:r>
            <a:r>
              <a:rPr lang="fr-FR" sz="1200" b="1" dirty="0">
                <a:solidFill>
                  <a:srgbClr val="000099"/>
                </a:solidFill>
              </a:rPr>
              <a:t>Corée</a:t>
            </a:r>
            <a:endParaRPr lang="fr-FR" sz="1200" dirty="0">
              <a:solidFill>
                <a:srgbClr val="000099"/>
              </a:solidFill>
            </a:endParaRPr>
          </a:p>
        </p:txBody>
      </p:sp>
      <p:sp>
        <p:nvSpPr>
          <p:cNvPr id="250" name="Rectangle 245"/>
          <p:cNvSpPr>
            <a:spLocks noChangeArrowheads="1"/>
          </p:cNvSpPr>
          <p:nvPr/>
        </p:nvSpPr>
        <p:spPr bwMode="auto">
          <a:xfrm>
            <a:off x="3751263" y="2632075"/>
            <a:ext cx="102711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200" b="1" dirty="0">
                <a:solidFill>
                  <a:srgbClr val="000099"/>
                </a:solidFill>
              </a:rPr>
              <a:t>Initiative TSA</a:t>
            </a:r>
            <a:endParaRPr lang="fr-FR" sz="1200" dirty="0">
              <a:solidFill>
                <a:srgbClr val="000099"/>
              </a:solidFill>
            </a:endParaRPr>
          </a:p>
        </p:txBody>
      </p:sp>
      <p:pic>
        <p:nvPicPr>
          <p:cNvPr id="251" name="Picture 12" descr="https://encrypted-tbn2.gstatic.com/images?q=tbn:ANd9GcQWBwyp8aWYIDhLmxUcCElVzgRhx6wPFFOknRxriuY9DxozVGji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00775" y="3424238"/>
            <a:ext cx="433388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2" name="Rectangle 249"/>
          <p:cNvSpPr>
            <a:spLocks noChangeArrowheads="1"/>
          </p:cNvSpPr>
          <p:nvPr/>
        </p:nvSpPr>
        <p:spPr bwMode="auto">
          <a:xfrm>
            <a:off x="5984875" y="3651250"/>
            <a:ext cx="83502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200" b="1" dirty="0">
                <a:solidFill>
                  <a:srgbClr val="000099"/>
                </a:solidFill>
              </a:rPr>
              <a:t>SGP Chine</a:t>
            </a:r>
            <a:endParaRPr lang="fr-FR" sz="1200" dirty="0">
              <a:solidFill>
                <a:srgbClr val="000099"/>
              </a:solidFill>
            </a:endParaRPr>
          </a:p>
        </p:txBody>
      </p:sp>
      <p:pic>
        <p:nvPicPr>
          <p:cNvPr id="253" name="Picture 14" descr="https://encrypted-tbn3.gstatic.com/images?q=tbn:ANd9GcSKiU4AzDsCAiQI9QSrHwAb5NFhnWZyZTHfk4FMmEcE1Mk0kuY6vA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67163" y="3640138"/>
            <a:ext cx="433387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4" name="Picture 16" descr="https://encrypted-tbn3.gstatic.com/images?q=tbn:ANd9GcQywSicHYZRgWa53_bllHwll8i0kfmj8isbB2p46cch0bF9Wq-TpQ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471988" y="3614738"/>
            <a:ext cx="504825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5" name="Picture 2" descr="C:\Asepex\General\Plan Strategique\Revue PSD new Decret\Présentation du 10-10-2013\canada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19238" y="2847975"/>
            <a:ext cx="4333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" name="Rectangle 250"/>
          <p:cNvSpPr>
            <a:spLocks noChangeArrowheads="1"/>
          </p:cNvSpPr>
          <p:nvPr/>
        </p:nvSpPr>
        <p:spPr bwMode="auto">
          <a:xfrm>
            <a:off x="1735138" y="2992438"/>
            <a:ext cx="10715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400" b="1" dirty="0">
                <a:solidFill>
                  <a:srgbClr val="000099"/>
                </a:solidFill>
              </a:rPr>
              <a:t>SGP Canada</a:t>
            </a:r>
            <a:endParaRPr lang="fr-FR" sz="1400" dirty="0">
              <a:solidFill>
                <a:srgbClr val="000099"/>
              </a:solidFill>
            </a:endParaRPr>
          </a:p>
        </p:txBody>
      </p:sp>
      <p:pic>
        <p:nvPicPr>
          <p:cNvPr id="257" name="Picture 2" descr="C:\Asepex\General\Plan Strategique\Revue PSD new Decret\AGOA\Drapeau Inde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840413" y="3856038"/>
            <a:ext cx="482600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8" name="Rectangle 251"/>
          <p:cNvSpPr>
            <a:spLocks noChangeArrowheads="1"/>
          </p:cNvSpPr>
          <p:nvPr/>
        </p:nvSpPr>
        <p:spPr bwMode="auto">
          <a:xfrm>
            <a:off x="5695950" y="4156075"/>
            <a:ext cx="7572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200" b="1" dirty="0">
                <a:solidFill>
                  <a:srgbClr val="000099"/>
                </a:solidFill>
              </a:rPr>
              <a:t>SGP Inde</a:t>
            </a:r>
            <a:endParaRPr lang="fr-FR" sz="1200" dirty="0">
              <a:solidFill>
                <a:srgbClr val="000099"/>
              </a:solidFill>
            </a:endParaRPr>
          </a:p>
        </p:txBody>
      </p:sp>
      <p:sp>
        <p:nvSpPr>
          <p:cNvPr id="259" name="Freeform 44"/>
          <p:cNvSpPr>
            <a:spLocks/>
          </p:cNvSpPr>
          <p:nvPr/>
        </p:nvSpPr>
        <p:spPr bwMode="auto">
          <a:xfrm>
            <a:off x="2154238" y="2330450"/>
            <a:ext cx="665162" cy="474663"/>
          </a:xfrm>
          <a:custGeom>
            <a:avLst/>
            <a:gdLst>
              <a:gd name="T0" fmla="*/ 2147483647 w 483"/>
              <a:gd name="T1" fmla="*/ 2147483647 h 324"/>
              <a:gd name="T2" fmla="*/ 2147483647 w 483"/>
              <a:gd name="T3" fmla="*/ 0 h 324"/>
              <a:gd name="T4" fmla="*/ 2147483647 w 483"/>
              <a:gd name="T5" fmla="*/ 2147483647 h 324"/>
              <a:gd name="T6" fmla="*/ 2147483647 w 483"/>
              <a:gd name="T7" fmla="*/ 2147483647 h 324"/>
              <a:gd name="T8" fmla="*/ 2147483647 w 483"/>
              <a:gd name="T9" fmla="*/ 2147483647 h 324"/>
              <a:gd name="T10" fmla="*/ 2147483647 w 483"/>
              <a:gd name="T11" fmla="*/ 2147483647 h 324"/>
              <a:gd name="T12" fmla="*/ 2147483647 w 483"/>
              <a:gd name="T13" fmla="*/ 2147483647 h 324"/>
              <a:gd name="T14" fmla="*/ 2147483647 w 483"/>
              <a:gd name="T15" fmla="*/ 2147483647 h 324"/>
              <a:gd name="T16" fmla="*/ 2147483647 w 483"/>
              <a:gd name="T17" fmla="*/ 2147483647 h 324"/>
              <a:gd name="T18" fmla="*/ 2147483647 w 483"/>
              <a:gd name="T19" fmla="*/ 2147483647 h 324"/>
              <a:gd name="T20" fmla="*/ 2147483647 w 483"/>
              <a:gd name="T21" fmla="*/ 2147483647 h 324"/>
              <a:gd name="T22" fmla="*/ 2147483647 w 483"/>
              <a:gd name="T23" fmla="*/ 2147483647 h 324"/>
              <a:gd name="T24" fmla="*/ 2147483647 w 483"/>
              <a:gd name="T25" fmla="*/ 2147483647 h 324"/>
              <a:gd name="T26" fmla="*/ 2147483647 w 483"/>
              <a:gd name="T27" fmla="*/ 2147483647 h 324"/>
              <a:gd name="T28" fmla="*/ 2147483647 w 483"/>
              <a:gd name="T29" fmla="*/ 2147483647 h 324"/>
              <a:gd name="T30" fmla="*/ 2147483647 w 483"/>
              <a:gd name="T31" fmla="*/ 2147483647 h 324"/>
              <a:gd name="T32" fmla="*/ 2147483647 w 483"/>
              <a:gd name="T33" fmla="*/ 2147483647 h 324"/>
              <a:gd name="T34" fmla="*/ 2147483647 w 483"/>
              <a:gd name="T35" fmla="*/ 2147483647 h 324"/>
              <a:gd name="T36" fmla="*/ 2147483647 w 483"/>
              <a:gd name="T37" fmla="*/ 2147483647 h 324"/>
              <a:gd name="T38" fmla="*/ 2147483647 w 483"/>
              <a:gd name="T39" fmla="*/ 2147483647 h 324"/>
              <a:gd name="T40" fmla="*/ 2147483647 w 483"/>
              <a:gd name="T41" fmla="*/ 2147483647 h 324"/>
              <a:gd name="T42" fmla="*/ 2147483647 w 483"/>
              <a:gd name="T43" fmla="*/ 2147483647 h 324"/>
              <a:gd name="T44" fmla="*/ 2147483647 w 483"/>
              <a:gd name="T45" fmla="*/ 2147483647 h 324"/>
              <a:gd name="T46" fmla="*/ 2147483647 w 483"/>
              <a:gd name="T47" fmla="*/ 2147483647 h 324"/>
              <a:gd name="T48" fmla="*/ 2147483647 w 483"/>
              <a:gd name="T49" fmla="*/ 2147483647 h 324"/>
              <a:gd name="T50" fmla="*/ 2147483647 w 483"/>
              <a:gd name="T51" fmla="*/ 2147483647 h 324"/>
              <a:gd name="T52" fmla="*/ 2147483647 w 483"/>
              <a:gd name="T53" fmla="*/ 2147483647 h 324"/>
              <a:gd name="T54" fmla="*/ 2147483647 w 483"/>
              <a:gd name="T55" fmla="*/ 2147483647 h 324"/>
              <a:gd name="T56" fmla="*/ 2147483647 w 483"/>
              <a:gd name="T57" fmla="*/ 2147483647 h 324"/>
              <a:gd name="T58" fmla="*/ 2147483647 w 483"/>
              <a:gd name="T59" fmla="*/ 2147483647 h 324"/>
              <a:gd name="T60" fmla="*/ 2147483647 w 483"/>
              <a:gd name="T61" fmla="*/ 2147483647 h 324"/>
              <a:gd name="T62" fmla="*/ 2147483647 w 483"/>
              <a:gd name="T63" fmla="*/ 2147483647 h 324"/>
              <a:gd name="T64" fmla="*/ 2147483647 w 483"/>
              <a:gd name="T65" fmla="*/ 2147483647 h 324"/>
              <a:gd name="T66" fmla="*/ 2147483647 w 483"/>
              <a:gd name="T67" fmla="*/ 2147483647 h 324"/>
              <a:gd name="T68" fmla="*/ 2147483647 w 483"/>
              <a:gd name="T69" fmla="*/ 2147483647 h 324"/>
              <a:gd name="T70" fmla="*/ 2147483647 w 483"/>
              <a:gd name="T71" fmla="*/ 2147483647 h 324"/>
              <a:gd name="T72" fmla="*/ 2147483647 w 483"/>
              <a:gd name="T73" fmla="*/ 2147483647 h 324"/>
              <a:gd name="T74" fmla="*/ 2147483647 w 483"/>
              <a:gd name="T75" fmla="*/ 2147483647 h 324"/>
              <a:gd name="T76" fmla="*/ 2147483647 w 483"/>
              <a:gd name="T77" fmla="*/ 2147483647 h 324"/>
              <a:gd name="T78" fmla="*/ 2147483647 w 483"/>
              <a:gd name="T79" fmla="*/ 2147483647 h 324"/>
              <a:gd name="T80" fmla="*/ 2147483647 w 483"/>
              <a:gd name="T81" fmla="*/ 2147483647 h 324"/>
              <a:gd name="T82" fmla="*/ 2147483647 w 483"/>
              <a:gd name="T83" fmla="*/ 2147483647 h 324"/>
              <a:gd name="T84" fmla="*/ 2147483647 w 483"/>
              <a:gd name="T85" fmla="*/ 2147483647 h 324"/>
              <a:gd name="T86" fmla="*/ 2147483647 w 483"/>
              <a:gd name="T87" fmla="*/ 2147483647 h 324"/>
              <a:gd name="T88" fmla="*/ 2147483647 w 483"/>
              <a:gd name="T89" fmla="*/ 2147483647 h 324"/>
              <a:gd name="T90" fmla="*/ 2147483647 w 483"/>
              <a:gd name="T91" fmla="*/ 2147483647 h 324"/>
              <a:gd name="T92" fmla="*/ 2147483647 w 483"/>
              <a:gd name="T93" fmla="*/ 2147483647 h 324"/>
              <a:gd name="T94" fmla="*/ 2147483647 w 483"/>
              <a:gd name="T95" fmla="*/ 2147483647 h 324"/>
              <a:gd name="T96" fmla="*/ 2147483647 w 483"/>
              <a:gd name="T97" fmla="*/ 2147483647 h 324"/>
              <a:gd name="T98" fmla="*/ 2147483647 w 483"/>
              <a:gd name="T99" fmla="*/ 2147483647 h 324"/>
              <a:gd name="T100" fmla="*/ 2147483647 w 483"/>
              <a:gd name="T101" fmla="*/ 2147483647 h 324"/>
              <a:gd name="T102" fmla="*/ 2147483647 w 483"/>
              <a:gd name="T103" fmla="*/ 2147483647 h 324"/>
              <a:gd name="T104" fmla="*/ 0 w 483"/>
              <a:gd name="T105" fmla="*/ 2147483647 h 3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83"/>
              <a:gd name="T160" fmla="*/ 0 h 324"/>
              <a:gd name="T161" fmla="*/ 483 w 483"/>
              <a:gd name="T162" fmla="*/ 324 h 32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83" h="324">
                <a:moveTo>
                  <a:pt x="0" y="73"/>
                </a:moveTo>
                <a:lnTo>
                  <a:pt x="4" y="37"/>
                </a:lnTo>
                <a:lnTo>
                  <a:pt x="23" y="13"/>
                </a:lnTo>
                <a:lnTo>
                  <a:pt x="57" y="0"/>
                </a:lnTo>
                <a:lnTo>
                  <a:pt x="85" y="6"/>
                </a:lnTo>
                <a:lnTo>
                  <a:pt x="56" y="37"/>
                </a:lnTo>
                <a:lnTo>
                  <a:pt x="63" y="58"/>
                </a:lnTo>
                <a:lnTo>
                  <a:pt x="85" y="77"/>
                </a:lnTo>
                <a:lnTo>
                  <a:pt x="57" y="84"/>
                </a:lnTo>
                <a:lnTo>
                  <a:pt x="88" y="82"/>
                </a:lnTo>
                <a:lnTo>
                  <a:pt x="89" y="66"/>
                </a:lnTo>
                <a:lnTo>
                  <a:pt x="68" y="56"/>
                </a:lnTo>
                <a:lnTo>
                  <a:pt x="88" y="45"/>
                </a:lnTo>
                <a:lnTo>
                  <a:pt x="72" y="29"/>
                </a:lnTo>
                <a:lnTo>
                  <a:pt x="100" y="34"/>
                </a:lnTo>
                <a:lnTo>
                  <a:pt x="77" y="23"/>
                </a:lnTo>
                <a:lnTo>
                  <a:pt x="104" y="27"/>
                </a:lnTo>
                <a:lnTo>
                  <a:pt x="84" y="15"/>
                </a:lnTo>
                <a:lnTo>
                  <a:pt x="108" y="16"/>
                </a:lnTo>
                <a:lnTo>
                  <a:pt x="122" y="6"/>
                </a:lnTo>
                <a:lnTo>
                  <a:pt x="143" y="3"/>
                </a:lnTo>
                <a:lnTo>
                  <a:pt x="143" y="17"/>
                </a:lnTo>
                <a:lnTo>
                  <a:pt x="158" y="23"/>
                </a:lnTo>
                <a:lnTo>
                  <a:pt x="152" y="58"/>
                </a:lnTo>
                <a:lnTo>
                  <a:pt x="172" y="41"/>
                </a:lnTo>
                <a:lnTo>
                  <a:pt x="184" y="49"/>
                </a:lnTo>
                <a:lnTo>
                  <a:pt x="209" y="34"/>
                </a:lnTo>
                <a:lnTo>
                  <a:pt x="247" y="41"/>
                </a:lnTo>
                <a:lnTo>
                  <a:pt x="266" y="58"/>
                </a:lnTo>
                <a:lnTo>
                  <a:pt x="253" y="66"/>
                </a:lnTo>
                <a:lnTo>
                  <a:pt x="278" y="62"/>
                </a:lnTo>
                <a:lnTo>
                  <a:pt x="271" y="71"/>
                </a:lnTo>
                <a:lnTo>
                  <a:pt x="283" y="77"/>
                </a:lnTo>
                <a:lnTo>
                  <a:pt x="295" y="64"/>
                </a:lnTo>
                <a:lnTo>
                  <a:pt x="314" y="70"/>
                </a:lnTo>
                <a:lnTo>
                  <a:pt x="319" y="80"/>
                </a:lnTo>
                <a:lnTo>
                  <a:pt x="302" y="82"/>
                </a:lnTo>
                <a:lnTo>
                  <a:pt x="326" y="82"/>
                </a:lnTo>
                <a:lnTo>
                  <a:pt x="324" y="95"/>
                </a:lnTo>
                <a:lnTo>
                  <a:pt x="339" y="88"/>
                </a:lnTo>
                <a:lnTo>
                  <a:pt x="330" y="98"/>
                </a:lnTo>
                <a:lnTo>
                  <a:pt x="363" y="95"/>
                </a:lnTo>
                <a:lnTo>
                  <a:pt x="344" y="107"/>
                </a:lnTo>
                <a:lnTo>
                  <a:pt x="360" y="107"/>
                </a:lnTo>
                <a:lnTo>
                  <a:pt x="355" y="114"/>
                </a:lnTo>
                <a:lnTo>
                  <a:pt x="368" y="105"/>
                </a:lnTo>
                <a:lnTo>
                  <a:pt x="384" y="114"/>
                </a:lnTo>
                <a:lnTo>
                  <a:pt x="357" y="125"/>
                </a:lnTo>
                <a:lnTo>
                  <a:pt x="397" y="132"/>
                </a:lnTo>
                <a:lnTo>
                  <a:pt x="362" y="135"/>
                </a:lnTo>
                <a:lnTo>
                  <a:pt x="376" y="142"/>
                </a:lnTo>
                <a:lnTo>
                  <a:pt x="366" y="151"/>
                </a:lnTo>
                <a:lnTo>
                  <a:pt x="405" y="171"/>
                </a:lnTo>
                <a:lnTo>
                  <a:pt x="423" y="166"/>
                </a:lnTo>
                <a:lnTo>
                  <a:pt x="436" y="188"/>
                </a:lnTo>
                <a:lnTo>
                  <a:pt x="455" y="187"/>
                </a:lnTo>
                <a:lnTo>
                  <a:pt x="451" y="198"/>
                </a:lnTo>
                <a:lnTo>
                  <a:pt x="482" y="202"/>
                </a:lnTo>
                <a:lnTo>
                  <a:pt x="478" y="214"/>
                </a:lnTo>
                <a:lnTo>
                  <a:pt x="463" y="213"/>
                </a:lnTo>
                <a:lnTo>
                  <a:pt x="471" y="221"/>
                </a:lnTo>
                <a:lnTo>
                  <a:pt x="461" y="231"/>
                </a:lnTo>
                <a:lnTo>
                  <a:pt x="449" y="227"/>
                </a:lnTo>
                <a:lnTo>
                  <a:pt x="445" y="249"/>
                </a:lnTo>
                <a:lnTo>
                  <a:pt x="391" y="207"/>
                </a:lnTo>
                <a:lnTo>
                  <a:pt x="368" y="210"/>
                </a:lnTo>
                <a:lnTo>
                  <a:pt x="386" y="222"/>
                </a:lnTo>
                <a:lnTo>
                  <a:pt x="374" y="231"/>
                </a:lnTo>
                <a:lnTo>
                  <a:pt x="384" y="231"/>
                </a:lnTo>
                <a:lnTo>
                  <a:pt x="394" y="252"/>
                </a:lnTo>
                <a:lnTo>
                  <a:pt x="421" y="256"/>
                </a:lnTo>
                <a:lnTo>
                  <a:pt x="418" y="267"/>
                </a:lnTo>
                <a:lnTo>
                  <a:pt x="431" y="279"/>
                </a:lnTo>
                <a:lnTo>
                  <a:pt x="424" y="308"/>
                </a:lnTo>
                <a:lnTo>
                  <a:pt x="357" y="278"/>
                </a:lnTo>
                <a:lnTo>
                  <a:pt x="405" y="323"/>
                </a:lnTo>
                <a:lnTo>
                  <a:pt x="316" y="296"/>
                </a:lnTo>
                <a:lnTo>
                  <a:pt x="304" y="282"/>
                </a:lnTo>
                <a:lnTo>
                  <a:pt x="316" y="281"/>
                </a:lnTo>
                <a:lnTo>
                  <a:pt x="289" y="273"/>
                </a:lnTo>
                <a:lnTo>
                  <a:pt x="278" y="256"/>
                </a:lnTo>
                <a:lnTo>
                  <a:pt x="260" y="249"/>
                </a:lnTo>
                <a:lnTo>
                  <a:pt x="260" y="261"/>
                </a:lnTo>
                <a:lnTo>
                  <a:pt x="243" y="256"/>
                </a:lnTo>
                <a:lnTo>
                  <a:pt x="225" y="267"/>
                </a:lnTo>
                <a:lnTo>
                  <a:pt x="200" y="254"/>
                </a:lnTo>
                <a:lnTo>
                  <a:pt x="214" y="235"/>
                </a:lnTo>
                <a:lnTo>
                  <a:pt x="278" y="235"/>
                </a:lnTo>
                <a:lnTo>
                  <a:pt x="262" y="216"/>
                </a:lnTo>
                <a:lnTo>
                  <a:pt x="299" y="187"/>
                </a:lnTo>
                <a:lnTo>
                  <a:pt x="272" y="149"/>
                </a:lnTo>
                <a:lnTo>
                  <a:pt x="255" y="145"/>
                </a:lnTo>
                <a:lnTo>
                  <a:pt x="264" y="141"/>
                </a:lnTo>
                <a:lnTo>
                  <a:pt x="226" y="150"/>
                </a:lnTo>
                <a:lnTo>
                  <a:pt x="225" y="139"/>
                </a:lnTo>
                <a:lnTo>
                  <a:pt x="240" y="132"/>
                </a:lnTo>
                <a:lnTo>
                  <a:pt x="210" y="119"/>
                </a:lnTo>
                <a:lnTo>
                  <a:pt x="209" y="107"/>
                </a:lnTo>
                <a:lnTo>
                  <a:pt x="183" y="100"/>
                </a:lnTo>
                <a:lnTo>
                  <a:pt x="188" y="116"/>
                </a:lnTo>
                <a:lnTo>
                  <a:pt x="141" y="109"/>
                </a:lnTo>
                <a:lnTo>
                  <a:pt x="153" y="120"/>
                </a:lnTo>
                <a:lnTo>
                  <a:pt x="32" y="105"/>
                </a:lnTo>
                <a:lnTo>
                  <a:pt x="9" y="82"/>
                </a:lnTo>
                <a:lnTo>
                  <a:pt x="48" y="85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65000"/>
            </a:scheme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260" name="Flèche vers le bas 259"/>
          <p:cNvSpPr/>
          <p:nvPr/>
        </p:nvSpPr>
        <p:spPr>
          <a:xfrm>
            <a:off x="4214810" y="2928934"/>
            <a:ext cx="71438" cy="285752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1" name="Rectangle 245"/>
          <p:cNvSpPr>
            <a:spLocks noChangeArrowheads="1"/>
          </p:cNvSpPr>
          <p:nvPr/>
        </p:nvSpPr>
        <p:spPr bwMode="auto">
          <a:xfrm>
            <a:off x="4000496" y="3214686"/>
            <a:ext cx="1027112" cy="287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1200" b="1" dirty="0" smtClean="0">
                <a:solidFill>
                  <a:srgbClr val="000099"/>
                </a:solidFill>
              </a:rPr>
              <a:t>APE</a:t>
            </a:r>
            <a:endParaRPr lang="fr-FR" sz="1200" dirty="0">
              <a:solidFill>
                <a:srgbClr val="000099"/>
              </a:solidFill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722922" y="0"/>
            <a:ext cx="857738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Privilegied</a:t>
            </a:r>
            <a:r>
              <a:rPr lang="fr-FR" sz="44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access</a:t>
            </a:r>
            <a:r>
              <a:rPr lang="fr-FR" sz="4400" b="1" dirty="0" smtClean="0">
                <a:solidFill>
                  <a:srgbClr val="FF0000"/>
                </a:solidFill>
                <a:cs typeface="Arial" pitchFamily="34" charset="0"/>
              </a:rPr>
              <a:t> to </a:t>
            </a:r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markets</a:t>
            </a:r>
            <a:endParaRPr lang="fr-FR" sz="4400" b="1" dirty="0" smtClean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265" name="Rectangle 264"/>
          <p:cNvSpPr/>
          <p:nvPr/>
        </p:nvSpPr>
        <p:spPr>
          <a:xfrm>
            <a:off x="722922" y="897687"/>
            <a:ext cx="8421078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266" name="Ellipse 265"/>
          <p:cNvSpPr/>
          <p:nvPr/>
        </p:nvSpPr>
        <p:spPr>
          <a:xfrm rot="20620671">
            <a:off x="8439645" y="143646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2476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02357" y="1618818"/>
            <a:ext cx="687955" cy="749057"/>
          </a:xfrm>
          <a:prstGeom prst="rect">
            <a:avLst/>
          </a:prstGeom>
          <a:solidFill>
            <a:srgbClr val="FFFFFF">
              <a:shade val="85000"/>
            </a:srgbClr>
          </a:solidFill>
          <a:ln w="9525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4" name="TextBox 2"/>
          <p:cNvSpPr txBox="1">
            <a:spLocks noChangeArrowheads="1"/>
          </p:cNvSpPr>
          <p:nvPr/>
        </p:nvSpPr>
        <p:spPr bwMode="auto">
          <a:xfrm>
            <a:off x="2549960" y="1858789"/>
            <a:ext cx="15543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fr-FR" b="1" dirty="0" err="1" smtClean="0">
                <a:solidFill>
                  <a:srgbClr val="000000"/>
                </a:solidFill>
                <a:latin typeface="Calibri" charset="0"/>
              </a:rPr>
              <a:t>Starting</a:t>
            </a:r>
            <a:r>
              <a:rPr lang="fr-FR" b="1" dirty="0" smtClean="0">
                <a:solidFill>
                  <a:srgbClr val="000000"/>
                </a:solidFill>
                <a:latin typeface="Calibri" charset="0"/>
              </a:rPr>
              <a:t> a </a:t>
            </a:r>
            <a:r>
              <a:rPr lang="fr-FR" b="1" dirty="0" err="1" smtClean="0">
                <a:solidFill>
                  <a:srgbClr val="000000"/>
                </a:solidFill>
                <a:latin typeface="Calibri" charset="0"/>
              </a:rPr>
              <a:t>firm</a:t>
            </a:r>
            <a:r>
              <a:rPr lang="fr-FR" b="1" dirty="0" smtClean="0">
                <a:solidFill>
                  <a:srgbClr val="000000"/>
                </a:solidFill>
                <a:latin typeface="Calibri" charset="0"/>
              </a:rPr>
              <a:t> </a:t>
            </a:r>
            <a:endParaRPr lang="fr-FR" b="1" dirty="0">
              <a:solidFill>
                <a:srgbClr val="000000"/>
              </a:solidFill>
              <a:latin typeface="Calibri" charset="0"/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5798555" y="1702766"/>
            <a:ext cx="1000315" cy="612001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400" b="1" dirty="0"/>
          </a:p>
        </p:txBody>
      </p:sp>
      <p:sp>
        <p:nvSpPr>
          <p:cNvPr id="16" name="ZoneTexte 38"/>
          <p:cNvSpPr txBox="1">
            <a:spLocks noChangeArrowheads="1"/>
          </p:cNvSpPr>
          <p:nvPr/>
        </p:nvSpPr>
        <p:spPr bwMode="auto">
          <a:xfrm>
            <a:off x="5780245" y="1755543"/>
            <a:ext cx="10003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r>
              <a:rPr lang="fr-FR" sz="2000" b="1" dirty="0">
                <a:solidFill>
                  <a:srgbClr val="FF0000"/>
                </a:solidFill>
                <a:latin typeface="Calibri" charset="0"/>
              </a:rPr>
              <a:t>1</a:t>
            </a:r>
            <a:r>
              <a:rPr lang="fr-FR" sz="1400" b="1" dirty="0">
                <a:solidFill>
                  <a:srgbClr val="FF0000"/>
                </a:solidFill>
                <a:latin typeface="Calibri" charset="0"/>
              </a:rPr>
              <a:t> </a:t>
            </a:r>
            <a:r>
              <a:rPr lang="fr-FR" sz="1400" b="1" dirty="0" smtClean="0">
                <a:latin typeface="Calibri" charset="0"/>
              </a:rPr>
              <a:t>DAY</a:t>
            </a:r>
            <a:endParaRPr lang="fr-FR" sz="1400" b="1" dirty="0">
              <a:latin typeface="Calibri" charset="0"/>
            </a:endParaRPr>
          </a:p>
        </p:txBody>
      </p:sp>
      <p:sp>
        <p:nvSpPr>
          <p:cNvPr id="27" name="TextBox 18"/>
          <p:cNvSpPr txBox="1">
            <a:spLocks noChangeArrowheads="1"/>
          </p:cNvSpPr>
          <p:nvPr/>
        </p:nvSpPr>
        <p:spPr bwMode="auto">
          <a:xfrm>
            <a:off x="2549960" y="2599211"/>
            <a:ext cx="18193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fr-FR" b="1" dirty="0" err="1" smtClean="0">
                <a:solidFill>
                  <a:srgbClr val="000000"/>
                </a:solidFill>
                <a:latin typeface="Calibri" charset="0"/>
              </a:rPr>
              <a:t>Proprety</a:t>
            </a:r>
            <a:r>
              <a:rPr lang="fr-FR" b="1" dirty="0" smtClean="0">
                <a:solidFill>
                  <a:srgbClr val="000000"/>
                </a:solidFill>
                <a:latin typeface="Calibri" charset="0"/>
              </a:rPr>
              <a:t> </a:t>
            </a:r>
            <a:r>
              <a:rPr lang="fr-FR" b="1" dirty="0" err="1" smtClean="0">
                <a:solidFill>
                  <a:srgbClr val="000000"/>
                </a:solidFill>
                <a:latin typeface="Calibri" charset="0"/>
              </a:rPr>
              <a:t>transfer</a:t>
            </a:r>
            <a:endParaRPr lang="fr-FR" b="1" dirty="0">
              <a:solidFill>
                <a:srgbClr val="000000"/>
              </a:solidFill>
              <a:latin typeface="Calibri" charset="0"/>
            </a:endParaRPr>
          </a:p>
        </p:txBody>
      </p:sp>
      <p:pic>
        <p:nvPicPr>
          <p:cNvPr id="28" name="Picture 23" descr="http://www.mon-diplome.fr/Diplome/700-248017-%20TITRE%20DE%20PROPRIETE.jpg"/>
          <p:cNvPicPr>
            <a:picLocks noChangeAspect="1" noChangeArrowheads="1"/>
          </p:cNvPicPr>
          <p:nvPr/>
        </p:nvPicPr>
        <p:blipFill>
          <a:blip r:embed="rId3"/>
          <a:srcRect l="27224" t="5364" r="25233"/>
          <a:stretch>
            <a:fillRect/>
          </a:stretch>
        </p:blipFill>
        <p:spPr bwMode="auto">
          <a:xfrm>
            <a:off x="1702357" y="2577830"/>
            <a:ext cx="720330" cy="713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Ellipse 24"/>
          <p:cNvSpPr/>
          <p:nvPr/>
        </p:nvSpPr>
        <p:spPr bwMode="auto">
          <a:xfrm>
            <a:off x="5786832" y="2455386"/>
            <a:ext cx="996700" cy="690069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400">
              <a:solidFill>
                <a:srgbClr val="FF0000"/>
              </a:solidFill>
            </a:endParaRPr>
          </a:p>
        </p:txBody>
      </p:sp>
      <p:sp>
        <p:nvSpPr>
          <p:cNvPr id="26" name="ZoneTexte 36"/>
          <p:cNvSpPr txBox="1">
            <a:spLocks noChangeArrowheads="1"/>
          </p:cNvSpPr>
          <p:nvPr/>
        </p:nvSpPr>
        <p:spPr bwMode="auto">
          <a:xfrm>
            <a:off x="5786833" y="2597184"/>
            <a:ext cx="9967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r>
              <a:rPr lang="fr-FR" b="1" dirty="0">
                <a:solidFill>
                  <a:srgbClr val="FF0000"/>
                </a:solidFill>
                <a:latin typeface="Calibri" charset="0"/>
              </a:rPr>
              <a:t>50</a:t>
            </a:r>
            <a:r>
              <a:rPr lang="fr-FR" sz="1400" b="1" dirty="0">
                <a:solidFill>
                  <a:srgbClr val="FF0000"/>
                </a:solidFill>
                <a:latin typeface="Calibri" charset="0"/>
              </a:rPr>
              <a:t> </a:t>
            </a:r>
            <a:r>
              <a:rPr lang="fr-FR" sz="1400" b="1" dirty="0" smtClean="0">
                <a:solidFill>
                  <a:srgbClr val="000000"/>
                </a:solidFill>
                <a:latin typeface="Calibri" charset="0"/>
              </a:rPr>
              <a:t>DAYS</a:t>
            </a:r>
            <a:endParaRPr lang="fr-FR" sz="1400" b="1" dirty="0">
              <a:solidFill>
                <a:srgbClr val="000000"/>
              </a:solidFill>
              <a:latin typeface="Calibri" charset="0"/>
            </a:endParaRPr>
          </a:p>
        </p:txBody>
      </p:sp>
      <p:pic>
        <p:nvPicPr>
          <p:cNvPr id="33" name="Picture 4" descr="http://icons.iconarchive.com/icons/iconleak/or/256/justice-balance-ico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357" y="3145264"/>
            <a:ext cx="720330" cy="736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18"/>
          <p:cNvSpPr txBox="1">
            <a:spLocks noChangeArrowheads="1"/>
          </p:cNvSpPr>
          <p:nvPr/>
        </p:nvSpPr>
        <p:spPr bwMode="auto">
          <a:xfrm>
            <a:off x="2549960" y="3309409"/>
            <a:ext cx="17644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b="1" dirty="0" smtClean="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+mn-cs"/>
              </a:rPr>
              <a:t>Commercial Law</a:t>
            </a:r>
            <a:endParaRPr lang="fr-FR" b="1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5745488" y="3167939"/>
            <a:ext cx="1039388" cy="663769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400"/>
          </a:p>
        </p:txBody>
      </p:sp>
      <p:cxnSp>
        <p:nvCxnSpPr>
          <p:cNvPr id="32" name="Connecteur droit avec flèche 31"/>
          <p:cNvCxnSpPr>
            <a:cxnSpLocks noChangeShapeType="1"/>
          </p:cNvCxnSpPr>
          <p:nvPr/>
        </p:nvCxnSpPr>
        <p:spPr bwMode="auto">
          <a:xfrm flipV="1">
            <a:off x="6122654" y="3439325"/>
            <a:ext cx="310695" cy="131269"/>
          </a:xfrm>
          <a:prstGeom prst="straightConnector1">
            <a:avLst/>
          </a:prstGeom>
          <a:noFill/>
          <a:ln w="38100">
            <a:solidFill>
              <a:srgbClr val="500000"/>
            </a:solidFill>
            <a:round/>
            <a:headEnd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0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1702357" y="3996860"/>
            <a:ext cx="720330" cy="645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15"/>
          <p:cNvSpPr txBox="1">
            <a:spLocks noChangeArrowheads="1"/>
          </p:cNvSpPr>
          <p:nvPr/>
        </p:nvSpPr>
        <p:spPr bwMode="auto">
          <a:xfrm>
            <a:off x="2533251" y="4095307"/>
            <a:ext cx="17745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fr-FR" b="1" dirty="0" smtClean="0">
                <a:latin typeface="Calibri" charset="0"/>
              </a:rPr>
              <a:t>E </a:t>
            </a:r>
            <a:r>
              <a:rPr lang="fr-FR" b="1" dirty="0" err="1" smtClean="0">
                <a:latin typeface="Calibri" charset="0"/>
              </a:rPr>
              <a:t>tax</a:t>
            </a:r>
            <a:r>
              <a:rPr lang="fr-FR" b="1" dirty="0" smtClean="0">
                <a:latin typeface="Calibri" charset="0"/>
              </a:rPr>
              <a:t> </a:t>
            </a:r>
            <a:r>
              <a:rPr lang="fr-FR" b="1" dirty="0" err="1" smtClean="0">
                <a:latin typeface="Calibri" charset="0"/>
              </a:rPr>
              <a:t>declaration</a:t>
            </a:r>
            <a:endParaRPr lang="fr-FR" b="1" dirty="0">
              <a:latin typeface="Calibri" charset="0"/>
            </a:endParaRPr>
          </a:p>
        </p:txBody>
      </p:sp>
      <p:sp>
        <p:nvSpPr>
          <p:cNvPr id="38" name="Ellipse 37"/>
          <p:cNvSpPr/>
          <p:nvPr/>
        </p:nvSpPr>
        <p:spPr bwMode="auto">
          <a:xfrm>
            <a:off x="5746678" y="3945191"/>
            <a:ext cx="1110277" cy="662538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400"/>
          </a:p>
        </p:txBody>
      </p:sp>
      <p:sp>
        <p:nvSpPr>
          <p:cNvPr id="39" name="ZoneTexte 30"/>
          <p:cNvSpPr txBox="1">
            <a:spLocks noChangeArrowheads="1"/>
          </p:cNvSpPr>
          <p:nvPr/>
        </p:nvSpPr>
        <p:spPr bwMode="auto">
          <a:xfrm>
            <a:off x="5805434" y="4050464"/>
            <a:ext cx="111027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r>
              <a:rPr lang="fr-FR" b="1" dirty="0" smtClean="0">
                <a:solidFill>
                  <a:srgbClr val="FF0000"/>
                </a:solidFill>
                <a:latin typeface="Calibri" charset="0"/>
              </a:rPr>
              <a:t> </a:t>
            </a:r>
            <a:r>
              <a:rPr lang="fr-FR" sz="1400" b="1" dirty="0" smtClean="0">
                <a:solidFill>
                  <a:srgbClr val="141313"/>
                </a:solidFill>
                <a:latin typeface="Calibri" charset="0"/>
              </a:rPr>
              <a:t>PAPERLESS</a:t>
            </a:r>
            <a:endParaRPr lang="fr-FR" sz="1400" b="1" dirty="0">
              <a:solidFill>
                <a:srgbClr val="141313"/>
              </a:solidFill>
              <a:latin typeface="Calibri" charset="0"/>
            </a:endParaRPr>
          </a:p>
        </p:txBody>
      </p:sp>
      <p:pic>
        <p:nvPicPr>
          <p:cNvPr id="48" name="Image 4" descr="iStock_000007921798XSmall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02358" y="5718347"/>
            <a:ext cx="660228" cy="57847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47" name="TextBox 17"/>
          <p:cNvSpPr txBox="1">
            <a:spLocks noChangeArrowheads="1"/>
          </p:cNvSpPr>
          <p:nvPr/>
        </p:nvSpPr>
        <p:spPr bwMode="auto">
          <a:xfrm>
            <a:off x="2666923" y="5700054"/>
            <a:ext cx="42199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fr-FR" b="1" dirty="0" smtClean="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+mn-cs"/>
              </a:rPr>
              <a:t>Building </a:t>
            </a:r>
            <a:r>
              <a:rPr lang="fr-FR" b="1" dirty="0" err="1" smtClean="0">
                <a:solidFill>
                  <a:srgbClr val="000000"/>
                </a:solidFill>
                <a:latin typeface="Calibri" pitchFamily="34" charset="0"/>
                <a:ea typeface="MS PGothic" pitchFamily="34" charset="-128"/>
                <a:cs typeface="+mn-cs"/>
              </a:rPr>
              <a:t>Permits</a:t>
            </a:r>
            <a:endParaRPr lang="fr-FR" b="1" dirty="0">
              <a:solidFill>
                <a:srgbClr val="000000"/>
              </a:solidFill>
              <a:latin typeface="Calibri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4" name="Ellipse 43"/>
          <p:cNvSpPr/>
          <p:nvPr/>
        </p:nvSpPr>
        <p:spPr bwMode="auto">
          <a:xfrm>
            <a:off x="5636493" y="5715554"/>
            <a:ext cx="1385784" cy="581270"/>
          </a:xfrm>
          <a:prstGeom prst="ellipse">
            <a:avLst/>
          </a:prstGeom>
          <a:solidFill>
            <a:srgbClr val="D9D9D9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400"/>
          </a:p>
        </p:txBody>
      </p:sp>
      <p:sp>
        <p:nvSpPr>
          <p:cNvPr id="45" name="ZoneTexte 34"/>
          <p:cNvSpPr txBox="1">
            <a:spLocks noChangeArrowheads="1"/>
          </p:cNvSpPr>
          <p:nvPr/>
        </p:nvSpPr>
        <p:spPr bwMode="auto">
          <a:xfrm>
            <a:off x="5573471" y="5800326"/>
            <a:ext cx="149262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ill Sans MT" charset="0"/>
                <a:ea typeface="MS PGothic" charset="0"/>
                <a:cs typeface="MS PGothic" charset="0"/>
              </a:defRPr>
            </a:lvl9pPr>
          </a:lstStyle>
          <a:p>
            <a:pPr algn="ctr" eaLnBrk="1" hangingPunct="1"/>
            <a:r>
              <a:rPr lang="fr-FR" b="1" dirty="0">
                <a:solidFill>
                  <a:srgbClr val="FF0000"/>
                </a:solidFill>
                <a:latin typeface="Calibri" charset="0"/>
              </a:rPr>
              <a:t>40</a:t>
            </a:r>
            <a:r>
              <a:rPr lang="fr-FR" sz="1400" b="1" dirty="0">
                <a:solidFill>
                  <a:srgbClr val="141313"/>
                </a:solidFill>
                <a:latin typeface="Calibri" charset="0"/>
              </a:rPr>
              <a:t> </a:t>
            </a:r>
            <a:r>
              <a:rPr lang="fr-FR" sz="1400" b="1" dirty="0" smtClean="0">
                <a:solidFill>
                  <a:srgbClr val="141313"/>
                </a:solidFill>
                <a:latin typeface="Calibri" charset="0"/>
              </a:rPr>
              <a:t>DAYS</a:t>
            </a:r>
            <a:endParaRPr lang="fr-FR" sz="1400" b="1" dirty="0">
              <a:solidFill>
                <a:srgbClr val="141313"/>
              </a:solidFill>
              <a:latin typeface="Calibri" charset="0"/>
            </a:endParaRPr>
          </a:p>
        </p:txBody>
      </p:sp>
      <p:sp>
        <p:nvSpPr>
          <p:cNvPr id="55" name="TextBox 19"/>
          <p:cNvSpPr txBox="1">
            <a:spLocks noChangeArrowheads="1"/>
          </p:cNvSpPr>
          <p:nvPr/>
        </p:nvSpPr>
        <p:spPr bwMode="auto">
          <a:xfrm>
            <a:off x="2533251" y="4845791"/>
            <a:ext cx="28219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b="1" dirty="0" smtClean="0">
                <a:latin typeface="Calibri" pitchFamily="34" charset="0"/>
                <a:ea typeface="MS PGothic" pitchFamily="34" charset="-128"/>
              </a:rPr>
              <a:t>Cross border </a:t>
            </a:r>
            <a:r>
              <a:rPr lang="fr-FR" b="1" dirty="0" err="1" smtClean="0">
                <a:latin typeface="Calibri" pitchFamily="34" charset="0"/>
                <a:ea typeface="MS PGothic" pitchFamily="34" charset="-128"/>
              </a:rPr>
              <a:t>trading</a:t>
            </a:r>
            <a:endParaRPr lang="fr-FR" b="1" dirty="0">
              <a:latin typeface="Calibri" pitchFamily="34" charset="0"/>
              <a:ea typeface="MS PGothic" pitchFamily="34" charset="-128"/>
              <a:cs typeface="+mn-cs"/>
            </a:endParaRPr>
          </a:p>
        </p:txBody>
      </p:sp>
      <p:grpSp>
        <p:nvGrpSpPr>
          <p:cNvPr id="2" name="Groupe 56"/>
          <p:cNvGrpSpPr/>
          <p:nvPr/>
        </p:nvGrpSpPr>
        <p:grpSpPr>
          <a:xfrm>
            <a:off x="5765403" y="4742251"/>
            <a:ext cx="1133596" cy="724327"/>
            <a:chOff x="9974276" y="5207145"/>
            <a:chExt cx="1540637" cy="724327"/>
          </a:xfrm>
        </p:grpSpPr>
        <p:sp>
          <p:nvSpPr>
            <p:cNvPr id="52" name="Ellipse 51"/>
            <p:cNvSpPr/>
            <p:nvPr/>
          </p:nvSpPr>
          <p:spPr bwMode="auto">
            <a:xfrm>
              <a:off x="9974276" y="5207145"/>
              <a:ext cx="1540637" cy="724327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1400"/>
            </a:p>
          </p:txBody>
        </p:sp>
        <p:sp>
          <p:nvSpPr>
            <p:cNvPr id="53" name="ZoneTexte 32"/>
            <p:cNvSpPr txBox="1">
              <a:spLocks noChangeArrowheads="1"/>
            </p:cNvSpPr>
            <p:nvPr/>
          </p:nvSpPr>
          <p:spPr bwMode="auto">
            <a:xfrm>
              <a:off x="10123945" y="5416284"/>
              <a:ext cx="130867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Gill Sans MT" charset="0"/>
                  <a:ea typeface="MS PGothic" charset="0"/>
                  <a:cs typeface="MS PGothic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Gill Sans MT" charset="0"/>
                  <a:ea typeface="MS PGothic" charset="0"/>
                  <a:cs typeface="MS PGothic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Gill Sans MT" charset="0"/>
                  <a:ea typeface="MS PGothic" charset="0"/>
                  <a:cs typeface="MS PGothic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Gill Sans MT" charset="0"/>
                  <a:ea typeface="MS PGothic" charset="0"/>
                  <a:cs typeface="MS PGothic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Gill Sans MT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ill Sans MT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ill Sans MT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ill Sans MT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Gill Sans MT" charset="0"/>
                  <a:ea typeface="MS PGothic" charset="0"/>
                  <a:cs typeface="MS PGothic" charset="0"/>
                </a:defRPr>
              </a:lvl9pPr>
            </a:lstStyle>
            <a:p>
              <a:pPr algn="ctr" eaLnBrk="1" hangingPunct="1"/>
              <a:r>
                <a:rPr lang="fr-FR" b="1" dirty="0" smtClean="0">
                  <a:solidFill>
                    <a:srgbClr val="FF0000"/>
                  </a:solidFill>
                  <a:latin typeface="Calibri" charset="0"/>
                </a:rPr>
                <a:t>10</a:t>
              </a:r>
              <a:r>
                <a:rPr lang="fr-FR" sz="1400" b="1" dirty="0">
                  <a:solidFill>
                    <a:srgbClr val="141313"/>
                  </a:solidFill>
                  <a:latin typeface="Calibri" charset="0"/>
                </a:rPr>
                <a:t> </a:t>
              </a:r>
              <a:r>
                <a:rPr lang="fr-FR" sz="1400" b="1" dirty="0" smtClean="0">
                  <a:solidFill>
                    <a:srgbClr val="141313"/>
                  </a:solidFill>
                  <a:latin typeface="Calibri" charset="0"/>
                </a:rPr>
                <a:t>DAYS</a:t>
              </a:r>
              <a:endParaRPr lang="fr-FR" sz="1400" b="1" dirty="0">
                <a:solidFill>
                  <a:srgbClr val="141313"/>
                </a:solidFill>
                <a:latin typeface="Calibri" charset="0"/>
              </a:endParaRPr>
            </a:p>
          </p:txBody>
        </p:sp>
      </p:grpSp>
      <p:pic>
        <p:nvPicPr>
          <p:cNvPr id="62" name="Picture 5" descr="http://photos2-cdn.fotosearch.com/bthumb/CSP/CSP990/k9290496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685648" y="4915011"/>
            <a:ext cx="660229" cy="553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" name="Rectangle 58"/>
          <p:cNvSpPr/>
          <p:nvPr/>
        </p:nvSpPr>
        <p:spPr>
          <a:xfrm>
            <a:off x="722922" y="-39076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Investors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’ services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61" name="Ellipse 60"/>
          <p:cNvSpPr/>
          <p:nvPr/>
        </p:nvSpPr>
        <p:spPr>
          <a:xfrm rot="20620671">
            <a:off x="8439645" y="104570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63" name="ZoneTexte 62"/>
          <p:cNvSpPr txBox="1"/>
          <p:nvPr/>
        </p:nvSpPr>
        <p:spPr>
          <a:xfrm>
            <a:off x="722921" y="827772"/>
            <a:ext cx="72291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 smtClean="0"/>
              <a:t>Administrative </a:t>
            </a:r>
            <a:r>
              <a:rPr lang="fr-FR" sz="2800" b="1" dirty="0" err="1" smtClean="0"/>
              <a:t>procedures</a:t>
            </a:r>
            <a:r>
              <a:rPr lang="fr-FR" sz="2800" b="1" dirty="0" smtClean="0"/>
              <a:t>’ facilitation</a:t>
            </a:r>
            <a:endParaRPr lang="fr-FR" sz="2800" b="1" dirty="0"/>
          </a:p>
        </p:txBody>
      </p:sp>
    </p:spTree>
    <p:extLst>
      <p:ext uri="{BB962C8B-B14F-4D97-AF65-F5344CB8AC3E}">
        <p14:creationId xmlns:p14="http://schemas.microsoft.com/office/powerpoint/2010/main" val="2554122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 animBg="1"/>
      <p:bldP spid="16" grpId="0"/>
      <p:bldP spid="27" grpId="0"/>
      <p:bldP spid="25" grpId="0" animBg="1"/>
      <p:bldP spid="26" grpId="0"/>
      <p:bldP spid="34" grpId="0"/>
      <p:bldP spid="31" grpId="0" animBg="1"/>
      <p:bldP spid="41" grpId="0"/>
      <p:bldP spid="38" grpId="0" animBg="1"/>
      <p:bldP spid="39" grpId="0"/>
      <p:bldP spid="47" grpId="0"/>
      <p:bldP spid="44" grpId="0" animBg="1"/>
      <p:bldP spid="45" grpId="0"/>
      <p:bldP spid="5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722922" y="-39076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Investors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’ services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8" name="Ellipse 17"/>
          <p:cNvSpPr/>
          <p:nvPr/>
        </p:nvSpPr>
        <p:spPr>
          <a:xfrm rot="20620671">
            <a:off x="8439645" y="104570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>
          <a:xfrm>
            <a:off x="722922" y="923829"/>
            <a:ext cx="3227388" cy="603250"/>
          </a:xfrm>
          <a:prstGeom prst="rect">
            <a:avLst/>
          </a:prstGeom>
        </p:spPr>
        <p:txBody>
          <a:bodyPr vert="horz" lIns="92058" tIns="46030" rIns="92058" bIns="46030" rtlCol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fr-FR" sz="2600" b="1" i="0" u="none" strike="noStrike" kern="1200" cap="none" spc="0" normalizeH="0" baseline="0" noProof="0" smtClean="0">
                <a:ln>
                  <a:noFill/>
                </a:ln>
                <a:solidFill>
                  <a:srgbClr val="10253F"/>
                </a:solidFill>
                <a:effectLst>
                  <a:outerShdw blurRad="38100" dist="38100" dir="2700000" algn="tl">
                    <a:srgbClr val="DDDDDD"/>
                  </a:outerShdw>
                </a:effectLst>
                <a:uLnTx/>
                <a:uFillTx/>
                <a:latin typeface="Meiryo UI" charset="0"/>
                <a:ea typeface="Meiryo UI" charset="0"/>
                <a:cs typeface="Meiryo UI" charset="0"/>
              </a:rPr>
              <a:t>Tax incentive</a:t>
            </a:r>
            <a:endParaRPr kumimoji="0" lang="fr-FR" sz="2600" b="1" i="0" u="none" strike="noStrike" kern="1200" cap="none" spc="0" normalizeH="0" baseline="0" noProof="0" dirty="0">
              <a:ln>
                <a:noFill/>
              </a:ln>
              <a:solidFill>
                <a:srgbClr val="10253F"/>
              </a:solidFill>
              <a:effectLst>
                <a:outerShdw blurRad="38100" dist="38100" dir="2700000" algn="tl">
                  <a:srgbClr val="DDDDDD"/>
                </a:outerShdw>
              </a:effectLst>
              <a:uLnTx/>
              <a:uFillTx/>
              <a:latin typeface="Meiryo UI" charset="0"/>
              <a:ea typeface="Meiryo UI" charset="0"/>
              <a:cs typeface="Meiryo UI" charset="0"/>
            </a:endParaRPr>
          </a:p>
        </p:txBody>
      </p:sp>
      <p:sp>
        <p:nvSpPr>
          <p:cNvPr id="21" name="ZoneTexte 20"/>
          <p:cNvSpPr txBox="1">
            <a:spLocks noChangeArrowheads="1"/>
          </p:cNvSpPr>
          <p:nvPr/>
        </p:nvSpPr>
        <p:spPr bwMode="auto">
          <a:xfrm>
            <a:off x="0" y="3789363"/>
            <a:ext cx="7596188" cy="374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25475">
              <a:defRPr sz="32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434975" indent="-342900" defTabSz="625475">
              <a:defRPr sz="28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defTabSz="625475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defTabSz="625475"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defTabSz="625475"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defTabSz="62547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defTabSz="62547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defTabSz="62547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defTabSz="62547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lvl="1" eaLnBrk="1" hangingPunct="1">
              <a:lnSpc>
                <a:spcPct val="90000"/>
              </a:lnSpc>
              <a:spcBef>
                <a:spcPts val="1200"/>
              </a:spcBef>
              <a:buFont typeface="Wingdings" charset="0"/>
              <a:buChar char="ü"/>
            </a:pPr>
            <a:r>
              <a:rPr lang="en-US" sz="2000" b="1" i="1" dirty="0" smtClean="0">
                <a:solidFill>
                  <a:srgbClr val="0070C0"/>
                </a:solidFill>
                <a:latin typeface="Arial" charset="0"/>
              </a:rPr>
              <a:t>Forms</a:t>
            </a:r>
            <a:endParaRPr lang="fr-FR" sz="1800" dirty="0">
              <a:latin typeface="Georgia" charset="0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179388" y="5756275"/>
            <a:ext cx="4968875" cy="637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63538" lvl="2" indent="-342900" defTabSz="625475" eaLnBrk="1" hangingPunct="1">
              <a:lnSpc>
                <a:spcPct val="90000"/>
              </a:lnSpc>
              <a:spcBef>
                <a:spcPts val="1200"/>
              </a:spcBef>
              <a:buFont typeface="Courier New" charset="0"/>
              <a:buChar char="o"/>
            </a:pPr>
            <a:r>
              <a:rPr lang="en-US" sz="2000" b="1" dirty="0">
                <a:solidFill>
                  <a:srgbClr val="C00000"/>
                </a:solidFill>
                <a:latin typeface="Arial" charset="0"/>
              </a:rPr>
              <a:t>Suspension</a:t>
            </a:r>
            <a:r>
              <a:rPr lang="en-US" dirty="0">
                <a:latin typeface="Arial" charset="0"/>
              </a:rPr>
              <a:t> </a:t>
            </a:r>
            <a:r>
              <a:rPr lang="en-US" sz="1900" dirty="0" smtClean="0">
                <a:latin typeface="Arial" charset="0"/>
              </a:rPr>
              <a:t>of VAT upon inputs </a:t>
            </a:r>
            <a:r>
              <a:rPr lang="en-US" sz="1900" dirty="0">
                <a:latin typeface="Arial" charset="0"/>
              </a:rPr>
              <a:t>, </a:t>
            </a:r>
            <a:r>
              <a:rPr lang="en-US" sz="1900" dirty="0" smtClean="0">
                <a:latin typeface="Arial" charset="0"/>
              </a:rPr>
              <a:t>local </a:t>
            </a:r>
            <a:r>
              <a:rPr lang="en-US" sz="1900" dirty="0" err="1" smtClean="0">
                <a:latin typeface="Arial" charset="0"/>
              </a:rPr>
              <a:t>acquisiton</a:t>
            </a:r>
            <a:r>
              <a:rPr lang="en-US" sz="1900" dirty="0" smtClean="0">
                <a:latin typeface="Arial" charset="0"/>
              </a:rPr>
              <a:t> and other works and  services</a:t>
            </a:r>
            <a:endParaRPr lang="en-US" sz="1900" dirty="0">
              <a:latin typeface="Arial" charset="0"/>
            </a:endParaRPr>
          </a:p>
        </p:txBody>
      </p:sp>
      <p:sp>
        <p:nvSpPr>
          <p:cNvPr id="23" name="Rectangle 22"/>
          <p:cNvSpPr>
            <a:spLocks noChangeArrowheads="1"/>
          </p:cNvSpPr>
          <p:nvPr/>
        </p:nvSpPr>
        <p:spPr bwMode="auto">
          <a:xfrm>
            <a:off x="0" y="4148138"/>
            <a:ext cx="5292725" cy="1471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534988" lvl="2" indent="-285750" defTabSz="625475" eaLnBrk="1" hangingPunct="1">
              <a:lnSpc>
                <a:spcPct val="90000"/>
              </a:lnSpc>
              <a:spcBef>
                <a:spcPts val="1200"/>
              </a:spcBef>
              <a:buFont typeface="Courier New" charset="0"/>
              <a:buChar char="o"/>
            </a:pPr>
            <a:r>
              <a:rPr lang="en-US" sz="2000" b="1" dirty="0" smtClean="0">
                <a:solidFill>
                  <a:srgbClr val="C00000"/>
                </a:solidFill>
                <a:latin typeface="Arial" charset="0"/>
              </a:rPr>
              <a:t>Exemptions</a:t>
            </a:r>
            <a:endParaRPr lang="en-US" sz="2000" b="1" dirty="0">
              <a:solidFill>
                <a:srgbClr val="C00000"/>
              </a:solidFill>
              <a:latin typeface="Arial" charset="0"/>
            </a:endParaRPr>
          </a:p>
          <a:p>
            <a:pPr marL="534988" lvl="2" indent="-285750" defTabSz="625475" eaLnBrk="1" hangingPunct="1">
              <a:lnSpc>
                <a:spcPct val="90000"/>
              </a:lnSpc>
              <a:spcBef>
                <a:spcPts val="1200"/>
              </a:spcBef>
              <a:buFont typeface="Wingdings" charset="0"/>
              <a:buChar char="§"/>
            </a:pPr>
            <a:r>
              <a:rPr lang="en-US" sz="1900" dirty="0" smtClean="0">
                <a:latin typeface="Arial" charset="0"/>
              </a:rPr>
              <a:t>Duty right on material and equipment of </a:t>
            </a:r>
            <a:r>
              <a:rPr lang="en-US" sz="1900" dirty="0">
                <a:latin typeface="Arial" charset="0"/>
              </a:rPr>
              <a:t>production</a:t>
            </a:r>
          </a:p>
          <a:p>
            <a:pPr marL="534988" lvl="2" indent="-285750" defTabSz="625475" eaLnBrk="1" hangingPunct="1">
              <a:lnSpc>
                <a:spcPct val="90000"/>
              </a:lnSpc>
              <a:spcBef>
                <a:spcPts val="1200"/>
              </a:spcBef>
              <a:buFont typeface="Wingdings" charset="0"/>
              <a:buChar char="§"/>
            </a:pPr>
            <a:r>
              <a:rPr lang="en-US" sz="1900" dirty="0" smtClean="0">
                <a:latin typeface="Arial" charset="0"/>
              </a:rPr>
              <a:t>VAT of  agricultural materiel of production</a:t>
            </a:r>
            <a:endParaRPr lang="en-US" sz="1900" dirty="0">
              <a:latin typeface="Arial" charset="0"/>
            </a:endParaRPr>
          </a:p>
        </p:txBody>
      </p:sp>
      <p:grpSp>
        <p:nvGrpSpPr>
          <p:cNvPr id="24" name="Grouper 6"/>
          <p:cNvGrpSpPr/>
          <p:nvPr/>
        </p:nvGrpSpPr>
        <p:grpSpPr>
          <a:xfrm>
            <a:off x="4547333" y="1192213"/>
            <a:ext cx="4596667" cy="1237149"/>
            <a:chOff x="4211638" y="1557338"/>
            <a:chExt cx="4596667" cy="1237149"/>
          </a:xfrm>
        </p:grpSpPr>
        <p:sp>
          <p:nvSpPr>
            <p:cNvPr id="25" name="ZoneTexte 24"/>
            <p:cNvSpPr txBox="1">
              <a:spLocks noChangeArrowheads="1"/>
            </p:cNvSpPr>
            <p:nvPr/>
          </p:nvSpPr>
          <p:spPr bwMode="auto">
            <a:xfrm>
              <a:off x="4716463" y="1557338"/>
              <a:ext cx="3384550" cy="4026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1pPr>
              <a:lvl2pPr marL="358775" indent="-342900">
                <a:defRPr sz="28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>
                <a:defRPr sz="20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>
                <a:defRPr sz="20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eaLnBrk="0" fontAlgn="base" hangingPunct="0"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eaLnBrk="0" fontAlgn="base" hangingPunct="0"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eaLnBrk="0" fontAlgn="base" hangingPunct="0"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eaLnBrk="0" fontAlgn="base" hangingPunct="0"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pPr lvl="1" eaLnBrk="1" hangingPunct="1">
                <a:lnSpc>
                  <a:spcPct val="90000"/>
                </a:lnSpc>
                <a:spcBef>
                  <a:spcPts val="1200"/>
                </a:spcBef>
                <a:buFont typeface="Wingdings" charset="0"/>
                <a:buChar char="ü"/>
              </a:pPr>
              <a:r>
                <a:rPr lang="en-US" sz="2200" b="1" i="1" dirty="0" smtClean="0">
                  <a:solidFill>
                    <a:srgbClr val="0070C0"/>
                  </a:solidFill>
                  <a:latin typeface="Arial" charset="0"/>
                </a:rPr>
                <a:t>Sectors</a:t>
              </a:r>
              <a:endParaRPr lang="en-US" sz="2200" b="1" i="1" dirty="0">
                <a:solidFill>
                  <a:srgbClr val="0070C0"/>
                </a:solidFill>
                <a:latin typeface="Arial" charset="0"/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4211638" y="1989138"/>
              <a:ext cx="4596667" cy="805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274638" lvl="2" indent="-182563" eaLnBrk="1" hangingPunct="1">
                <a:lnSpc>
                  <a:spcPct val="90000"/>
                </a:lnSpc>
                <a:spcBef>
                  <a:spcPts val="1200"/>
                </a:spcBef>
                <a:buFont typeface="Wingdings" charset="0"/>
                <a:buChar char="§"/>
              </a:pPr>
              <a:r>
                <a:rPr lang="en-US" sz="2000" dirty="0" smtClean="0">
                  <a:latin typeface="Arial" charset="0"/>
                </a:rPr>
                <a:t>All sectors that created value added </a:t>
              </a:r>
            </a:p>
            <a:p>
              <a:pPr marL="274638" lvl="2" indent="-182563" eaLnBrk="1" hangingPunct="1">
                <a:lnSpc>
                  <a:spcPct val="90000"/>
                </a:lnSpc>
                <a:spcBef>
                  <a:spcPts val="1200"/>
                </a:spcBef>
                <a:buFont typeface="Wingdings" charset="0"/>
                <a:buChar char="§"/>
              </a:pPr>
              <a:r>
                <a:rPr lang="en-US" sz="2000" dirty="0" smtClean="0">
                  <a:latin typeface="Arial" charset="0"/>
                </a:rPr>
                <a:t>All sectors that export</a:t>
              </a:r>
              <a:endParaRPr lang="fr-FR" sz="2400" dirty="0"/>
            </a:p>
          </p:txBody>
        </p:sp>
      </p:grpSp>
      <p:pic>
        <p:nvPicPr>
          <p:cNvPr id="27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123" y="4889153"/>
            <a:ext cx="1322388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age 11" descr="http://www.investinsenegal.com/IMG/arton93.jpg?13340749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2276475"/>
            <a:ext cx="9271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Image 12" descr="https://encrypted-tbn1.gstatic.com/images?q=tbn:ANd9GcSamEj9rsWtG6TdpKFgHNoeoxgs3Yqrs8OSKrW5YA2BF0RaJQuOO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538" y="2708275"/>
            <a:ext cx="95885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Image 13" descr="http://www.agrifinfacility.org/sites/agrifinfacility.org/files/Images/Newsletter%204_tech%20summar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1700213"/>
            <a:ext cx="1079500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7">
            <a:extLst/>
          </a:blip>
          <a:srcRect/>
          <a:stretch>
            <a:fillRect/>
          </a:stretch>
        </p:blipFill>
        <p:spPr bwMode="auto">
          <a:xfrm>
            <a:off x="6581885" y="4645297"/>
            <a:ext cx="984650" cy="90846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8">
            <a:extLst/>
          </a:blip>
          <a:srcRect/>
          <a:stretch>
            <a:fillRect/>
          </a:stretch>
        </p:blipFill>
        <p:spPr bwMode="auto">
          <a:xfrm>
            <a:off x="8166060" y="5725419"/>
            <a:ext cx="858409" cy="106238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4159301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  <p:bldP spid="2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body" sz="half" idx="1"/>
          </p:nvPr>
        </p:nvSpPr>
        <p:spPr>
          <a:xfrm>
            <a:off x="722922" y="855663"/>
            <a:ext cx="9144000" cy="665088"/>
          </a:xfrm>
        </p:spPr>
        <p:txBody>
          <a:bodyPr lIns="92058" tIns="46030" rIns="92058" bIns="46030">
            <a:normAutofit lnSpcReduction="10000"/>
          </a:bodyPr>
          <a:lstStyle/>
          <a:p>
            <a:pPr marL="534988" lvl="1" indent="0" eaLnBrk="1" hangingPunct="1">
              <a:lnSpc>
                <a:spcPct val="90000"/>
              </a:lnSpc>
              <a:buFont typeface="Arial" charset="0"/>
              <a:buNone/>
            </a:pPr>
            <a:endParaRPr lang="fr-FR" sz="1600" b="1" i="1" dirty="0">
              <a:solidFill>
                <a:srgbClr val="C87528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lnSpc>
                <a:spcPct val="90000"/>
              </a:lnSpc>
              <a:spcBef>
                <a:spcPct val="0"/>
              </a:spcBef>
              <a:buClr>
                <a:srgbClr val="C87528"/>
              </a:buClr>
              <a:buFont typeface="Arial" charset="0"/>
              <a:buNone/>
            </a:pPr>
            <a:r>
              <a:rPr lang="fr-FR" sz="2600" b="1" dirty="0" smtClean="0">
                <a:solidFill>
                  <a:srgbClr val="10253F"/>
                </a:solidFill>
                <a:latin typeface="Meiryo UI" charset="0"/>
                <a:ea typeface="Meiryo UI" charset="0"/>
                <a:cs typeface="Meiryo UI" charset="0"/>
              </a:rPr>
              <a:t>Export </a:t>
            </a:r>
            <a:r>
              <a:rPr lang="fr-FR" sz="2600" b="1" dirty="0" err="1" smtClean="0">
                <a:solidFill>
                  <a:srgbClr val="10253F"/>
                </a:solidFill>
                <a:latin typeface="Meiryo UI" charset="0"/>
                <a:ea typeface="Meiryo UI" charset="0"/>
                <a:cs typeface="Meiryo UI" charset="0"/>
              </a:rPr>
              <a:t>tax</a:t>
            </a:r>
            <a:r>
              <a:rPr lang="fr-FR" sz="2600" b="1" dirty="0" smtClean="0">
                <a:solidFill>
                  <a:srgbClr val="10253F"/>
                </a:solidFill>
                <a:latin typeface="Meiryo UI" charset="0"/>
                <a:ea typeface="Meiryo UI" charset="0"/>
                <a:cs typeface="Meiryo UI" charset="0"/>
              </a:rPr>
              <a:t> </a:t>
            </a:r>
            <a:r>
              <a:rPr lang="fr-FR" sz="2600" b="1" dirty="0" err="1" smtClean="0">
                <a:solidFill>
                  <a:srgbClr val="10253F"/>
                </a:solidFill>
                <a:latin typeface="Meiryo UI" charset="0"/>
                <a:ea typeface="Meiryo UI" charset="0"/>
                <a:cs typeface="Meiryo UI" charset="0"/>
              </a:rPr>
              <a:t>incentive</a:t>
            </a:r>
            <a:r>
              <a:rPr lang="fr-FR" sz="2600" b="1" dirty="0" smtClean="0">
                <a:solidFill>
                  <a:srgbClr val="10253F"/>
                </a:solidFill>
                <a:latin typeface="Meiryo UI" charset="0"/>
                <a:ea typeface="Meiryo UI" charset="0"/>
                <a:cs typeface="Meiryo UI" charset="0"/>
              </a:rPr>
              <a:t> </a:t>
            </a:r>
            <a:endParaRPr lang="en-GB" sz="2100" dirty="0">
              <a:solidFill>
                <a:schemeClr val="bg1"/>
              </a:solidFill>
              <a:latin typeface="Calibri" charset="0"/>
              <a:cs typeface="Arial" charset="0"/>
            </a:endParaRPr>
          </a:p>
        </p:txBody>
      </p:sp>
      <p:grpSp>
        <p:nvGrpSpPr>
          <p:cNvPr id="20" name="Groupe 19"/>
          <p:cNvGrpSpPr/>
          <p:nvPr/>
        </p:nvGrpSpPr>
        <p:grpSpPr>
          <a:xfrm>
            <a:off x="0" y="3913235"/>
            <a:ext cx="9014341" cy="2766214"/>
            <a:chOff x="0" y="3913235"/>
            <a:chExt cx="9014341" cy="2766214"/>
          </a:xfrm>
        </p:grpSpPr>
        <p:sp>
          <p:nvSpPr>
            <p:cNvPr id="11270" name="Rectangle 3"/>
            <p:cNvSpPr>
              <a:spLocks noChangeArrowheads="1"/>
            </p:cNvSpPr>
            <p:nvPr/>
          </p:nvSpPr>
          <p:spPr bwMode="auto">
            <a:xfrm>
              <a:off x="0" y="3913235"/>
              <a:ext cx="6732588" cy="2494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marL="358775" lvl="1" indent="-342900">
                <a:lnSpc>
                  <a:spcPct val="90000"/>
                </a:lnSpc>
                <a:spcBef>
                  <a:spcPts val="1200"/>
                </a:spcBef>
                <a:buFont typeface="Wingdings" charset="0"/>
                <a:buChar char="ü"/>
              </a:pPr>
              <a:r>
                <a:rPr lang="en-GB" sz="2400" b="1" dirty="0" smtClean="0">
                  <a:solidFill>
                    <a:srgbClr val="0070C0"/>
                  </a:solidFill>
                  <a:latin typeface="Arial" charset="0"/>
                </a:rPr>
                <a:t>Forms</a:t>
              </a:r>
            </a:p>
            <a:p>
              <a:pPr marL="531813" lvl="2" indent="-342900" eaLnBrk="1" hangingPunct="1">
                <a:lnSpc>
                  <a:spcPct val="90000"/>
                </a:lnSpc>
                <a:spcBef>
                  <a:spcPts val="1200"/>
                </a:spcBef>
                <a:buFont typeface="Courier New" charset="0"/>
                <a:buChar char="o"/>
              </a:pPr>
              <a:r>
                <a:rPr lang="en-GB" sz="2200" b="1" dirty="0" smtClean="0">
                  <a:latin typeface="Arial" charset="0"/>
                </a:rPr>
                <a:t>Total exemption</a:t>
              </a:r>
              <a:endParaRPr lang="en-GB" sz="2200" dirty="0">
                <a:latin typeface="Arial" charset="0"/>
              </a:endParaRPr>
            </a:p>
            <a:p>
              <a:pPr marL="992188" lvl="3" indent="-285750" defTabSz="625475">
                <a:lnSpc>
                  <a:spcPct val="90000"/>
                </a:lnSpc>
                <a:spcBef>
                  <a:spcPts val="1200"/>
                </a:spcBef>
                <a:buFont typeface="Wingdings" charset="0"/>
                <a:buChar char="§"/>
              </a:pPr>
              <a:r>
                <a:rPr lang="en-US" sz="1900" dirty="0">
                  <a:latin typeface="Arial" charset="0"/>
                </a:rPr>
                <a:t>Duty right on material and equipment of </a:t>
              </a:r>
              <a:r>
                <a:rPr lang="en-US" sz="1900" dirty="0" smtClean="0">
                  <a:latin typeface="Arial" charset="0"/>
                </a:rPr>
                <a:t>production</a:t>
              </a:r>
            </a:p>
            <a:p>
              <a:pPr marL="992188" lvl="3" indent="-285750" defTabSz="625475">
                <a:lnSpc>
                  <a:spcPct val="90000"/>
                </a:lnSpc>
                <a:spcBef>
                  <a:spcPts val="1200"/>
                </a:spcBef>
                <a:buFont typeface="Wingdings" charset="0"/>
                <a:buChar char="§"/>
              </a:pPr>
              <a:r>
                <a:rPr lang="en-GB" sz="2200" dirty="0" smtClean="0">
                  <a:latin typeface="Arial" charset="0"/>
                </a:rPr>
                <a:t>All taxes of activities </a:t>
              </a:r>
              <a:r>
                <a:rPr lang="en-GB" sz="2200" i="1" dirty="0" smtClean="0">
                  <a:latin typeface="Arial" charset="0"/>
                </a:rPr>
                <a:t>(</a:t>
              </a:r>
              <a:r>
                <a:rPr lang="en-GB" sz="2000" i="1" dirty="0" smtClean="0">
                  <a:latin typeface="Arial" charset="0"/>
                </a:rPr>
                <a:t>excepted taxes on consumption services)</a:t>
              </a:r>
              <a:endParaRPr lang="en-GB" sz="2000" i="1" dirty="0">
                <a:latin typeface="Arial" charset="0"/>
              </a:endParaRPr>
            </a:p>
            <a:p>
              <a:pPr marL="531813" lvl="2" indent="-342900" eaLnBrk="1" hangingPunct="1">
                <a:lnSpc>
                  <a:spcPct val="90000"/>
                </a:lnSpc>
                <a:spcBef>
                  <a:spcPts val="1200"/>
                </a:spcBef>
                <a:buFont typeface="Courier New" charset="0"/>
                <a:buChar char="o"/>
              </a:pPr>
              <a:r>
                <a:rPr lang="en-GB" sz="2200" dirty="0" smtClean="0">
                  <a:latin typeface="Arial" charset="0"/>
                </a:rPr>
                <a:t>Reduction of  </a:t>
              </a:r>
              <a:r>
                <a:rPr lang="en-GB" sz="2200" b="1" dirty="0" smtClean="0">
                  <a:latin typeface="Arial" charset="0"/>
                </a:rPr>
                <a:t>income tax to </a:t>
              </a:r>
              <a:r>
                <a:rPr lang="en-GB" sz="2200" b="1" dirty="0">
                  <a:latin typeface="Arial" charset="0"/>
                </a:rPr>
                <a:t>15%</a:t>
              </a:r>
            </a:p>
          </p:txBody>
        </p:sp>
        <p:pic>
          <p:nvPicPr>
            <p:cNvPr id="11272" name="Picture 1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4525" y="4479925"/>
              <a:ext cx="1697038" cy="1801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4">
              <a:extLst/>
            </a:blip>
            <a:srcRect/>
            <a:stretch>
              <a:fillRect/>
            </a:stretch>
          </p:blipFill>
          <p:spPr bwMode="auto">
            <a:xfrm>
              <a:off x="6876256" y="4183411"/>
              <a:ext cx="1152128" cy="135462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rnd">
              <a:solidFill>
                <a:srgbClr val="FFFFFF"/>
              </a:solidFill>
            </a:ln>
            <a:effectLst>
              <a:outerShdw blurRad="50000" algn="tl" rotWithShape="0">
                <a:srgbClr val="000000">
                  <a:alpha val="41000"/>
                </a:srgbClr>
              </a:outerShdw>
            </a:effectLst>
            <a:scene3d>
              <a:camera prst="orthographicFront"/>
              <a:lightRig rig="twoPt" dir="t">
                <a:rot lat="0" lon="0" rev="7800000"/>
              </a:lightRig>
            </a:scene3d>
            <a:sp3d contourW="6350">
              <a:bevelT w="50800" h="16510"/>
              <a:contourClr>
                <a:srgbClr val="C0C0C0"/>
              </a:contourClr>
            </a:sp3d>
            <a:extLst/>
          </p:spPr>
        </p:pic>
        <p:pic>
          <p:nvPicPr>
            <p:cNvPr id="10" name="Picture 4"/>
            <p:cNvPicPr>
              <a:picLocks noChangeAspect="1" noChangeArrowheads="1"/>
            </p:cNvPicPr>
            <p:nvPr/>
          </p:nvPicPr>
          <p:blipFill>
            <a:blip r:embed="rId5">
              <a:extLst/>
            </a:blip>
            <a:srcRect/>
            <a:stretch>
              <a:fillRect/>
            </a:stretch>
          </p:blipFill>
          <p:spPr bwMode="auto">
            <a:xfrm>
              <a:off x="7684961" y="5034183"/>
              <a:ext cx="1329380" cy="164526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rnd">
              <a:solidFill>
                <a:srgbClr val="FFFFFF"/>
              </a:solidFill>
            </a:ln>
            <a:effectLst>
              <a:outerShdw blurRad="50000" algn="tl" rotWithShape="0">
                <a:srgbClr val="000000">
                  <a:alpha val="41000"/>
                </a:srgbClr>
              </a:outerShdw>
            </a:effectLst>
            <a:scene3d>
              <a:camera prst="orthographicFront"/>
              <a:lightRig rig="twoPt" dir="t">
                <a:rot lat="0" lon="0" rev="7800000"/>
              </a:lightRig>
            </a:scene3d>
            <a:sp3d contourW="6350">
              <a:bevelT w="50800" h="16510"/>
              <a:contourClr>
                <a:srgbClr val="C0C0C0"/>
              </a:contourClr>
            </a:sp3d>
            <a:extLst/>
          </p:spPr>
        </p:pic>
      </p:grpSp>
      <p:grpSp>
        <p:nvGrpSpPr>
          <p:cNvPr id="19" name="Groupe 18"/>
          <p:cNvGrpSpPr/>
          <p:nvPr/>
        </p:nvGrpSpPr>
        <p:grpSpPr>
          <a:xfrm>
            <a:off x="107950" y="1700213"/>
            <a:ext cx="8924925" cy="1657350"/>
            <a:chOff x="107950" y="1700213"/>
            <a:chExt cx="8924925" cy="1657350"/>
          </a:xfrm>
        </p:grpSpPr>
        <p:sp>
          <p:nvSpPr>
            <p:cNvPr id="11271" name="Rectangle 4"/>
            <p:cNvSpPr>
              <a:spLocks noChangeArrowheads="1"/>
            </p:cNvSpPr>
            <p:nvPr/>
          </p:nvSpPr>
          <p:spPr bwMode="auto">
            <a:xfrm>
              <a:off x="107950" y="1705255"/>
              <a:ext cx="7127875" cy="1341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marL="358775" lvl="1" indent="-342900">
                <a:lnSpc>
                  <a:spcPct val="90000"/>
                </a:lnSpc>
                <a:spcBef>
                  <a:spcPts val="1200"/>
                </a:spcBef>
                <a:buFont typeface="Wingdings" charset="0"/>
                <a:buChar char="ü"/>
              </a:pPr>
              <a:r>
                <a:rPr lang="en-GB" sz="2400" b="1" dirty="0" smtClean="0">
                  <a:solidFill>
                    <a:srgbClr val="0070C0"/>
                  </a:solidFill>
                  <a:latin typeface="Arial" charset="0"/>
                </a:rPr>
                <a:t>Fields</a:t>
              </a:r>
              <a:endParaRPr lang="en-GB" sz="2400" dirty="0" smtClean="0">
                <a:solidFill>
                  <a:prstClr val="black"/>
                </a:solidFill>
                <a:latin typeface="Arial" charset="0"/>
              </a:endParaRPr>
            </a:p>
            <a:p>
              <a:pPr marL="808038" lvl="2" indent="-366713" eaLnBrk="1" hangingPunct="1">
                <a:lnSpc>
                  <a:spcPct val="90000"/>
                </a:lnSpc>
                <a:spcBef>
                  <a:spcPts val="1200"/>
                </a:spcBef>
                <a:buFont typeface="Courier New" charset="0"/>
                <a:buChar char="o"/>
              </a:pPr>
              <a:r>
                <a:rPr lang="en-GB" sz="2200" dirty="0" smtClean="0">
                  <a:latin typeface="Arial" charset="0"/>
                </a:rPr>
                <a:t>Agriculture</a:t>
              </a:r>
              <a:r>
                <a:rPr lang="en-GB" sz="2200" dirty="0">
                  <a:latin typeface="Arial" charset="0"/>
                </a:rPr>
                <a:t>, </a:t>
              </a:r>
              <a:r>
                <a:rPr lang="en-GB" sz="2200" dirty="0" smtClean="0">
                  <a:latin typeface="Arial" charset="0"/>
                </a:rPr>
                <a:t>Industry and Teleservices</a:t>
              </a:r>
              <a:endParaRPr lang="en-GB" sz="2200" dirty="0">
                <a:latin typeface="Arial" charset="0"/>
              </a:endParaRPr>
            </a:p>
            <a:p>
              <a:pPr marL="808038" lvl="2" indent="-366713" eaLnBrk="1" hangingPunct="1">
                <a:lnSpc>
                  <a:spcPct val="90000"/>
                </a:lnSpc>
                <a:spcBef>
                  <a:spcPts val="1200"/>
                </a:spcBef>
                <a:buFont typeface="Courier New" charset="0"/>
                <a:buChar char="o"/>
              </a:pPr>
              <a:r>
                <a:rPr lang="en-GB" sz="2200" b="1" dirty="0" smtClean="0">
                  <a:latin typeface="Arial" charset="0"/>
                </a:rPr>
                <a:t>At least </a:t>
              </a:r>
              <a:r>
                <a:rPr lang="en-GB" sz="2200" b="1" dirty="0" smtClean="0">
                  <a:solidFill>
                    <a:srgbClr val="FF0000"/>
                  </a:solidFill>
                  <a:latin typeface="Arial" charset="0"/>
                </a:rPr>
                <a:t>80% </a:t>
              </a:r>
              <a:r>
                <a:rPr lang="en-GB" sz="2200" dirty="0" smtClean="0">
                  <a:latin typeface="Arial" charset="0"/>
                </a:rPr>
                <a:t>of production being </a:t>
              </a:r>
              <a:r>
                <a:rPr lang="en-GB" sz="2200" b="1" dirty="0" smtClean="0">
                  <a:solidFill>
                    <a:srgbClr val="FF0000"/>
                  </a:solidFill>
                  <a:latin typeface="Arial" charset="0"/>
                </a:rPr>
                <a:t>exported</a:t>
              </a:r>
              <a:endParaRPr lang="en-GB" sz="2200" b="1" dirty="0">
                <a:solidFill>
                  <a:srgbClr val="FF0000"/>
                </a:solidFill>
                <a:latin typeface="Arial" charset="0"/>
              </a:endParaRPr>
            </a:p>
          </p:txBody>
        </p:sp>
        <p:pic>
          <p:nvPicPr>
            <p:cNvPr id="11275" name="Image 11" descr="http://www.investinsenegal.com/IMG/arton93.jpg?1334074911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413" y="2060575"/>
              <a:ext cx="1236662" cy="865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6" name="Image 12" descr="https://encrypted-tbn1.gstatic.com/images?q=tbn:ANd9GcSamEj9rsWtG6TdpKFgHNoeoxgs3Yqrs8OSKrW5YA2BF0RaJQuOO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6700" y="2492375"/>
              <a:ext cx="1146175" cy="865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77" name="Image 13" descr="http://www.agrifinfacility.org/sites/agrifinfacility.org/files/Images/Newsletter%204_tech%20summary.jp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2588" y="1700213"/>
              <a:ext cx="1366837" cy="865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Rectangle 15"/>
          <p:cNvSpPr/>
          <p:nvPr/>
        </p:nvSpPr>
        <p:spPr>
          <a:xfrm>
            <a:off x="722922" y="-39076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Investors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’ services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8" name="Ellipse 17"/>
          <p:cNvSpPr/>
          <p:nvPr/>
        </p:nvSpPr>
        <p:spPr>
          <a:xfrm rot="20620671">
            <a:off x="8439645" y="104570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1999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ChangeArrowheads="1"/>
          </p:cNvSpPr>
          <p:nvPr/>
        </p:nvSpPr>
        <p:spPr bwMode="auto">
          <a:xfrm>
            <a:off x="36513" y="1413193"/>
            <a:ext cx="4751387" cy="4632037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marL="457200" indent="-457200" fontAlgn="auto">
              <a:spcBef>
                <a:spcPts val="0"/>
              </a:spcBef>
              <a:spcAft>
                <a:spcPts val="600"/>
              </a:spcAft>
              <a:buClr>
                <a:srgbClr val="CC6600"/>
              </a:buClr>
              <a:defRPr/>
            </a:pPr>
            <a:r>
              <a:rPr lang="fr-FR" sz="2000" b="1" dirty="0" smtClean="0">
                <a:latin typeface="Cambria" pitchFamily="18" charset="0"/>
              </a:rPr>
              <a:t>  </a:t>
            </a:r>
            <a:r>
              <a:rPr lang="fr-FR" sz="2000" b="1" dirty="0" smtClean="0">
                <a:solidFill>
                  <a:srgbClr val="000090"/>
                </a:solidFill>
                <a:latin typeface="Cambria" pitchFamily="18" charset="0"/>
              </a:rPr>
              <a:t> </a:t>
            </a:r>
            <a:endParaRPr lang="en-US" sz="1600" b="1" dirty="0" smtClean="0">
              <a:latin typeface="Cambria" pitchFamily="18" charset="0"/>
            </a:endParaRPr>
          </a:p>
          <a:p>
            <a:pPr marL="450850" lvl="2" indent="-27305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GB" sz="2000" b="1" dirty="0" smtClean="0">
                <a:solidFill>
                  <a:srgbClr val="000090"/>
                </a:solidFill>
                <a:latin typeface="Cambria" pitchFamily="18" charset="0"/>
              </a:rPr>
              <a:t>No discrimination </a:t>
            </a:r>
            <a:r>
              <a:rPr lang="en-GB" sz="2000" dirty="0" smtClean="0">
                <a:latin typeface="Cambria" pitchFamily="18" charset="0"/>
              </a:rPr>
              <a:t>between  national  foreign companies</a:t>
            </a:r>
            <a:r>
              <a:rPr lang="fr-FR" sz="2000" dirty="0" smtClean="0">
                <a:latin typeface="Cambria" pitchFamily="18" charset="0"/>
              </a:rPr>
              <a:t> </a:t>
            </a:r>
            <a:endParaRPr lang="fr-FR" sz="2000" dirty="0">
              <a:latin typeface="Cambria" pitchFamily="18" charset="0"/>
            </a:endParaRPr>
          </a:p>
          <a:p>
            <a:pPr marL="450850" lvl="2" indent="-27305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GB" sz="2000" b="1" dirty="0" smtClean="0">
                <a:solidFill>
                  <a:srgbClr val="000090"/>
                </a:solidFill>
                <a:latin typeface="Cambria" pitchFamily="18" charset="0"/>
              </a:rPr>
              <a:t>No limitation</a:t>
            </a:r>
            <a:r>
              <a:rPr lang="en-GB" sz="2000" dirty="0" smtClean="0">
                <a:solidFill>
                  <a:srgbClr val="000090"/>
                </a:solidFill>
                <a:latin typeface="Cambria" pitchFamily="18" charset="0"/>
              </a:rPr>
              <a:t> </a:t>
            </a:r>
            <a:r>
              <a:rPr lang="en-GB" sz="2000" dirty="0" smtClean="0">
                <a:latin typeface="Cambria" pitchFamily="18" charset="0"/>
              </a:rPr>
              <a:t>upon the number of foreign employees to hire</a:t>
            </a:r>
            <a:endParaRPr lang="en-GB" sz="2000" dirty="0">
              <a:latin typeface="Cambria" pitchFamily="18" charset="0"/>
            </a:endParaRPr>
          </a:p>
          <a:p>
            <a:pPr marL="450850" lvl="2" indent="-27305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2000" b="1" dirty="0" smtClean="0">
                <a:solidFill>
                  <a:srgbClr val="000090"/>
                </a:solidFill>
                <a:latin typeface="Cambria" pitchFamily="18" charset="0"/>
              </a:rPr>
              <a:t>Guaranty and protection</a:t>
            </a:r>
            <a:r>
              <a:rPr lang="en-US" sz="2000" dirty="0" smtClean="0">
                <a:solidFill>
                  <a:srgbClr val="000090"/>
                </a:solidFill>
                <a:latin typeface="Cambria" pitchFamily="18" charset="0"/>
              </a:rPr>
              <a:t> </a:t>
            </a:r>
            <a:r>
              <a:rPr lang="en-US" sz="2000" dirty="0" smtClean="0">
                <a:latin typeface="Cambria" pitchFamily="18" charset="0"/>
              </a:rPr>
              <a:t>of property rights</a:t>
            </a:r>
            <a:endParaRPr lang="en-US" sz="2000" dirty="0">
              <a:latin typeface="Cambria" pitchFamily="18" charset="0"/>
            </a:endParaRPr>
          </a:p>
          <a:p>
            <a:pPr marL="450850" lvl="2" indent="-27305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2000" b="1" dirty="0" smtClean="0">
                <a:solidFill>
                  <a:srgbClr val="000090"/>
                </a:solidFill>
                <a:latin typeface="Cambria" pitchFamily="18" charset="0"/>
              </a:rPr>
              <a:t>Guaranty to  </a:t>
            </a:r>
            <a:r>
              <a:rPr lang="en-US" sz="2000" dirty="0">
                <a:solidFill>
                  <a:srgbClr val="000000"/>
                </a:solidFill>
                <a:latin typeface="Cambria" pitchFamily="18" charset="0"/>
              </a:rPr>
              <a:t>Access </a:t>
            </a:r>
            <a:r>
              <a:rPr lang="en-US" sz="2000" dirty="0" smtClean="0">
                <a:latin typeface="Cambria" pitchFamily="18" charset="0"/>
              </a:rPr>
              <a:t>to foreign currencies </a:t>
            </a:r>
          </a:p>
          <a:p>
            <a:pPr marL="450850" lvl="2" indent="-273050"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2000" b="1" dirty="0" smtClean="0">
                <a:solidFill>
                  <a:srgbClr val="000090"/>
                </a:solidFill>
                <a:latin typeface="Cambria" pitchFamily="18" charset="0"/>
              </a:rPr>
              <a:t>Guaranty to</a:t>
            </a:r>
            <a:r>
              <a:rPr lang="en-US" sz="2000" dirty="0" smtClean="0">
                <a:solidFill>
                  <a:srgbClr val="000000"/>
                </a:solidFill>
                <a:latin typeface="Cambria" pitchFamily="18" charset="0"/>
              </a:rPr>
              <a:t> transfer </a:t>
            </a:r>
            <a:r>
              <a:rPr lang="en-US" sz="2000" dirty="0" smtClean="0">
                <a:latin typeface="Cambria" pitchFamily="18" charset="0"/>
              </a:rPr>
              <a:t>capital and benefits</a:t>
            </a:r>
            <a:endParaRPr lang="en-US" sz="2000" dirty="0">
              <a:latin typeface="Cambria" pitchFamily="18" charset="0"/>
            </a:endParaRPr>
          </a:p>
          <a:p>
            <a:pPr marL="450850" lvl="2" indent="-27305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2000" dirty="0" smtClean="0">
                <a:latin typeface="Cambria" pitchFamily="18" charset="0"/>
              </a:rPr>
              <a:t>Existing tax and on tax </a:t>
            </a:r>
            <a:r>
              <a:rPr lang="en-US" sz="2000" b="1" dirty="0" smtClean="0">
                <a:latin typeface="Cambria" pitchFamily="18" charset="0"/>
              </a:rPr>
              <a:t>ad</a:t>
            </a:r>
            <a:r>
              <a:rPr lang="en-US" sz="2000" b="1" dirty="0" smtClean="0">
                <a:solidFill>
                  <a:srgbClr val="000090"/>
                </a:solidFill>
                <a:latin typeface="Cambria" pitchFamily="18" charset="0"/>
              </a:rPr>
              <a:t>vantages</a:t>
            </a:r>
            <a:endParaRPr lang="en-US" sz="2000" b="1" dirty="0" smtClean="0">
              <a:latin typeface="Cambria" pitchFamily="18" charset="0"/>
            </a:endParaRPr>
          </a:p>
          <a:p>
            <a:pPr marL="450850" lvl="2" indent="-273050" fontAlgn="auto">
              <a:spcBef>
                <a:spcPts val="0"/>
              </a:spcBef>
              <a:spcAft>
                <a:spcPts val="600"/>
              </a:spcAft>
              <a:defRPr/>
            </a:pPr>
            <a:endParaRPr kumimoji="1" lang="en-US" sz="2000" dirty="0">
              <a:latin typeface="Cambria" pitchFamily="18" charset="0"/>
              <a:cs typeface="+mn-cs"/>
            </a:endParaRPr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auto">
          <a:xfrm>
            <a:off x="4697412" y="1916832"/>
            <a:ext cx="4339084" cy="3888432"/>
          </a:xfrm>
          <a:prstGeom prst="rect">
            <a:avLst/>
          </a:prstGeom>
          <a:blipFill dpi="0" rotWithShape="1">
            <a:blip r:embed="rId3" cstate="print">
              <a:alphaModFix amt="72000"/>
            </a:blip>
            <a:srcRect/>
            <a:stretch>
              <a:fillRect b="-36020"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fr-FR" dirty="0">
              <a:solidFill>
                <a:schemeClr val="accent6"/>
              </a:solidFill>
              <a:latin typeface="Arial" charset="0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22922" y="-39076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Investors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’ services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 rot="20620671">
            <a:off x="8439645" y="104570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61701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37217" y="122206"/>
            <a:ext cx="8615612" cy="5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457200" eaLnBrk="0" hangingPunct="0">
              <a:defRPr/>
            </a:pPr>
            <a:r>
              <a:rPr lang="fr-FR" sz="3600" dirty="0">
                <a:solidFill>
                  <a:srgbClr val="000000"/>
                </a:solidFill>
                <a:latin typeface="+mn-lt"/>
              </a:rPr>
              <a:t>2020-</a:t>
            </a:r>
            <a:r>
              <a:rPr lang="fr-FR" sz="3600" dirty="0" smtClean="0">
                <a:solidFill>
                  <a:srgbClr val="000000"/>
                </a:solidFill>
                <a:latin typeface="+mn-lt"/>
              </a:rPr>
              <a:t>2025 </a:t>
            </a:r>
            <a:r>
              <a:rPr lang="fr-FR" sz="3600" dirty="0" smtClean="0">
                <a:solidFill>
                  <a:srgbClr val="AB0000"/>
                </a:solidFill>
                <a:latin typeface="+mn-lt"/>
              </a:rPr>
              <a:t>I</a:t>
            </a:r>
            <a:r>
              <a:rPr kumimoji="0" lang="fr-FR" sz="3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AB0000"/>
                </a:solidFill>
                <a:effectLst/>
                <a:uLnTx/>
                <a:uFillTx/>
                <a:latin typeface="+mn-lt"/>
              </a:rPr>
              <a:t>nfrastructure</a:t>
            </a:r>
            <a:r>
              <a:rPr lang="fr-FR" sz="3600" dirty="0" smtClean="0">
                <a:solidFill>
                  <a:srgbClr val="AB0000"/>
                </a:solidFill>
                <a:latin typeface="+mn-lt"/>
              </a:rPr>
              <a:t>s Vision 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AB0000"/>
              </a:solidFill>
              <a:effectLst/>
              <a:uLnTx/>
              <a:uFillTx/>
              <a:latin typeface="+mn-lt"/>
            </a:endParaRPr>
          </a:p>
        </p:txBody>
      </p:sp>
      <p:grpSp>
        <p:nvGrpSpPr>
          <p:cNvPr id="277" name="Groupe 276"/>
          <p:cNvGrpSpPr/>
          <p:nvPr/>
        </p:nvGrpSpPr>
        <p:grpSpPr>
          <a:xfrm>
            <a:off x="131012" y="664881"/>
            <a:ext cx="8618199" cy="5809166"/>
            <a:chOff x="131012" y="664881"/>
            <a:chExt cx="8618199" cy="5809166"/>
          </a:xfrm>
        </p:grpSpPr>
        <p:sp>
          <p:nvSpPr>
            <p:cNvPr id="142" name="Freeform 7"/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gray">
            <a:xfrm>
              <a:off x="681014" y="1025869"/>
              <a:ext cx="7432488" cy="5279112"/>
            </a:xfrm>
            <a:custGeom>
              <a:avLst/>
              <a:gdLst>
                <a:gd name="T0" fmla="*/ 2130 w 6084"/>
                <a:gd name="T1" fmla="*/ 2886 h 4314"/>
                <a:gd name="T2" fmla="*/ 1464 w 6084"/>
                <a:gd name="T3" fmla="*/ 3054 h 4314"/>
                <a:gd name="T4" fmla="*/ 882 w 6084"/>
                <a:gd name="T5" fmla="*/ 2922 h 4314"/>
                <a:gd name="T6" fmla="*/ 864 w 6084"/>
                <a:gd name="T7" fmla="*/ 2826 h 4314"/>
                <a:gd name="T8" fmla="*/ 786 w 6084"/>
                <a:gd name="T9" fmla="*/ 2652 h 4314"/>
                <a:gd name="T10" fmla="*/ 666 w 6084"/>
                <a:gd name="T11" fmla="*/ 2484 h 4314"/>
                <a:gd name="T12" fmla="*/ 414 w 6084"/>
                <a:gd name="T13" fmla="*/ 2100 h 4314"/>
                <a:gd name="T14" fmla="*/ 102 w 6084"/>
                <a:gd name="T15" fmla="*/ 1986 h 4314"/>
                <a:gd name="T16" fmla="*/ 24 w 6084"/>
                <a:gd name="T17" fmla="*/ 1908 h 4314"/>
                <a:gd name="T18" fmla="*/ 342 w 6084"/>
                <a:gd name="T19" fmla="*/ 1776 h 4314"/>
                <a:gd name="T20" fmla="*/ 798 w 6084"/>
                <a:gd name="T21" fmla="*/ 1200 h 4314"/>
                <a:gd name="T22" fmla="*/ 1050 w 6084"/>
                <a:gd name="T23" fmla="*/ 600 h 4314"/>
                <a:gd name="T24" fmla="*/ 1188 w 6084"/>
                <a:gd name="T25" fmla="*/ 324 h 4314"/>
                <a:gd name="T26" fmla="*/ 1416 w 6084"/>
                <a:gd name="T27" fmla="*/ 144 h 4314"/>
                <a:gd name="T28" fmla="*/ 1800 w 6084"/>
                <a:gd name="T29" fmla="*/ 210 h 4314"/>
                <a:gd name="T30" fmla="*/ 2070 w 6084"/>
                <a:gd name="T31" fmla="*/ 126 h 4314"/>
                <a:gd name="T32" fmla="*/ 2394 w 6084"/>
                <a:gd name="T33" fmla="*/ 90 h 4314"/>
                <a:gd name="T34" fmla="*/ 2550 w 6084"/>
                <a:gd name="T35" fmla="*/ 48 h 4314"/>
                <a:gd name="T36" fmla="*/ 2766 w 6084"/>
                <a:gd name="T37" fmla="*/ 42 h 4314"/>
                <a:gd name="T38" fmla="*/ 2994 w 6084"/>
                <a:gd name="T39" fmla="*/ 72 h 4314"/>
                <a:gd name="T40" fmla="*/ 3234 w 6084"/>
                <a:gd name="T41" fmla="*/ 168 h 4314"/>
                <a:gd name="T42" fmla="*/ 3462 w 6084"/>
                <a:gd name="T43" fmla="*/ 330 h 4314"/>
                <a:gd name="T44" fmla="*/ 3594 w 6084"/>
                <a:gd name="T45" fmla="*/ 486 h 4314"/>
                <a:gd name="T46" fmla="*/ 3786 w 6084"/>
                <a:gd name="T47" fmla="*/ 582 h 4314"/>
                <a:gd name="T48" fmla="*/ 4020 w 6084"/>
                <a:gd name="T49" fmla="*/ 582 h 4314"/>
                <a:gd name="T50" fmla="*/ 4182 w 6084"/>
                <a:gd name="T51" fmla="*/ 894 h 4314"/>
                <a:gd name="T52" fmla="*/ 4368 w 6084"/>
                <a:gd name="T53" fmla="*/ 1182 h 4314"/>
                <a:gd name="T54" fmla="*/ 4626 w 6084"/>
                <a:gd name="T55" fmla="*/ 1404 h 4314"/>
                <a:gd name="T56" fmla="*/ 4782 w 6084"/>
                <a:gd name="T57" fmla="*/ 1566 h 4314"/>
                <a:gd name="T58" fmla="*/ 5214 w 6084"/>
                <a:gd name="T59" fmla="*/ 1920 h 4314"/>
                <a:gd name="T60" fmla="*/ 5232 w 6084"/>
                <a:gd name="T61" fmla="*/ 2112 h 4314"/>
                <a:gd name="T62" fmla="*/ 5346 w 6084"/>
                <a:gd name="T63" fmla="*/ 2322 h 4314"/>
                <a:gd name="T64" fmla="*/ 5508 w 6084"/>
                <a:gd name="T65" fmla="*/ 2748 h 4314"/>
                <a:gd name="T66" fmla="*/ 5580 w 6084"/>
                <a:gd name="T67" fmla="*/ 3198 h 4314"/>
                <a:gd name="T68" fmla="*/ 5772 w 6084"/>
                <a:gd name="T69" fmla="*/ 3258 h 4314"/>
                <a:gd name="T70" fmla="*/ 5934 w 6084"/>
                <a:gd name="T71" fmla="*/ 3450 h 4314"/>
                <a:gd name="T72" fmla="*/ 6048 w 6084"/>
                <a:gd name="T73" fmla="*/ 3672 h 4314"/>
                <a:gd name="T74" fmla="*/ 6054 w 6084"/>
                <a:gd name="T75" fmla="*/ 3834 h 4314"/>
                <a:gd name="T76" fmla="*/ 6012 w 6084"/>
                <a:gd name="T77" fmla="*/ 4026 h 4314"/>
                <a:gd name="T78" fmla="*/ 6078 w 6084"/>
                <a:gd name="T79" fmla="*/ 4146 h 4314"/>
                <a:gd name="T80" fmla="*/ 5562 w 6084"/>
                <a:gd name="T81" fmla="*/ 4206 h 4314"/>
                <a:gd name="T82" fmla="*/ 5112 w 6084"/>
                <a:gd name="T83" fmla="*/ 4314 h 4314"/>
                <a:gd name="T84" fmla="*/ 4740 w 6084"/>
                <a:gd name="T85" fmla="*/ 4194 h 4314"/>
                <a:gd name="T86" fmla="*/ 4446 w 6084"/>
                <a:gd name="T87" fmla="*/ 4146 h 4314"/>
                <a:gd name="T88" fmla="*/ 4290 w 6084"/>
                <a:gd name="T89" fmla="*/ 3990 h 4314"/>
                <a:gd name="T90" fmla="*/ 3828 w 6084"/>
                <a:gd name="T91" fmla="*/ 3954 h 4314"/>
                <a:gd name="T92" fmla="*/ 2586 w 6084"/>
                <a:gd name="T93" fmla="*/ 3948 h 4314"/>
                <a:gd name="T94" fmla="*/ 2022 w 6084"/>
                <a:gd name="T95" fmla="*/ 4116 h 4314"/>
                <a:gd name="T96" fmla="*/ 1380 w 6084"/>
                <a:gd name="T97" fmla="*/ 4170 h 4314"/>
                <a:gd name="T98" fmla="*/ 870 w 6084"/>
                <a:gd name="T99" fmla="*/ 4266 h 4314"/>
                <a:gd name="T100" fmla="*/ 834 w 6084"/>
                <a:gd name="T101" fmla="*/ 4080 h 4314"/>
                <a:gd name="T102" fmla="*/ 1116 w 6084"/>
                <a:gd name="T103" fmla="*/ 4056 h 4314"/>
                <a:gd name="T104" fmla="*/ 840 w 6084"/>
                <a:gd name="T105" fmla="*/ 4026 h 4314"/>
                <a:gd name="T106" fmla="*/ 738 w 6084"/>
                <a:gd name="T107" fmla="*/ 3840 h 4314"/>
                <a:gd name="T108" fmla="*/ 810 w 6084"/>
                <a:gd name="T109" fmla="*/ 3498 h 4314"/>
                <a:gd name="T110" fmla="*/ 1698 w 6084"/>
                <a:gd name="T111" fmla="*/ 3474 h 4314"/>
                <a:gd name="T112" fmla="*/ 2148 w 6084"/>
                <a:gd name="T113" fmla="*/ 3294 h 4314"/>
                <a:gd name="T114" fmla="*/ 2538 w 6084"/>
                <a:gd name="T115" fmla="*/ 3174 h 4314"/>
                <a:gd name="T116" fmla="*/ 2988 w 6084"/>
                <a:gd name="T117" fmla="*/ 3342 h 4314"/>
                <a:gd name="T118" fmla="*/ 3456 w 6084"/>
                <a:gd name="T119" fmla="*/ 3354 h 4314"/>
                <a:gd name="T120" fmla="*/ 3426 w 6084"/>
                <a:gd name="T121" fmla="*/ 3090 h 4314"/>
                <a:gd name="T122" fmla="*/ 2844 w 6084"/>
                <a:gd name="T123" fmla="*/ 2994 h 4314"/>
                <a:gd name="T124" fmla="*/ 876 w 6084"/>
                <a:gd name="T125" fmla="*/ 2952 h 4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84" h="4314">
                  <a:moveTo>
                    <a:pt x="2664" y="2886"/>
                  </a:moveTo>
                  <a:lnTo>
                    <a:pt x="2652" y="2880"/>
                  </a:lnTo>
                  <a:lnTo>
                    <a:pt x="2634" y="2868"/>
                  </a:lnTo>
                  <a:lnTo>
                    <a:pt x="2604" y="2850"/>
                  </a:lnTo>
                  <a:lnTo>
                    <a:pt x="2592" y="2850"/>
                  </a:lnTo>
                  <a:lnTo>
                    <a:pt x="2586" y="2850"/>
                  </a:lnTo>
                  <a:lnTo>
                    <a:pt x="2574" y="2850"/>
                  </a:lnTo>
                  <a:lnTo>
                    <a:pt x="2550" y="2844"/>
                  </a:lnTo>
                  <a:lnTo>
                    <a:pt x="2532" y="2850"/>
                  </a:lnTo>
                  <a:lnTo>
                    <a:pt x="2520" y="2850"/>
                  </a:lnTo>
                  <a:lnTo>
                    <a:pt x="2514" y="2850"/>
                  </a:lnTo>
                  <a:lnTo>
                    <a:pt x="2508" y="2844"/>
                  </a:lnTo>
                  <a:lnTo>
                    <a:pt x="2496" y="2844"/>
                  </a:lnTo>
                  <a:lnTo>
                    <a:pt x="2484" y="2838"/>
                  </a:lnTo>
                  <a:lnTo>
                    <a:pt x="2478" y="2838"/>
                  </a:lnTo>
                  <a:lnTo>
                    <a:pt x="2448" y="2826"/>
                  </a:lnTo>
                  <a:lnTo>
                    <a:pt x="2424" y="2820"/>
                  </a:lnTo>
                  <a:lnTo>
                    <a:pt x="2418" y="2820"/>
                  </a:lnTo>
                  <a:lnTo>
                    <a:pt x="2406" y="2826"/>
                  </a:lnTo>
                  <a:lnTo>
                    <a:pt x="2400" y="2826"/>
                  </a:lnTo>
                  <a:lnTo>
                    <a:pt x="2388" y="2832"/>
                  </a:lnTo>
                  <a:lnTo>
                    <a:pt x="2358" y="2850"/>
                  </a:lnTo>
                  <a:lnTo>
                    <a:pt x="2334" y="2868"/>
                  </a:lnTo>
                  <a:lnTo>
                    <a:pt x="2310" y="2874"/>
                  </a:lnTo>
                  <a:lnTo>
                    <a:pt x="2280" y="2892"/>
                  </a:lnTo>
                  <a:lnTo>
                    <a:pt x="2262" y="2892"/>
                  </a:lnTo>
                  <a:lnTo>
                    <a:pt x="2256" y="2892"/>
                  </a:lnTo>
                  <a:lnTo>
                    <a:pt x="2214" y="2874"/>
                  </a:lnTo>
                  <a:lnTo>
                    <a:pt x="2196" y="2868"/>
                  </a:lnTo>
                  <a:lnTo>
                    <a:pt x="2178" y="2868"/>
                  </a:lnTo>
                  <a:lnTo>
                    <a:pt x="2154" y="2874"/>
                  </a:lnTo>
                  <a:lnTo>
                    <a:pt x="2148" y="2874"/>
                  </a:lnTo>
                  <a:lnTo>
                    <a:pt x="2136" y="2880"/>
                  </a:lnTo>
                  <a:lnTo>
                    <a:pt x="2130" y="2886"/>
                  </a:lnTo>
                  <a:lnTo>
                    <a:pt x="2124" y="2886"/>
                  </a:lnTo>
                  <a:lnTo>
                    <a:pt x="2094" y="2904"/>
                  </a:lnTo>
                  <a:lnTo>
                    <a:pt x="2088" y="2910"/>
                  </a:lnTo>
                  <a:lnTo>
                    <a:pt x="2064" y="2934"/>
                  </a:lnTo>
                  <a:lnTo>
                    <a:pt x="2058" y="2946"/>
                  </a:lnTo>
                  <a:lnTo>
                    <a:pt x="2052" y="2946"/>
                  </a:lnTo>
                  <a:lnTo>
                    <a:pt x="2046" y="2964"/>
                  </a:lnTo>
                  <a:lnTo>
                    <a:pt x="2034" y="3000"/>
                  </a:lnTo>
                  <a:lnTo>
                    <a:pt x="2028" y="3006"/>
                  </a:lnTo>
                  <a:lnTo>
                    <a:pt x="2022" y="3030"/>
                  </a:lnTo>
                  <a:lnTo>
                    <a:pt x="2022" y="3054"/>
                  </a:lnTo>
                  <a:lnTo>
                    <a:pt x="2016" y="3054"/>
                  </a:lnTo>
                  <a:lnTo>
                    <a:pt x="1992" y="3054"/>
                  </a:lnTo>
                  <a:lnTo>
                    <a:pt x="1986" y="3054"/>
                  </a:lnTo>
                  <a:lnTo>
                    <a:pt x="1974" y="3054"/>
                  </a:lnTo>
                  <a:lnTo>
                    <a:pt x="1956" y="3054"/>
                  </a:lnTo>
                  <a:lnTo>
                    <a:pt x="1920" y="3054"/>
                  </a:lnTo>
                  <a:lnTo>
                    <a:pt x="1884" y="3054"/>
                  </a:lnTo>
                  <a:lnTo>
                    <a:pt x="1758" y="3054"/>
                  </a:lnTo>
                  <a:lnTo>
                    <a:pt x="1752" y="3054"/>
                  </a:lnTo>
                  <a:lnTo>
                    <a:pt x="1680" y="3060"/>
                  </a:lnTo>
                  <a:lnTo>
                    <a:pt x="1662" y="3054"/>
                  </a:lnTo>
                  <a:lnTo>
                    <a:pt x="1656" y="3054"/>
                  </a:lnTo>
                  <a:lnTo>
                    <a:pt x="1632" y="3054"/>
                  </a:lnTo>
                  <a:lnTo>
                    <a:pt x="1620" y="3054"/>
                  </a:lnTo>
                  <a:lnTo>
                    <a:pt x="1614" y="3054"/>
                  </a:lnTo>
                  <a:lnTo>
                    <a:pt x="1536" y="3054"/>
                  </a:lnTo>
                  <a:lnTo>
                    <a:pt x="1530" y="3054"/>
                  </a:lnTo>
                  <a:lnTo>
                    <a:pt x="1524" y="3054"/>
                  </a:lnTo>
                  <a:lnTo>
                    <a:pt x="1518" y="3054"/>
                  </a:lnTo>
                  <a:lnTo>
                    <a:pt x="1512" y="3054"/>
                  </a:lnTo>
                  <a:lnTo>
                    <a:pt x="1506" y="3054"/>
                  </a:lnTo>
                  <a:lnTo>
                    <a:pt x="1482" y="3054"/>
                  </a:lnTo>
                  <a:lnTo>
                    <a:pt x="1464" y="3054"/>
                  </a:lnTo>
                  <a:lnTo>
                    <a:pt x="1458" y="3054"/>
                  </a:lnTo>
                  <a:lnTo>
                    <a:pt x="1422" y="3054"/>
                  </a:lnTo>
                  <a:lnTo>
                    <a:pt x="1380" y="3054"/>
                  </a:lnTo>
                  <a:lnTo>
                    <a:pt x="1254" y="3054"/>
                  </a:lnTo>
                  <a:lnTo>
                    <a:pt x="1206" y="3054"/>
                  </a:lnTo>
                  <a:lnTo>
                    <a:pt x="1200" y="3054"/>
                  </a:lnTo>
                  <a:lnTo>
                    <a:pt x="1182" y="3054"/>
                  </a:lnTo>
                  <a:lnTo>
                    <a:pt x="1176" y="3054"/>
                  </a:lnTo>
                  <a:lnTo>
                    <a:pt x="1128" y="3054"/>
                  </a:lnTo>
                  <a:lnTo>
                    <a:pt x="1080" y="3054"/>
                  </a:lnTo>
                  <a:lnTo>
                    <a:pt x="1074" y="3054"/>
                  </a:lnTo>
                  <a:lnTo>
                    <a:pt x="1068" y="3054"/>
                  </a:lnTo>
                  <a:lnTo>
                    <a:pt x="996" y="3054"/>
                  </a:lnTo>
                  <a:lnTo>
                    <a:pt x="972" y="3054"/>
                  </a:lnTo>
                  <a:lnTo>
                    <a:pt x="960" y="3054"/>
                  </a:lnTo>
                  <a:lnTo>
                    <a:pt x="954" y="3042"/>
                  </a:lnTo>
                  <a:lnTo>
                    <a:pt x="948" y="3042"/>
                  </a:lnTo>
                  <a:lnTo>
                    <a:pt x="948" y="3036"/>
                  </a:lnTo>
                  <a:lnTo>
                    <a:pt x="948" y="3030"/>
                  </a:lnTo>
                  <a:lnTo>
                    <a:pt x="942" y="3030"/>
                  </a:lnTo>
                  <a:lnTo>
                    <a:pt x="936" y="3024"/>
                  </a:lnTo>
                  <a:lnTo>
                    <a:pt x="930" y="3018"/>
                  </a:lnTo>
                  <a:lnTo>
                    <a:pt x="930" y="3012"/>
                  </a:lnTo>
                  <a:lnTo>
                    <a:pt x="918" y="3006"/>
                  </a:lnTo>
                  <a:lnTo>
                    <a:pt x="912" y="3000"/>
                  </a:lnTo>
                  <a:lnTo>
                    <a:pt x="906" y="3000"/>
                  </a:lnTo>
                  <a:lnTo>
                    <a:pt x="900" y="2988"/>
                  </a:lnTo>
                  <a:lnTo>
                    <a:pt x="894" y="2982"/>
                  </a:lnTo>
                  <a:lnTo>
                    <a:pt x="888" y="2976"/>
                  </a:lnTo>
                  <a:lnTo>
                    <a:pt x="888" y="2970"/>
                  </a:lnTo>
                  <a:lnTo>
                    <a:pt x="882" y="2964"/>
                  </a:lnTo>
                  <a:lnTo>
                    <a:pt x="876" y="2940"/>
                  </a:lnTo>
                  <a:lnTo>
                    <a:pt x="876" y="2934"/>
                  </a:lnTo>
                  <a:lnTo>
                    <a:pt x="882" y="2922"/>
                  </a:lnTo>
                  <a:lnTo>
                    <a:pt x="882" y="2910"/>
                  </a:lnTo>
                  <a:lnTo>
                    <a:pt x="882" y="2886"/>
                  </a:lnTo>
                  <a:lnTo>
                    <a:pt x="894" y="2874"/>
                  </a:lnTo>
                  <a:lnTo>
                    <a:pt x="900" y="2862"/>
                  </a:lnTo>
                  <a:lnTo>
                    <a:pt x="906" y="2856"/>
                  </a:lnTo>
                  <a:lnTo>
                    <a:pt x="942" y="2820"/>
                  </a:lnTo>
                  <a:lnTo>
                    <a:pt x="948" y="2814"/>
                  </a:lnTo>
                  <a:lnTo>
                    <a:pt x="960" y="2814"/>
                  </a:lnTo>
                  <a:lnTo>
                    <a:pt x="966" y="2814"/>
                  </a:lnTo>
                  <a:lnTo>
                    <a:pt x="960" y="2808"/>
                  </a:lnTo>
                  <a:lnTo>
                    <a:pt x="966" y="2808"/>
                  </a:lnTo>
                  <a:lnTo>
                    <a:pt x="972" y="2802"/>
                  </a:lnTo>
                  <a:lnTo>
                    <a:pt x="996" y="2802"/>
                  </a:lnTo>
                  <a:lnTo>
                    <a:pt x="996" y="2796"/>
                  </a:lnTo>
                  <a:lnTo>
                    <a:pt x="1008" y="2790"/>
                  </a:lnTo>
                  <a:lnTo>
                    <a:pt x="1002" y="2790"/>
                  </a:lnTo>
                  <a:lnTo>
                    <a:pt x="996" y="2784"/>
                  </a:lnTo>
                  <a:lnTo>
                    <a:pt x="990" y="2778"/>
                  </a:lnTo>
                  <a:lnTo>
                    <a:pt x="984" y="2784"/>
                  </a:lnTo>
                  <a:lnTo>
                    <a:pt x="978" y="2784"/>
                  </a:lnTo>
                  <a:lnTo>
                    <a:pt x="966" y="2784"/>
                  </a:lnTo>
                  <a:lnTo>
                    <a:pt x="960" y="2784"/>
                  </a:lnTo>
                  <a:lnTo>
                    <a:pt x="954" y="2784"/>
                  </a:lnTo>
                  <a:lnTo>
                    <a:pt x="948" y="2790"/>
                  </a:lnTo>
                  <a:lnTo>
                    <a:pt x="942" y="2790"/>
                  </a:lnTo>
                  <a:lnTo>
                    <a:pt x="936" y="2802"/>
                  </a:lnTo>
                  <a:lnTo>
                    <a:pt x="924" y="2802"/>
                  </a:lnTo>
                  <a:lnTo>
                    <a:pt x="918" y="2808"/>
                  </a:lnTo>
                  <a:lnTo>
                    <a:pt x="900" y="2808"/>
                  </a:lnTo>
                  <a:lnTo>
                    <a:pt x="894" y="2814"/>
                  </a:lnTo>
                  <a:lnTo>
                    <a:pt x="888" y="2814"/>
                  </a:lnTo>
                  <a:lnTo>
                    <a:pt x="876" y="2820"/>
                  </a:lnTo>
                  <a:lnTo>
                    <a:pt x="870" y="2820"/>
                  </a:lnTo>
                  <a:lnTo>
                    <a:pt x="864" y="2826"/>
                  </a:lnTo>
                  <a:lnTo>
                    <a:pt x="858" y="2832"/>
                  </a:lnTo>
                  <a:lnTo>
                    <a:pt x="840" y="2850"/>
                  </a:lnTo>
                  <a:lnTo>
                    <a:pt x="834" y="2844"/>
                  </a:lnTo>
                  <a:lnTo>
                    <a:pt x="834" y="2850"/>
                  </a:lnTo>
                  <a:lnTo>
                    <a:pt x="834" y="2856"/>
                  </a:lnTo>
                  <a:lnTo>
                    <a:pt x="828" y="2868"/>
                  </a:lnTo>
                  <a:lnTo>
                    <a:pt x="822" y="2868"/>
                  </a:lnTo>
                  <a:lnTo>
                    <a:pt x="816" y="2862"/>
                  </a:lnTo>
                  <a:lnTo>
                    <a:pt x="804" y="2850"/>
                  </a:lnTo>
                  <a:lnTo>
                    <a:pt x="798" y="2844"/>
                  </a:lnTo>
                  <a:lnTo>
                    <a:pt x="786" y="2832"/>
                  </a:lnTo>
                  <a:lnTo>
                    <a:pt x="786" y="2820"/>
                  </a:lnTo>
                  <a:lnTo>
                    <a:pt x="768" y="2802"/>
                  </a:lnTo>
                  <a:lnTo>
                    <a:pt x="768" y="2796"/>
                  </a:lnTo>
                  <a:lnTo>
                    <a:pt x="768" y="2790"/>
                  </a:lnTo>
                  <a:lnTo>
                    <a:pt x="774" y="2790"/>
                  </a:lnTo>
                  <a:lnTo>
                    <a:pt x="786" y="2784"/>
                  </a:lnTo>
                  <a:lnTo>
                    <a:pt x="786" y="2778"/>
                  </a:lnTo>
                  <a:lnTo>
                    <a:pt x="780" y="2754"/>
                  </a:lnTo>
                  <a:lnTo>
                    <a:pt x="774" y="2742"/>
                  </a:lnTo>
                  <a:lnTo>
                    <a:pt x="774" y="2736"/>
                  </a:lnTo>
                  <a:lnTo>
                    <a:pt x="774" y="2730"/>
                  </a:lnTo>
                  <a:lnTo>
                    <a:pt x="774" y="2724"/>
                  </a:lnTo>
                  <a:lnTo>
                    <a:pt x="774" y="2712"/>
                  </a:lnTo>
                  <a:lnTo>
                    <a:pt x="768" y="2706"/>
                  </a:lnTo>
                  <a:lnTo>
                    <a:pt x="768" y="2700"/>
                  </a:lnTo>
                  <a:lnTo>
                    <a:pt x="780" y="2688"/>
                  </a:lnTo>
                  <a:lnTo>
                    <a:pt x="780" y="2676"/>
                  </a:lnTo>
                  <a:lnTo>
                    <a:pt x="792" y="2670"/>
                  </a:lnTo>
                  <a:lnTo>
                    <a:pt x="798" y="2658"/>
                  </a:lnTo>
                  <a:lnTo>
                    <a:pt x="804" y="2658"/>
                  </a:lnTo>
                  <a:lnTo>
                    <a:pt x="804" y="2652"/>
                  </a:lnTo>
                  <a:lnTo>
                    <a:pt x="798" y="2652"/>
                  </a:lnTo>
                  <a:lnTo>
                    <a:pt x="786" y="2652"/>
                  </a:lnTo>
                  <a:lnTo>
                    <a:pt x="786" y="2658"/>
                  </a:lnTo>
                  <a:lnTo>
                    <a:pt x="768" y="2670"/>
                  </a:lnTo>
                  <a:lnTo>
                    <a:pt x="762" y="2676"/>
                  </a:lnTo>
                  <a:lnTo>
                    <a:pt x="756" y="2682"/>
                  </a:lnTo>
                  <a:lnTo>
                    <a:pt x="756" y="2694"/>
                  </a:lnTo>
                  <a:lnTo>
                    <a:pt x="756" y="2718"/>
                  </a:lnTo>
                  <a:lnTo>
                    <a:pt x="750" y="2742"/>
                  </a:lnTo>
                  <a:lnTo>
                    <a:pt x="756" y="2754"/>
                  </a:lnTo>
                  <a:lnTo>
                    <a:pt x="756" y="2766"/>
                  </a:lnTo>
                  <a:lnTo>
                    <a:pt x="756" y="2772"/>
                  </a:lnTo>
                  <a:lnTo>
                    <a:pt x="756" y="2796"/>
                  </a:lnTo>
                  <a:lnTo>
                    <a:pt x="756" y="2814"/>
                  </a:lnTo>
                  <a:lnTo>
                    <a:pt x="750" y="2814"/>
                  </a:lnTo>
                  <a:lnTo>
                    <a:pt x="750" y="2808"/>
                  </a:lnTo>
                  <a:lnTo>
                    <a:pt x="744" y="2802"/>
                  </a:lnTo>
                  <a:lnTo>
                    <a:pt x="744" y="2766"/>
                  </a:lnTo>
                  <a:lnTo>
                    <a:pt x="744" y="2742"/>
                  </a:lnTo>
                  <a:lnTo>
                    <a:pt x="738" y="2706"/>
                  </a:lnTo>
                  <a:lnTo>
                    <a:pt x="744" y="2640"/>
                  </a:lnTo>
                  <a:lnTo>
                    <a:pt x="744" y="2634"/>
                  </a:lnTo>
                  <a:lnTo>
                    <a:pt x="744" y="2628"/>
                  </a:lnTo>
                  <a:lnTo>
                    <a:pt x="744" y="2616"/>
                  </a:lnTo>
                  <a:lnTo>
                    <a:pt x="732" y="2586"/>
                  </a:lnTo>
                  <a:lnTo>
                    <a:pt x="720" y="2538"/>
                  </a:lnTo>
                  <a:lnTo>
                    <a:pt x="714" y="2526"/>
                  </a:lnTo>
                  <a:lnTo>
                    <a:pt x="702" y="2514"/>
                  </a:lnTo>
                  <a:lnTo>
                    <a:pt x="702" y="2508"/>
                  </a:lnTo>
                  <a:lnTo>
                    <a:pt x="708" y="2502"/>
                  </a:lnTo>
                  <a:lnTo>
                    <a:pt x="702" y="2496"/>
                  </a:lnTo>
                  <a:lnTo>
                    <a:pt x="690" y="2496"/>
                  </a:lnTo>
                  <a:lnTo>
                    <a:pt x="684" y="2496"/>
                  </a:lnTo>
                  <a:lnTo>
                    <a:pt x="678" y="2496"/>
                  </a:lnTo>
                  <a:lnTo>
                    <a:pt x="672" y="2490"/>
                  </a:lnTo>
                  <a:lnTo>
                    <a:pt x="666" y="2484"/>
                  </a:lnTo>
                  <a:lnTo>
                    <a:pt x="666" y="2478"/>
                  </a:lnTo>
                  <a:lnTo>
                    <a:pt x="654" y="2472"/>
                  </a:lnTo>
                  <a:lnTo>
                    <a:pt x="648" y="2460"/>
                  </a:lnTo>
                  <a:lnTo>
                    <a:pt x="648" y="2448"/>
                  </a:lnTo>
                  <a:lnTo>
                    <a:pt x="648" y="2442"/>
                  </a:lnTo>
                  <a:lnTo>
                    <a:pt x="642" y="2430"/>
                  </a:lnTo>
                  <a:lnTo>
                    <a:pt x="630" y="2406"/>
                  </a:lnTo>
                  <a:lnTo>
                    <a:pt x="612" y="2382"/>
                  </a:lnTo>
                  <a:lnTo>
                    <a:pt x="606" y="2376"/>
                  </a:lnTo>
                  <a:lnTo>
                    <a:pt x="588" y="2376"/>
                  </a:lnTo>
                  <a:lnTo>
                    <a:pt x="588" y="2370"/>
                  </a:lnTo>
                  <a:lnTo>
                    <a:pt x="588" y="2364"/>
                  </a:lnTo>
                  <a:lnTo>
                    <a:pt x="588" y="2346"/>
                  </a:lnTo>
                  <a:lnTo>
                    <a:pt x="588" y="2322"/>
                  </a:lnTo>
                  <a:lnTo>
                    <a:pt x="588" y="2310"/>
                  </a:lnTo>
                  <a:lnTo>
                    <a:pt x="582" y="2304"/>
                  </a:lnTo>
                  <a:lnTo>
                    <a:pt x="564" y="2274"/>
                  </a:lnTo>
                  <a:lnTo>
                    <a:pt x="540" y="2244"/>
                  </a:lnTo>
                  <a:lnTo>
                    <a:pt x="534" y="2244"/>
                  </a:lnTo>
                  <a:lnTo>
                    <a:pt x="528" y="2238"/>
                  </a:lnTo>
                  <a:lnTo>
                    <a:pt x="516" y="2220"/>
                  </a:lnTo>
                  <a:lnTo>
                    <a:pt x="492" y="2208"/>
                  </a:lnTo>
                  <a:lnTo>
                    <a:pt x="474" y="2208"/>
                  </a:lnTo>
                  <a:lnTo>
                    <a:pt x="468" y="2202"/>
                  </a:lnTo>
                  <a:lnTo>
                    <a:pt x="468" y="2196"/>
                  </a:lnTo>
                  <a:lnTo>
                    <a:pt x="462" y="2184"/>
                  </a:lnTo>
                  <a:lnTo>
                    <a:pt x="456" y="2184"/>
                  </a:lnTo>
                  <a:lnTo>
                    <a:pt x="450" y="2184"/>
                  </a:lnTo>
                  <a:lnTo>
                    <a:pt x="444" y="2172"/>
                  </a:lnTo>
                  <a:lnTo>
                    <a:pt x="438" y="2166"/>
                  </a:lnTo>
                  <a:lnTo>
                    <a:pt x="438" y="2148"/>
                  </a:lnTo>
                  <a:lnTo>
                    <a:pt x="432" y="2130"/>
                  </a:lnTo>
                  <a:lnTo>
                    <a:pt x="426" y="2118"/>
                  </a:lnTo>
                  <a:lnTo>
                    <a:pt x="414" y="2100"/>
                  </a:lnTo>
                  <a:lnTo>
                    <a:pt x="402" y="2100"/>
                  </a:lnTo>
                  <a:lnTo>
                    <a:pt x="396" y="2094"/>
                  </a:lnTo>
                  <a:lnTo>
                    <a:pt x="390" y="2088"/>
                  </a:lnTo>
                  <a:lnTo>
                    <a:pt x="390" y="2076"/>
                  </a:lnTo>
                  <a:lnTo>
                    <a:pt x="378" y="2058"/>
                  </a:lnTo>
                  <a:lnTo>
                    <a:pt x="372" y="2034"/>
                  </a:lnTo>
                  <a:lnTo>
                    <a:pt x="360" y="2022"/>
                  </a:lnTo>
                  <a:lnTo>
                    <a:pt x="324" y="1992"/>
                  </a:lnTo>
                  <a:lnTo>
                    <a:pt x="300" y="1968"/>
                  </a:lnTo>
                  <a:lnTo>
                    <a:pt x="282" y="1968"/>
                  </a:lnTo>
                  <a:lnTo>
                    <a:pt x="276" y="1962"/>
                  </a:lnTo>
                  <a:lnTo>
                    <a:pt x="270" y="1956"/>
                  </a:lnTo>
                  <a:lnTo>
                    <a:pt x="258" y="1950"/>
                  </a:lnTo>
                  <a:lnTo>
                    <a:pt x="252" y="1950"/>
                  </a:lnTo>
                  <a:lnTo>
                    <a:pt x="246" y="1950"/>
                  </a:lnTo>
                  <a:lnTo>
                    <a:pt x="234" y="1944"/>
                  </a:lnTo>
                  <a:lnTo>
                    <a:pt x="228" y="1938"/>
                  </a:lnTo>
                  <a:lnTo>
                    <a:pt x="216" y="1932"/>
                  </a:lnTo>
                  <a:lnTo>
                    <a:pt x="186" y="1926"/>
                  </a:lnTo>
                  <a:lnTo>
                    <a:pt x="174" y="1926"/>
                  </a:lnTo>
                  <a:lnTo>
                    <a:pt x="144" y="1932"/>
                  </a:lnTo>
                  <a:lnTo>
                    <a:pt x="120" y="1938"/>
                  </a:lnTo>
                  <a:lnTo>
                    <a:pt x="114" y="1938"/>
                  </a:lnTo>
                  <a:lnTo>
                    <a:pt x="108" y="1944"/>
                  </a:lnTo>
                  <a:lnTo>
                    <a:pt x="108" y="1950"/>
                  </a:lnTo>
                  <a:lnTo>
                    <a:pt x="108" y="1956"/>
                  </a:lnTo>
                  <a:lnTo>
                    <a:pt x="108" y="1962"/>
                  </a:lnTo>
                  <a:lnTo>
                    <a:pt x="102" y="1962"/>
                  </a:lnTo>
                  <a:lnTo>
                    <a:pt x="102" y="1968"/>
                  </a:lnTo>
                  <a:lnTo>
                    <a:pt x="96" y="1974"/>
                  </a:lnTo>
                  <a:lnTo>
                    <a:pt x="102" y="1980"/>
                  </a:lnTo>
                  <a:lnTo>
                    <a:pt x="108" y="1980"/>
                  </a:lnTo>
                  <a:lnTo>
                    <a:pt x="108" y="1986"/>
                  </a:lnTo>
                  <a:lnTo>
                    <a:pt x="102" y="1986"/>
                  </a:lnTo>
                  <a:lnTo>
                    <a:pt x="102" y="1992"/>
                  </a:lnTo>
                  <a:lnTo>
                    <a:pt x="102" y="1998"/>
                  </a:lnTo>
                  <a:lnTo>
                    <a:pt x="96" y="2004"/>
                  </a:lnTo>
                  <a:lnTo>
                    <a:pt x="96" y="2010"/>
                  </a:lnTo>
                  <a:lnTo>
                    <a:pt x="90" y="2010"/>
                  </a:lnTo>
                  <a:lnTo>
                    <a:pt x="90" y="2004"/>
                  </a:lnTo>
                  <a:lnTo>
                    <a:pt x="90" y="1998"/>
                  </a:lnTo>
                  <a:lnTo>
                    <a:pt x="90" y="1986"/>
                  </a:lnTo>
                  <a:lnTo>
                    <a:pt x="84" y="1986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72" y="1980"/>
                  </a:lnTo>
                  <a:lnTo>
                    <a:pt x="66" y="1980"/>
                  </a:lnTo>
                  <a:lnTo>
                    <a:pt x="60" y="1980"/>
                  </a:lnTo>
                  <a:lnTo>
                    <a:pt x="60" y="1974"/>
                  </a:lnTo>
                  <a:lnTo>
                    <a:pt x="54" y="1962"/>
                  </a:lnTo>
                  <a:lnTo>
                    <a:pt x="54" y="1956"/>
                  </a:lnTo>
                  <a:lnTo>
                    <a:pt x="48" y="1956"/>
                  </a:lnTo>
                  <a:lnTo>
                    <a:pt x="42" y="1944"/>
                  </a:lnTo>
                  <a:lnTo>
                    <a:pt x="36" y="1944"/>
                  </a:lnTo>
                  <a:lnTo>
                    <a:pt x="30" y="1944"/>
                  </a:lnTo>
                  <a:lnTo>
                    <a:pt x="24" y="1938"/>
                  </a:lnTo>
                  <a:lnTo>
                    <a:pt x="24" y="1932"/>
                  </a:lnTo>
                  <a:lnTo>
                    <a:pt x="24" y="1920"/>
                  </a:lnTo>
                  <a:lnTo>
                    <a:pt x="18" y="1920"/>
                  </a:lnTo>
                  <a:lnTo>
                    <a:pt x="12" y="1920"/>
                  </a:lnTo>
                  <a:lnTo>
                    <a:pt x="6" y="1914"/>
                  </a:lnTo>
                  <a:lnTo>
                    <a:pt x="0" y="1914"/>
                  </a:lnTo>
                  <a:lnTo>
                    <a:pt x="0" y="1908"/>
                  </a:lnTo>
                  <a:lnTo>
                    <a:pt x="6" y="1908"/>
                  </a:lnTo>
                  <a:lnTo>
                    <a:pt x="12" y="1914"/>
                  </a:lnTo>
                  <a:lnTo>
                    <a:pt x="18" y="1914"/>
                  </a:lnTo>
                  <a:lnTo>
                    <a:pt x="18" y="1908"/>
                  </a:lnTo>
                  <a:lnTo>
                    <a:pt x="24" y="1908"/>
                  </a:lnTo>
                  <a:lnTo>
                    <a:pt x="24" y="1902"/>
                  </a:lnTo>
                  <a:lnTo>
                    <a:pt x="30" y="1902"/>
                  </a:lnTo>
                  <a:lnTo>
                    <a:pt x="30" y="1896"/>
                  </a:lnTo>
                  <a:lnTo>
                    <a:pt x="36" y="1896"/>
                  </a:lnTo>
                  <a:lnTo>
                    <a:pt x="42" y="1896"/>
                  </a:lnTo>
                  <a:lnTo>
                    <a:pt x="48" y="1896"/>
                  </a:lnTo>
                  <a:lnTo>
                    <a:pt x="48" y="1890"/>
                  </a:lnTo>
                  <a:lnTo>
                    <a:pt x="54" y="1890"/>
                  </a:lnTo>
                  <a:lnTo>
                    <a:pt x="60" y="1890"/>
                  </a:lnTo>
                  <a:lnTo>
                    <a:pt x="66" y="1896"/>
                  </a:lnTo>
                  <a:lnTo>
                    <a:pt x="72" y="1896"/>
                  </a:lnTo>
                  <a:lnTo>
                    <a:pt x="78" y="1896"/>
                  </a:lnTo>
                  <a:lnTo>
                    <a:pt x="90" y="1890"/>
                  </a:lnTo>
                  <a:lnTo>
                    <a:pt x="96" y="1884"/>
                  </a:lnTo>
                  <a:lnTo>
                    <a:pt x="102" y="1884"/>
                  </a:lnTo>
                  <a:lnTo>
                    <a:pt x="108" y="1884"/>
                  </a:lnTo>
                  <a:lnTo>
                    <a:pt x="114" y="1878"/>
                  </a:lnTo>
                  <a:lnTo>
                    <a:pt x="132" y="1878"/>
                  </a:lnTo>
                  <a:lnTo>
                    <a:pt x="144" y="1866"/>
                  </a:lnTo>
                  <a:lnTo>
                    <a:pt x="150" y="1866"/>
                  </a:lnTo>
                  <a:lnTo>
                    <a:pt x="156" y="1866"/>
                  </a:lnTo>
                  <a:lnTo>
                    <a:pt x="168" y="1860"/>
                  </a:lnTo>
                  <a:lnTo>
                    <a:pt x="186" y="1848"/>
                  </a:lnTo>
                  <a:lnTo>
                    <a:pt x="198" y="1848"/>
                  </a:lnTo>
                  <a:lnTo>
                    <a:pt x="216" y="1842"/>
                  </a:lnTo>
                  <a:lnTo>
                    <a:pt x="222" y="1836"/>
                  </a:lnTo>
                  <a:lnTo>
                    <a:pt x="228" y="1836"/>
                  </a:lnTo>
                  <a:lnTo>
                    <a:pt x="234" y="1836"/>
                  </a:lnTo>
                  <a:lnTo>
                    <a:pt x="246" y="1830"/>
                  </a:lnTo>
                  <a:lnTo>
                    <a:pt x="264" y="1818"/>
                  </a:lnTo>
                  <a:lnTo>
                    <a:pt x="282" y="1812"/>
                  </a:lnTo>
                  <a:lnTo>
                    <a:pt x="312" y="1794"/>
                  </a:lnTo>
                  <a:lnTo>
                    <a:pt x="330" y="1782"/>
                  </a:lnTo>
                  <a:lnTo>
                    <a:pt x="342" y="1776"/>
                  </a:lnTo>
                  <a:lnTo>
                    <a:pt x="348" y="1776"/>
                  </a:lnTo>
                  <a:lnTo>
                    <a:pt x="354" y="1770"/>
                  </a:lnTo>
                  <a:lnTo>
                    <a:pt x="366" y="1764"/>
                  </a:lnTo>
                  <a:lnTo>
                    <a:pt x="384" y="1758"/>
                  </a:lnTo>
                  <a:lnTo>
                    <a:pt x="402" y="1740"/>
                  </a:lnTo>
                  <a:lnTo>
                    <a:pt x="408" y="1734"/>
                  </a:lnTo>
                  <a:lnTo>
                    <a:pt x="414" y="1716"/>
                  </a:lnTo>
                  <a:lnTo>
                    <a:pt x="420" y="1716"/>
                  </a:lnTo>
                  <a:lnTo>
                    <a:pt x="420" y="1704"/>
                  </a:lnTo>
                  <a:lnTo>
                    <a:pt x="426" y="1698"/>
                  </a:lnTo>
                  <a:lnTo>
                    <a:pt x="438" y="1686"/>
                  </a:lnTo>
                  <a:lnTo>
                    <a:pt x="450" y="1674"/>
                  </a:lnTo>
                  <a:lnTo>
                    <a:pt x="456" y="1662"/>
                  </a:lnTo>
                  <a:lnTo>
                    <a:pt x="462" y="1662"/>
                  </a:lnTo>
                  <a:lnTo>
                    <a:pt x="468" y="1650"/>
                  </a:lnTo>
                  <a:lnTo>
                    <a:pt x="480" y="1638"/>
                  </a:lnTo>
                  <a:lnTo>
                    <a:pt x="492" y="1626"/>
                  </a:lnTo>
                  <a:lnTo>
                    <a:pt x="498" y="1620"/>
                  </a:lnTo>
                  <a:lnTo>
                    <a:pt x="516" y="1602"/>
                  </a:lnTo>
                  <a:lnTo>
                    <a:pt x="528" y="1590"/>
                  </a:lnTo>
                  <a:lnTo>
                    <a:pt x="540" y="1578"/>
                  </a:lnTo>
                  <a:lnTo>
                    <a:pt x="540" y="1572"/>
                  </a:lnTo>
                  <a:lnTo>
                    <a:pt x="594" y="1500"/>
                  </a:lnTo>
                  <a:lnTo>
                    <a:pt x="618" y="1476"/>
                  </a:lnTo>
                  <a:lnTo>
                    <a:pt x="630" y="1464"/>
                  </a:lnTo>
                  <a:lnTo>
                    <a:pt x="660" y="1422"/>
                  </a:lnTo>
                  <a:lnTo>
                    <a:pt x="672" y="1404"/>
                  </a:lnTo>
                  <a:lnTo>
                    <a:pt x="684" y="1380"/>
                  </a:lnTo>
                  <a:lnTo>
                    <a:pt x="690" y="1374"/>
                  </a:lnTo>
                  <a:lnTo>
                    <a:pt x="738" y="1302"/>
                  </a:lnTo>
                  <a:lnTo>
                    <a:pt x="750" y="1284"/>
                  </a:lnTo>
                  <a:lnTo>
                    <a:pt x="756" y="1266"/>
                  </a:lnTo>
                  <a:lnTo>
                    <a:pt x="762" y="1248"/>
                  </a:lnTo>
                  <a:lnTo>
                    <a:pt x="798" y="1200"/>
                  </a:lnTo>
                  <a:lnTo>
                    <a:pt x="828" y="1164"/>
                  </a:lnTo>
                  <a:lnTo>
                    <a:pt x="840" y="1140"/>
                  </a:lnTo>
                  <a:lnTo>
                    <a:pt x="864" y="1110"/>
                  </a:lnTo>
                  <a:lnTo>
                    <a:pt x="894" y="1056"/>
                  </a:lnTo>
                  <a:lnTo>
                    <a:pt x="906" y="1038"/>
                  </a:lnTo>
                  <a:lnTo>
                    <a:pt x="918" y="1026"/>
                  </a:lnTo>
                  <a:lnTo>
                    <a:pt x="918" y="1014"/>
                  </a:lnTo>
                  <a:lnTo>
                    <a:pt x="930" y="984"/>
                  </a:lnTo>
                  <a:lnTo>
                    <a:pt x="936" y="978"/>
                  </a:lnTo>
                  <a:lnTo>
                    <a:pt x="954" y="948"/>
                  </a:lnTo>
                  <a:lnTo>
                    <a:pt x="954" y="942"/>
                  </a:lnTo>
                  <a:lnTo>
                    <a:pt x="966" y="930"/>
                  </a:lnTo>
                  <a:lnTo>
                    <a:pt x="972" y="918"/>
                  </a:lnTo>
                  <a:lnTo>
                    <a:pt x="978" y="900"/>
                  </a:lnTo>
                  <a:lnTo>
                    <a:pt x="984" y="888"/>
                  </a:lnTo>
                  <a:lnTo>
                    <a:pt x="984" y="882"/>
                  </a:lnTo>
                  <a:lnTo>
                    <a:pt x="978" y="876"/>
                  </a:lnTo>
                  <a:lnTo>
                    <a:pt x="984" y="870"/>
                  </a:lnTo>
                  <a:lnTo>
                    <a:pt x="990" y="852"/>
                  </a:lnTo>
                  <a:lnTo>
                    <a:pt x="990" y="846"/>
                  </a:lnTo>
                  <a:lnTo>
                    <a:pt x="990" y="816"/>
                  </a:lnTo>
                  <a:lnTo>
                    <a:pt x="996" y="780"/>
                  </a:lnTo>
                  <a:lnTo>
                    <a:pt x="996" y="756"/>
                  </a:lnTo>
                  <a:lnTo>
                    <a:pt x="1002" y="708"/>
                  </a:lnTo>
                  <a:lnTo>
                    <a:pt x="1002" y="690"/>
                  </a:lnTo>
                  <a:lnTo>
                    <a:pt x="1002" y="678"/>
                  </a:lnTo>
                  <a:lnTo>
                    <a:pt x="1020" y="678"/>
                  </a:lnTo>
                  <a:lnTo>
                    <a:pt x="1014" y="678"/>
                  </a:lnTo>
                  <a:lnTo>
                    <a:pt x="1014" y="618"/>
                  </a:lnTo>
                  <a:lnTo>
                    <a:pt x="1020" y="618"/>
                  </a:lnTo>
                  <a:lnTo>
                    <a:pt x="1026" y="606"/>
                  </a:lnTo>
                  <a:lnTo>
                    <a:pt x="1032" y="606"/>
                  </a:lnTo>
                  <a:lnTo>
                    <a:pt x="1044" y="606"/>
                  </a:lnTo>
                  <a:lnTo>
                    <a:pt x="1050" y="600"/>
                  </a:lnTo>
                  <a:lnTo>
                    <a:pt x="1056" y="594"/>
                  </a:lnTo>
                  <a:lnTo>
                    <a:pt x="1062" y="594"/>
                  </a:lnTo>
                  <a:lnTo>
                    <a:pt x="1068" y="594"/>
                  </a:lnTo>
                  <a:lnTo>
                    <a:pt x="1068" y="588"/>
                  </a:lnTo>
                  <a:lnTo>
                    <a:pt x="1068" y="582"/>
                  </a:lnTo>
                  <a:lnTo>
                    <a:pt x="1074" y="582"/>
                  </a:lnTo>
                  <a:lnTo>
                    <a:pt x="1080" y="576"/>
                  </a:lnTo>
                  <a:lnTo>
                    <a:pt x="1074" y="570"/>
                  </a:lnTo>
                  <a:lnTo>
                    <a:pt x="1062" y="564"/>
                  </a:lnTo>
                  <a:lnTo>
                    <a:pt x="1062" y="558"/>
                  </a:lnTo>
                  <a:lnTo>
                    <a:pt x="1068" y="546"/>
                  </a:lnTo>
                  <a:lnTo>
                    <a:pt x="1068" y="540"/>
                  </a:lnTo>
                  <a:lnTo>
                    <a:pt x="1068" y="534"/>
                  </a:lnTo>
                  <a:lnTo>
                    <a:pt x="1068" y="528"/>
                  </a:lnTo>
                  <a:lnTo>
                    <a:pt x="1068" y="522"/>
                  </a:lnTo>
                  <a:lnTo>
                    <a:pt x="1068" y="504"/>
                  </a:lnTo>
                  <a:lnTo>
                    <a:pt x="1074" y="492"/>
                  </a:lnTo>
                  <a:lnTo>
                    <a:pt x="1086" y="474"/>
                  </a:lnTo>
                  <a:lnTo>
                    <a:pt x="1104" y="462"/>
                  </a:lnTo>
                  <a:lnTo>
                    <a:pt x="1110" y="462"/>
                  </a:lnTo>
                  <a:lnTo>
                    <a:pt x="1116" y="468"/>
                  </a:lnTo>
                  <a:lnTo>
                    <a:pt x="1128" y="468"/>
                  </a:lnTo>
                  <a:lnTo>
                    <a:pt x="1134" y="462"/>
                  </a:lnTo>
                  <a:lnTo>
                    <a:pt x="1146" y="450"/>
                  </a:lnTo>
                  <a:lnTo>
                    <a:pt x="1152" y="426"/>
                  </a:lnTo>
                  <a:lnTo>
                    <a:pt x="1164" y="414"/>
                  </a:lnTo>
                  <a:lnTo>
                    <a:pt x="1164" y="408"/>
                  </a:lnTo>
                  <a:lnTo>
                    <a:pt x="1152" y="390"/>
                  </a:lnTo>
                  <a:lnTo>
                    <a:pt x="1152" y="378"/>
                  </a:lnTo>
                  <a:lnTo>
                    <a:pt x="1158" y="354"/>
                  </a:lnTo>
                  <a:lnTo>
                    <a:pt x="1164" y="348"/>
                  </a:lnTo>
                  <a:lnTo>
                    <a:pt x="1176" y="348"/>
                  </a:lnTo>
                  <a:lnTo>
                    <a:pt x="1188" y="330"/>
                  </a:lnTo>
                  <a:lnTo>
                    <a:pt x="1188" y="324"/>
                  </a:lnTo>
                  <a:lnTo>
                    <a:pt x="1182" y="300"/>
                  </a:lnTo>
                  <a:lnTo>
                    <a:pt x="1188" y="288"/>
                  </a:lnTo>
                  <a:lnTo>
                    <a:pt x="1194" y="282"/>
                  </a:lnTo>
                  <a:lnTo>
                    <a:pt x="1200" y="276"/>
                  </a:lnTo>
                  <a:lnTo>
                    <a:pt x="1206" y="276"/>
                  </a:lnTo>
                  <a:lnTo>
                    <a:pt x="1206" y="240"/>
                  </a:lnTo>
                  <a:lnTo>
                    <a:pt x="1212" y="228"/>
                  </a:lnTo>
                  <a:lnTo>
                    <a:pt x="1218" y="222"/>
                  </a:lnTo>
                  <a:lnTo>
                    <a:pt x="1230" y="216"/>
                  </a:lnTo>
                  <a:lnTo>
                    <a:pt x="1230" y="210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36" y="180"/>
                  </a:lnTo>
                  <a:lnTo>
                    <a:pt x="1236" y="174"/>
                  </a:lnTo>
                  <a:lnTo>
                    <a:pt x="1242" y="174"/>
                  </a:lnTo>
                  <a:lnTo>
                    <a:pt x="1242" y="168"/>
                  </a:lnTo>
                  <a:lnTo>
                    <a:pt x="1248" y="168"/>
                  </a:lnTo>
                  <a:lnTo>
                    <a:pt x="1254" y="162"/>
                  </a:lnTo>
                  <a:lnTo>
                    <a:pt x="1266" y="162"/>
                  </a:lnTo>
                  <a:lnTo>
                    <a:pt x="1272" y="162"/>
                  </a:lnTo>
                  <a:lnTo>
                    <a:pt x="1284" y="162"/>
                  </a:lnTo>
                  <a:lnTo>
                    <a:pt x="1296" y="174"/>
                  </a:lnTo>
                  <a:lnTo>
                    <a:pt x="1302" y="174"/>
                  </a:lnTo>
                  <a:lnTo>
                    <a:pt x="1326" y="174"/>
                  </a:lnTo>
                  <a:lnTo>
                    <a:pt x="1338" y="162"/>
                  </a:lnTo>
                  <a:lnTo>
                    <a:pt x="1344" y="162"/>
                  </a:lnTo>
                  <a:lnTo>
                    <a:pt x="1344" y="156"/>
                  </a:lnTo>
                  <a:lnTo>
                    <a:pt x="1356" y="144"/>
                  </a:lnTo>
                  <a:lnTo>
                    <a:pt x="1362" y="138"/>
                  </a:lnTo>
                  <a:lnTo>
                    <a:pt x="1374" y="138"/>
                  </a:lnTo>
                  <a:lnTo>
                    <a:pt x="1398" y="132"/>
                  </a:lnTo>
                  <a:lnTo>
                    <a:pt x="1404" y="132"/>
                  </a:lnTo>
                  <a:lnTo>
                    <a:pt x="1410" y="138"/>
                  </a:lnTo>
                  <a:lnTo>
                    <a:pt x="1416" y="144"/>
                  </a:lnTo>
                  <a:lnTo>
                    <a:pt x="1416" y="150"/>
                  </a:lnTo>
                  <a:lnTo>
                    <a:pt x="1416" y="162"/>
                  </a:lnTo>
                  <a:lnTo>
                    <a:pt x="1416" y="168"/>
                  </a:lnTo>
                  <a:lnTo>
                    <a:pt x="1434" y="174"/>
                  </a:lnTo>
                  <a:lnTo>
                    <a:pt x="1452" y="192"/>
                  </a:lnTo>
                  <a:lnTo>
                    <a:pt x="1458" y="204"/>
                  </a:lnTo>
                  <a:lnTo>
                    <a:pt x="1464" y="210"/>
                  </a:lnTo>
                  <a:lnTo>
                    <a:pt x="1470" y="210"/>
                  </a:lnTo>
                  <a:lnTo>
                    <a:pt x="1482" y="204"/>
                  </a:lnTo>
                  <a:lnTo>
                    <a:pt x="1500" y="186"/>
                  </a:lnTo>
                  <a:lnTo>
                    <a:pt x="1506" y="186"/>
                  </a:lnTo>
                  <a:lnTo>
                    <a:pt x="1512" y="186"/>
                  </a:lnTo>
                  <a:lnTo>
                    <a:pt x="1518" y="186"/>
                  </a:lnTo>
                  <a:lnTo>
                    <a:pt x="1542" y="198"/>
                  </a:lnTo>
                  <a:lnTo>
                    <a:pt x="1554" y="198"/>
                  </a:lnTo>
                  <a:lnTo>
                    <a:pt x="1578" y="186"/>
                  </a:lnTo>
                  <a:lnTo>
                    <a:pt x="1596" y="174"/>
                  </a:lnTo>
                  <a:lnTo>
                    <a:pt x="1614" y="168"/>
                  </a:lnTo>
                  <a:lnTo>
                    <a:pt x="1626" y="168"/>
                  </a:lnTo>
                  <a:lnTo>
                    <a:pt x="1632" y="168"/>
                  </a:lnTo>
                  <a:lnTo>
                    <a:pt x="1644" y="174"/>
                  </a:lnTo>
                  <a:lnTo>
                    <a:pt x="1650" y="180"/>
                  </a:lnTo>
                  <a:lnTo>
                    <a:pt x="1650" y="192"/>
                  </a:lnTo>
                  <a:lnTo>
                    <a:pt x="1662" y="186"/>
                  </a:lnTo>
                  <a:lnTo>
                    <a:pt x="1680" y="180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22" y="192"/>
                  </a:lnTo>
                  <a:lnTo>
                    <a:pt x="1734" y="192"/>
                  </a:lnTo>
                  <a:lnTo>
                    <a:pt x="1746" y="192"/>
                  </a:lnTo>
                  <a:lnTo>
                    <a:pt x="1764" y="198"/>
                  </a:lnTo>
                  <a:lnTo>
                    <a:pt x="1776" y="198"/>
                  </a:lnTo>
                  <a:lnTo>
                    <a:pt x="1800" y="210"/>
                  </a:lnTo>
                  <a:lnTo>
                    <a:pt x="1806" y="210"/>
                  </a:lnTo>
                  <a:lnTo>
                    <a:pt x="1812" y="204"/>
                  </a:lnTo>
                  <a:lnTo>
                    <a:pt x="1854" y="198"/>
                  </a:lnTo>
                  <a:lnTo>
                    <a:pt x="1860" y="198"/>
                  </a:lnTo>
                  <a:lnTo>
                    <a:pt x="1872" y="198"/>
                  </a:lnTo>
                  <a:lnTo>
                    <a:pt x="1878" y="192"/>
                  </a:lnTo>
                  <a:lnTo>
                    <a:pt x="1878" y="186"/>
                  </a:lnTo>
                  <a:lnTo>
                    <a:pt x="1878" y="180"/>
                  </a:lnTo>
                  <a:lnTo>
                    <a:pt x="1872" y="168"/>
                  </a:lnTo>
                  <a:lnTo>
                    <a:pt x="1872" y="162"/>
                  </a:lnTo>
                  <a:lnTo>
                    <a:pt x="1878" y="156"/>
                  </a:lnTo>
                  <a:lnTo>
                    <a:pt x="1908" y="156"/>
                  </a:lnTo>
                  <a:lnTo>
                    <a:pt x="1920" y="162"/>
                  </a:lnTo>
                  <a:lnTo>
                    <a:pt x="1932" y="168"/>
                  </a:lnTo>
                  <a:lnTo>
                    <a:pt x="1944" y="174"/>
                  </a:lnTo>
                  <a:lnTo>
                    <a:pt x="1956" y="174"/>
                  </a:lnTo>
                  <a:lnTo>
                    <a:pt x="1974" y="168"/>
                  </a:lnTo>
                  <a:lnTo>
                    <a:pt x="1986" y="162"/>
                  </a:lnTo>
                  <a:lnTo>
                    <a:pt x="1986" y="156"/>
                  </a:lnTo>
                  <a:lnTo>
                    <a:pt x="1992" y="156"/>
                  </a:lnTo>
                  <a:lnTo>
                    <a:pt x="1992" y="150"/>
                  </a:lnTo>
                  <a:lnTo>
                    <a:pt x="1986" y="138"/>
                  </a:lnTo>
                  <a:lnTo>
                    <a:pt x="1980" y="132"/>
                  </a:lnTo>
                  <a:lnTo>
                    <a:pt x="1986" y="120"/>
                  </a:lnTo>
                  <a:lnTo>
                    <a:pt x="1998" y="114"/>
                  </a:lnTo>
                  <a:lnTo>
                    <a:pt x="2004" y="114"/>
                  </a:lnTo>
                  <a:lnTo>
                    <a:pt x="2016" y="108"/>
                  </a:lnTo>
                  <a:lnTo>
                    <a:pt x="2022" y="102"/>
                  </a:lnTo>
                  <a:lnTo>
                    <a:pt x="2028" y="96"/>
                  </a:lnTo>
                  <a:lnTo>
                    <a:pt x="2034" y="90"/>
                  </a:lnTo>
                  <a:lnTo>
                    <a:pt x="2040" y="90"/>
                  </a:lnTo>
                  <a:lnTo>
                    <a:pt x="2052" y="96"/>
                  </a:lnTo>
                  <a:lnTo>
                    <a:pt x="2064" y="114"/>
                  </a:lnTo>
                  <a:lnTo>
                    <a:pt x="2070" y="126"/>
                  </a:lnTo>
                  <a:lnTo>
                    <a:pt x="2070" y="132"/>
                  </a:lnTo>
                  <a:lnTo>
                    <a:pt x="2076" y="138"/>
                  </a:lnTo>
                  <a:lnTo>
                    <a:pt x="2082" y="144"/>
                  </a:lnTo>
                  <a:lnTo>
                    <a:pt x="2094" y="144"/>
                  </a:lnTo>
                  <a:lnTo>
                    <a:pt x="2112" y="138"/>
                  </a:lnTo>
                  <a:lnTo>
                    <a:pt x="2124" y="132"/>
                  </a:lnTo>
                  <a:lnTo>
                    <a:pt x="2130" y="120"/>
                  </a:lnTo>
                  <a:lnTo>
                    <a:pt x="2136" y="120"/>
                  </a:lnTo>
                  <a:lnTo>
                    <a:pt x="2154" y="120"/>
                  </a:lnTo>
                  <a:lnTo>
                    <a:pt x="2160" y="120"/>
                  </a:lnTo>
                  <a:lnTo>
                    <a:pt x="2166" y="120"/>
                  </a:lnTo>
                  <a:lnTo>
                    <a:pt x="2184" y="108"/>
                  </a:lnTo>
                  <a:lnTo>
                    <a:pt x="2190" y="102"/>
                  </a:lnTo>
                  <a:lnTo>
                    <a:pt x="2208" y="108"/>
                  </a:lnTo>
                  <a:lnTo>
                    <a:pt x="2220" y="114"/>
                  </a:lnTo>
                  <a:lnTo>
                    <a:pt x="2232" y="114"/>
                  </a:lnTo>
                  <a:lnTo>
                    <a:pt x="2238" y="108"/>
                  </a:lnTo>
                  <a:lnTo>
                    <a:pt x="2244" y="114"/>
                  </a:lnTo>
                  <a:lnTo>
                    <a:pt x="2250" y="120"/>
                  </a:lnTo>
                  <a:lnTo>
                    <a:pt x="2262" y="126"/>
                  </a:lnTo>
                  <a:lnTo>
                    <a:pt x="2268" y="126"/>
                  </a:lnTo>
                  <a:lnTo>
                    <a:pt x="2280" y="120"/>
                  </a:lnTo>
                  <a:lnTo>
                    <a:pt x="2298" y="108"/>
                  </a:lnTo>
                  <a:lnTo>
                    <a:pt x="2316" y="102"/>
                  </a:lnTo>
                  <a:lnTo>
                    <a:pt x="2322" y="90"/>
                  </a:lnTo>
                  <a:lnTo>
                    <a:pt x="2328" y="90"/>
                  </a:lnTo>
                  <a:lnTo>
                    <a:pt x="2340" y="90"/>
                  </a:lnTo>
                  <a:lnTo>
                    <a:pt x="2340" y="96"/>
                  </a:lnTo>
                  <a:lnTo>
                    <a:pt x="2346" y="96"/>
                  </a:lnTo>
                  <a:lnTo>
                    <a:pt x="2352" y="96"/>
                  </a:lnTo>
                  <a:lnTo>
                    <a:pt x="2358" y="102"/>
                  </a:lnTo>
                  <a:lnTo>
                    <a:pt x="2376" y="102"/>
                  </a:lnTo>
                  <a:lnTo>
                    <a:pt x="2388" y="96"/>
                  </a:lnTo>
                  <a:lnTo>
                    <a:pt x="2394" y="90"/>
                  </a:lnTo>
                  <a:lnTo>
                    <a:pt x="2400" y="90"/>
                  </a:lnTo>
                  <a:lnTo>
                    <a:pt x="2400" y="78"/>
                  </a:lnTo>
                  <a:lnTo>
                    <a:pt x="2400" y="72"/>
                  </a:lnTo>
                  <a:lnTo>
                    <a:pt x="2394" y="66"/>
                  </a:lnTo>
                  <a:lnTo>
                    <a:pt x="2388" y="66"/>
                  </a:lnTo>
                  <a:lnTo>
                    <a:pt x="2376" y="60"/>
                  </a:lnTo>
                  <a:lnTo>
                    <a:pt x="2370" y="54"/>
                  </a:lnTo>
                  <a:lnTo>
                    <a:pt x="2370" y="48"/>
                  </a:lnTo>
                  <a:lnTo>
                    <a:pt x="2376" y="42"/>
                  </a:lnTo>
                  <a:lnTo>
                    <a:pt x="2382" y="30"/>
                  </a:lnTo>
                  <a:lnTo>
                    <a:pt x="2394" y="18"/>
                  </a:lnTo>
                  <a:lnTo>
                    <a:pt x="2400" y="12"/>
                  </a:lnTo>
                  <a:lnTo>
                    <a:pt x="2406" y="12"/>
                  </a:lnTo>
                  <a:lnTo>
                    <a:pt x="2412" y="18"/>
                  </a:lnTo>
                  <a:lnTo>
                    <a:pt x="2418" y="18"/>
                  </a:lnTo>
                  <a:lnTo>
                    <a:pt x="2430" y="36"/>
                  </a:lnTo>
                  <a:lnTo>
                    <a:pt x="2442" y="54"/>
                  </a:lnTo>
                  <a:lnTo>
                    <a:pt x="2448" y="60"/>
                  </a:lnTo>
                  <a:lnTo>
                    <a:pt x="2454" y="60"/>
                  </a:lnTo>
                  <a:lnTo>
                    <a:pt x="2460" y="60"/>
                  </a:lnTo>
                  <a:lnTo>
                    <a:pt x="2466" y="60"/>
                  </a:lnTo>
                  <a:lnTo>
                    <a:pt x="2472" y="54"/>
                  </a:lnTo>
                  <a:lnTo>
                    <a:pt x="2490" y="42"/>
                  </a:lnTo>
                  <a:lnTo>
                    <a:pt x="2496" y="12"/>
                  </a:lnTo>
                  <a:lnTo>
                    <a:pt x="2502" y="6"/>
                  </a:lnTo>
                  <a:lnTo>
                    <a:pt x="2502" y="0"/>
                  </a:lnTo>
                  <a:lnTo>
                    <a:pt x="2514" y="0"/>
                  </a:lnTo>
                  <a:lnTo>
                    <a:pt x="2520" y="0"/>
                  </a:lnTo>
                  <a:lnTo>
                    <a:pt x="2526" y="6"/>
                  </a:lnTo>
                  <a:lnTo>
                    <a:pt x="2532" y="12"/>
                  </a:lnTo>
                  <a:lnTo>
                    <a:pt x="2538" y="18"/>
                  </a:lnTo>
                  <a:lnTo>
                    <a:pt x="2544" y="24"/>
                  </a:lnTo>
                  <a:lnTo>
                    <a:pt x="2544" y="30"/>
                  </a:lnTo>
                  <a:lnTo>
                    <a:pt x="2550" y="48"/>
                  </a:lnTo>
                  <a:lnTo>
                    <a:pt x="2550" y="54"/>
                  </a:lnTo>
                  <a:lnTo>
                    <a:pt x="2556" y="54"/>
                  </a:lnTo>
                  <a:lnTo>
                    <a:pt x="2562" y="54"/>
                  </a:lnTo>
                  <a:lnTo>
                    <a:pt x="2580" y="42"/>
                  </a:lnTo>
                  <a:lnTo>
                    <a:pt x="2586" y="36"/>
                  </a:lnTo>
                  <a:lnTo>
                    <a:pt x="2586" y="42"/>
                  </a:lnTo>
                  <a:lnTo>
                    <a:pt x="2586" y="54"/>
                  </a:lnTo>
                  <a:lnTo>
                    <a:pt x="2592" y="54"/>
                  </a:lnTo>
                  <a:lnTo>
                    <a:pt x="2598" y="54"/>
                  </a:lnTo>
                  <a:lnTo>
                    <a:pt x="2604" y="48"/>
                  </a:lnTo>
                  <a:lnTo>
                    <a:pt x="2610" y="30"/>
                  </a:lnTo>
                  <a:lnTo>
                    <a:pt x="2610" y="24"/>
                  </a:lnTo>
                  <a:lnTo>
                    <a:pt x="2616" y="30"/>
                  </a:lnTo>
                  <a:lnTo>
                    <a:pt x="2622" y="30"/>
                  </a:lnTo>
                  <a:lnTo>
                    <a:pt x="2640" y="48"/>
                  </a:lnTo>
                  <a:lnTo>
                    <a:pt x="2658" y="48"/>
                  </a:lnTo>
                  <a:lnTo>
                    <a:pt x="2664" y="54"/>
                  </a:lnTo>
                  <a:lnTo>
                    <a:pt x="2670" y="54"/>
                  </a:lnTo>
                  <a:lnTo>
                    <a:pt x="2670" y="42"/>
                  </a:lnTo>
                  <a:lnTo>
                    <a:pt x="2676" y="36"/>
                  </a:lnTo>
                  <a:lnTo>
                    <a:pt x="2682" y="36"/>
                  </a:lnTo>
                  <a:lnTo>
                    <a:pt x="2706" y="54"/>
                  </a:lnTo>
                  <a:lnTo>
                    <a:pt x="2724" y="36"/>
                  </a:lnTo>
                  <a:lnTo>
                    <a:pt x="2724" y="30"/>
                  </a:lnTo>
                  <a:lnTo>
                    <a:pt x="2730" y="30"/>
                  </a:lnTo>
                  <a:lnTo>
                    <a:pt x="2736" y="36"/>
                  </a:lnTo>
                  <a:lnTo>
                    <a:pt x="2742" y="42"/>
                  </a:lnTo>
                  <a:lnTo>
                    <a:pt x="2742" y="48"/>
                  </a:lnTo>
                  <a:lnTo>
                    <a:pt x="2742" y="60"/>
                  </a:lnTo>
                  <a:lnTo>
                    <a:pt x="2754" y="66"/>
                  </a:lnTo>
                  <a:lnTo>
                    <a:pt x="2754" y="60"/>
                  </a:lnTo>
                  <a:lnTo>
                    <a:pt x="2760" y="54"/>
                  </a:lnTo>
                  <a:lnTo>
                    <a:pt x="2766" y="54"/>
                  </a:lnTo>
                  <a:lnTo>
                    <a:pt x="2766" y="42"/>
                  </a:lnTo>
                  <a:lnTo>
                    <a:pt x="2772" y="42"/>
                  </a:lnTo>
                  <a:lnTo>
                    <a:pt x="2778" y="42"/>
                  </a:lnTo>
                  <a:lnTo>
                    <a:pt x="2778" y="48"/>
                  </a:lnTo>
                  <a:lnTo>
                    <a:pt x="2784" y="48"/>
                  </a:lnTo>
                  <a:lnTo>
                    <a:pt x="2790" y="48"/>
                  </a:lnTo>
                  <a:lnTo>
                    <a:pt x="2814" y="36"/>
                  </a:lnTo>
                  <a:lnTo>
                    <a:pt x="2826" y="42"/>
                  </a:lnTo>
                  <a:lnTo>
                    <a:pt x="2838" y="36"/>
                  </a:lnTo>
                  <a:lnTo>
                    <a:pt x="2850" y="36"/>
                  </a:lnTo>
                  <a:lnTo>
                    <a:pt x="2856" y="42"/>
                  </a:lnTo>
                  <a:lnTo>
                    <a:pt x="2856" y="48"/>
                  </a:lnTo>
                  <a:lnTo>
                    <a:pt x="2856" y="54"/>
                  </a:lnTo>
                  <a:lnTo>
                    <a:pt x="2850" y="54"/>
                  </a:lnTo>
                  <a:lnTo>
                    <a:pt x="2844" y="60"/>
                  </a:lnTo>
                  <a:lnTo>
                    <a:pt x="2850" y="66"/>
                  </a:lnTo>
                  <a:lnTo>
                    <a:pt x="2856" y="66"/>
                  </a:lnTo>
                  <a:lnTo>
                    <a:pt x="2862" y="60"/>
                  </a:lnTo>
                  <a:lnTo>
                    <a:pt x="2868" y="60"/>
                  </a:lnTo>
                  <a:lnTo>
                    <a:pt x="2868" y="54"/>
                  </a:lnTo>
                  <a:lnTo>
                    <a:pt x="2886" y="60"/>
                  </a:lnTo>
                  <a:lnTo>
                    <a:pt x="2892" y="66"/>
                  </a:lnTo>
                  <a:lnTo>
                    <a:pt x="2898" y="60"/>
                  </a:lnTo>
                  <a:lnTo>
                    <a:pt x="2904" y="60"/>
                  </a:lnTo>
                  <a:lnTo>
                    <a:pt x="2904" y="66"/>
                  </a:lnTo>
                  <a:lnTo>
                    <a:pt x="2922" y="60"/>
                  </a:lnTo>
                  <a:lnTo>
                    <a:pt x="2934" y="66"/>
                  </a:lnTo>
                  <a:lnTo>
                    <a:pt x="2940" y="48"/>
                  </a:lnTo>
                  <a:lnTo>
                    <a:pt x="2940" y="42"/>
                  </a:lnTo>
                  <a:lnTo>
                    <a:pt x="2946" y="42"/>
                  </a:lnTo>
                  <a:lnTo>
                    <a:pt x="2958" y="48"/>
                  </a:lnTo>
                  <a:lnTo>
                    <a:pt x="2964" y="54"/>
                  </a:lnTo>
                  <a:lnTo>
                    <a:pt x="2970" y="60"/>
                  </a:lnTo>
                  <a:lnTo>
                    <a:pt x="2976" y="60"/>
                  </a:lnTo>
                  <a:lnTo>
                    <a:pt x="2994" y="72"/>
                  </a:lnTo>
                  <a:lnTo>
                    <a:pt x="3000" y="66"/>
                  </a:lnTo>
                  <a:lnTo>
                    <a:pt x="3006" y="66"/>
                  </a:lnTo>
                  <a:lnTo>
                    <a:pt x="3012" y="60"/>
                  </a:lnTo>
                  <a:lnTo>
                    <a:pt x="3036" y="60"/>
                  </a:lnTo>
                  <a:lnTo>
                    <a:pt x="3042" y="60"/>
                  </a:lnTo>
                  <a:lnTo>
                    <a:pt x="3048" y="54"/>
                  </a:lnTo>
                  <a:lnTo>
                    <a:pt x="3054" y="42"/>
                  </a:lnTo>
                  <a:lnTo>
                    <a:pt x="3060" y="42"/>
                  </a:lnTo>
                  <a:lnTo>
                    <a:pt x="3066" y="36"/>
                  </a:lnTo>
                  <a:lnTo>
                    <a:pt x="3072" y="36"/>
                  </a:lnTo>
                  <a:lnTo>
                    <a:pt x="3084" y="48"/>
                  </a:lnTo>
                  <a:lnTo>
                    <a:pt x="3096" y="54"/>
                  </a:lnTo>
                  <a:lnTo>
                    <a:pt x="3108" y="48"/>
                  </a:lnTo>
                  <a:lnTo>
                    <a:pt x="3120" y="54"/>
                  </a:lnTo>
                  <a:lnTo>
                    <a:pt x="3126" y="54"/>
                  </a:lnTo>
                  <a:lnTo>
                    <a:pt x="3144" y="48"/>
                  </a:lnTo>
                  <a:lnTo>
                    <a:pt x="3150" y="48"/>
                  </a:lnTo>
                  <a:lnTo>
                    <a:pt x="3162" y="54"/>
                  </a:lnTo>
                  <a:lnTo>
                    <a:pt x="3162" y="60"/>
                  </a:lnTo>
                  <a:lnTo>
                    <a:pt x="3162" y="84"/>
                  </a:lnTo>
                  <a:lnTo>
                    <a:pt x="3156" y="102"/>
                  </a:lnTo>
                  <a:lnTo>
                    <a:pt x="3156" y="114"/>
                  </a:lnTo>
                  <a:lnTo>
                    <a:pt x="3162" y="120"/>
                  </a:lnTo>
                  <a:lnTo>
                    <a:pt x="3174" y="114"/>
                  </a:lnTo>
                  <a:lnTo>
                    <a:pt x="3186" y="114"/>
                  </a:lnTo>
                  <a:lnTo>
                    <a:pt x="3204" y="102"/>
                  </a:lnTo>
                  <a:lnTo>
                    <a:pt x="3210" y="102"/>
                  </a:lnTo>
                  <a:lnTo>
                    <a:pt x="3216" y="108"/>
                  </a:lnTo>
                  <a:lnTo>
                    <a:pt x="3216" y="114"/>
                  </a:lnTo>
                  <a:lnTo>
                    <a:pt x="3216" y="132"/>
                  </a:lnTo>
                  <a:lnTo>
                    <a:pt x="3222" y="150"/>
                  </a:lnTo>
                  <a:lnTo>
                    <a:pt x="3228" y="162"/>
                  </a:lnTo>
                  <a:lnTo>
                    <a:pt x="3228" y="168"/>
                  </a:lnTo>
                  <a:lnTo>
                    <a:pt x="3234" y="168"/>
                  </a:lnTo>
                  <a:lnTo>
                    <a:pt x="3228" y="156"/>
                  </a:lnTo>
                  <a:lnTo>
                    <a:pt x="3228" y="144"/>
                  </a:lnTo>
                  <a:lnTo>
                    <a:pt x="3240" y="138"/>
                  </a:lnTo>
                  <a:lnTo>
                    <a:pt x="3246" y="138"/>
                  </a:lnTo>
                  <a:lnTo>
                    <a:pt x="3252" y="138"/>
                  </a:lnTo>
                  <a:lnTo>
                    <a:pt x="3258" y="138"/>
                  </a:lnTo>
                  <a:lnTo>
                    <a:pt x="3276" y="144"/>
                  </a:lnTo>
                  <a:lnTo>
                    <a:pt x="3288" y="150"/>
                  </a:lnTo>
                  <a:lnTo>
                    <a:pt x="3288" y="156"/>
                  </a:lnTo>
                  <a:lnTo>
                    <a:pt x="3288" y="168"/>
                  </a:lnTo>
                  <a:lnTo>
                    <a:pt x="3288" y="174"/>
                  </a:lnTo>
                  <a:lnTo>
                    <a:pt x="3312" y="186"/>
                  </a:lnTo>
                  <a:lnTo>
                    <a:pt x="3318" y="192"/>
                  </a:lnTo>
                  <a:lnTo>
                    <a:pt x="3330" y="210"/>
                  </a:lnTo>
                  <a:lnTo>
                    <a:pt x="3336" y="210"/>
                  </a:lnTo>
                  <a:lnTo>
                    <a:pt x="3342" y="210"/>
                  </a:lnTo>
                  <a:lnTo>
                    <a:pt x="3348" y="210"/>
                  </a:lnTo>
                  <a:lnTo>
                    <a:pt x="3354" y="210"/>
                  </a:lnTo>
                  <a:lnTo>
                    <a:pt x="3360" y="210"/>
                  </a:lnTo>
                  <a:lnTo>
                    <a:pt x="3354" y="216"/>
                  </a:lnTo>
                  <a:lnTo>
                    <a:pt x="3348" y="222"/>
                  </a:lnTo>
                  <a:lnTo>
                    <a:pt x="3354" y="234"/>
                  </a:lnTo>
                  <a:lnTo>
                    <a:pt x="3360" y="234"/>
                  </a:lnTo>
                  <a:lnTo>
                    <a:pt x="3366" y="240"/>
                  </a:lnTo>
                  <a:lnTo>
                    <a:pt x="3372" y="246"/>
                  </a:lnTo>
                  <a:lnTo>
                    <a:pt x="3384" y="258"/>
                  </a:lnTo>
                  <a:lnTo>
                    <a:pt x="3402" y="270"/>
                  </a:lnTo>
                  <a:lnTo>
                    <a:pt x="3408" y="276"/>
                  </a:lnTo>
                  <a:lnTo>
                    <a:pt x="3420" y="288"/>
                  </a:lnTo>
                  <a:lnTo>
                    <a:pt x="3426" y="294"/>
                  </a:lnTo>
                  <a:lnTo>
                    <a:pt x="3432" y="294"/>
                  </a:lnTo>
                  <a:lnTo>
                    <a:pt x="3438" y="300"/>
                  </a:lnTo>
                  <a:lnTo>
                    <a:pt x="3444" y="306"/>
                  </a:lnTo>
                  <a:lnTo>
                    <a:pt x="3462" y="330"/>
                  </a:lnTo>
                  <a:lnTo>
                    <a:pt x="3468" y="336"/>
                  </a:lnTo>
                  <a:lnTo>
                    <a:pt x="3480" y="336"/>
                  </a:lnTo>
                  <a:lnTo>
                    <a:pt x="3486" y="336"/>
                  </a:lnTo>
                  <a:lnTo>
                    <a:pt x="3498" y="342"/>
                  </a:lnTo>
                  <a:lnTo>
                    <a:pt x="3510" y="348"/>
                  </a:lnTo>
                  <a:lnTo>
                    <a:pt x="3522" y="354"/>
                  </a:lnTo>
                  <a:lnTo>
                    <a:pt x="3522" y="366"/>
                  </a:lnTo>
                  <a:lnTo>
                    <a:pt x="3528" y="366"/>
                  </a:lnTo>
                  <a:lnTo>
                    <a:pt x="3528" y="372"/>
                  </a:lnTo>
                  <a:lnTo>
                    <a:pt x="3528" y="378"/>
                  </a:lnTo>
                  <a:lnTo>
                    <a:pt x="3522" y="384"/>
                  </a:lnTo>
                  <a:lnTo>
                    <a:pt x="3504" y="378"/>
                  </a:lnTo>
                  <a:lnTo>
                    <a:pt x="3498" y="384"/>
                  </a:lnTo>
                  <a:lnTo>
                    <a:pt x="3498" y="390"/>
                  </a:lnTo>
                  <a:lnTo>
                    <a:pt x="3504" y="408"/>
                  </a:lnTo>
                  <a:lnTo>
                    <a:pt x="3522" y="408"/>
                  </a:lnTo>
                  <a:lnTo>
                    <a:pt x="3534" y="414"/>
                  </a:lnTo>
                  <a:lnTo>
                    <a:pt x="3534" y="420"/>
                  </a:lnTo>
                  <a:lnTo>
                    <a:pt x="3522" y="426"/>
                  </a:lnTo>
                  <a:lnTo>
                    <a:pt x="3516" y="438"/>
                  </a:lnTo>
                  <a:lnTo>
                    <a:pt x="3516" y="450"/>
                  </a:lnTo>
                  <a:lnTo>
                    <a:pt x="3516" y="462"/>
                  </a:lnTo>
                  <a:lnTo>
                    <a:pt x="3534" y="450"/>
                  </a:lnTo>
                  <a:lnTo>
                    <a:pt x="3540" y="450"/>
                  </a:lnTo>
                  <a:lnTo>
                    <a:pt x="3546" y="450"/>
                  </a:lnTo>
                  <a:lnTo>
                    <a:pt x="3552" y="456"/>
                  </a:lnTo>
                  <a:lnTo>
                    <a:pt x="3564" y="450"/>
                  </a:lnTo>
                  <a:lnTo>
                    <a:pt x="3570" y="456"/>
                  </a:lnTo>
                  <a:lnTo>
                    <a:pt x="3570" y="462"/>
                  </a:lnTo>
                  <a:lnTo>
                    <a:pt x="3570" y="480"/>
                  </a:lnTo>
                  <a:lnTo>
                    <a:pt x="3576" y="486"/>
                  </a:lnTo>
                  <a:lnTo>
                    <a:pt x="3582" y="492"/>
                  </a:lnTo>
                  <a:lnTo>
                    <a:pt x="3588" y="486"/>
                  </a:lnTo>
                  <a:lnTo>
                    <a:pt x="3594" y="486"/>
                  </a:lnTo>
                  <a:lnTo>
                    <a:pt x="3600" y="486"/>
                  </a:lnTo>
                  <a:lnTo>
                    <a:pt x="3606" y="486"/>
                  </a:lnTo>
                  <a:lnTo>
                    <a:pt x="3612" y="492"/>
                  </a:lnTo>
                  <a:lnTo>
                    <a:pt x="3612" y="498"/>
                  </a:lnTo>
                  <a:lnTo>
                    <a:pt x="3612" y="504"/>
                  </a:lnTo>
                  <a:lnTo>
                    <a:pt x="3606" y="516"/>
                  </a:lnTo>
                  <a:lnTo>
                    <a:pt x="3606" y="522"/>
                  </a:lnTo>
                  <a:lnTo>
                    <a:pt x="3606" y="534"/>
                  </a:lnTo>
                  <a:lnTo>
                    <a:pt x="3618" y="546"/>
                  </a:lnTo>
                  <a:lnTo>
                    <a:pt x="3618" y="552"/>
                  </a:lnTo>
                  <a:lnTo>
                    <a:pt x="3630" y="558"/>
                  </a:lnTo>
                  <a:lnTo>
                    <a:pt x="3636" y="570"/>
                  </a:lnTo>
                  <a:lnTo>
                    <a:pt x="3636" y="576"/>
                  </a:lnTo>
                  <a:lnTo>
                    <a:pt x="3648" y="564"/>
                  </a:lnTo>
                  <a:lnTo>
                    <a:pt x="3660" y="546"/>
                  </a:lnTo>
                  <a:lnTo>
                    <a:pt x="3666" y="546"/>
                  </a:lnTo>
                  <a:lnTo>
                    <a:pt x="3672" y="540"/>
                  </a:lnTo>
                  <a:lnTo>
                    <a:pt x="3690" y="540"/>
                  </a:lnTo>
                  <a:lnTo>
                    <a:pt x="3714" y="540"/>
                  </a:lnTo>
                  <a:lnTo>
                    <a:pt x="3732" y="534"/>
                  </a:lnTo>
                  <a:lnTo>
                    <a:pt x="3738" y="528"/>
                  </a:lnTo>
                  <a:lnTo>
                    <a:pt x="3750" y="510"/>
                  </a:lnTo>
                  <a:lnTo>
                    <a:pt x="3762" y="504"/>
                  </a:lnTo>
                  <a:lnTo>
                    <a:pt x="3768" y="504"/>
                  </a:lnTo>
                  <a:lnTo>
                    <a:pt x="3774" y="510"/>
                  </a:lnTo>
                  <a:lnTo>
                    <a:pt x="3780" y="510"/>
                  </a:lnTo>
                  <a:lnTo>
                    <a:pt x="3780" y="522"/>
                  </a:lnTo>
                  <a:lnTo>
                    <a:pt x="3774" y="528"/>
                  </a:lnTo>
                  <a:lnTo>
                    <a:pt x="3768" y="540"/>
                  </a:lnTo>
                  <a:lnTo>
                    <a:pt x="3762" y="546"/>
                  </a:lnTo>
                  <a:lnTo>
                    <a:pt x="3762" y="552"/>
                  </a:lnTo>
                  <a:lnTo>
                    <a:pt x="3768" y="558"/>
                  </a:lnTo>
                  <a:lnTo>
                    <a:pt x="3774" y="570"/>
                  </a:lnTo>
                  <a:lnTo>
                    <a:pt x="3786" y="582"/>
                  </a:lnTo>
                  <a:lnTo>
                    <a:pt x="3792" y="588"/>
                  </a:lnTo>
                  <a:lnTo>
                    <a:pt x="3798" y="588"/>
                  </a:lnTo>
                  <a:lnTo>
                    <a:pt x="3816" y="576"/>
                  </a:lnTo>
                  <a:lnTo>
                    <a:pt x="3822" y="576"/>
                  </a:lnTo>
                  <a:lnTo>
                    <a:pt x="3840" y="576"/>
                  </a:lnTo>
                  <a:lnTo>
                    <a:pt x="3846" y="576"/>
                  </a:lnTo>
                  <a:lnTo>
                    <a:pt x="3852" y="570"/>
                  </a:lnTo>
                  <a:lnTo>
                    <a:pt x="3864" y="564"/>
                  </a:lnTo>
                  <a:lnTo>
                    <a:pt x="3882" y="552"/>
                  </a:lnTo>
                  <a:lnTo>
                    <a:pt x="3900" y="546"/>
                  </a:lnTo>
                  <a:lnTo>
                    <a:pt x="3906" y="546"/>
                  </a:lnTo>
                  <a:lnTo>
                    <a:pt x="3924" y="546"/>
                  </a:lnTo>
                  <a:lnTo>
                    <a:pt x="3948" y="552"/>
                  </a:lnTo>
                  <a:lnTo>
                    <a:pt x="3960" y="552"/>
                  </a:lnTo>
                  <a:lnTo>
                    <a:pt x="3966" y="552"/>
                  </a:lnTo>
                  <a:lnTo>
                    <a:pt x="3984" y="534"/>
                  </a:lnTo>
                  <a:lnTo>
                    <a:pt x="3990" y="534"/>
                  </a:lnTo>
                  <a:lnTo>
                    <a:pt x="4002" y="546"/>
                  </a:lnTo>
                  <a:lnTo>
                    <a:pt x="4002" y="552"/>
                  </a:lnTo>
                  <a:lnTo>
                    <a:pt x="4002" y="558"/>
                  </a:lnTo>
                  <a:lnTo>
                    <a:pt x="3996" y="558"/>
                  </a:lnTo>
                  <a:lnTo>
                    <a:pt x="3978" y="564"/>
                  </a:lnTo>
                  <a:lnTo>
                    <a:pt x="3972" y="570"/>
                  </a:lnTo>
                  <a:lnTo>
                    <a:pt x="3966" y="576"/>
                  </a:lnTo>
                  <a:lnTo>
                    <a:pt x="3960" y="582"/>
                  </a:lnTo>
                  <a:lnTo>
                    <a:pt x="3960" y="588"/>
                  </a:lnTo>
                  <a:lnTo>
                    <a:pt x="3966" y="594"/>
                  </a:lnTo>
                  <a:lnTo>
                    <a:pt x="3978" y="600"/>
                  </a:lnTo>
                  <a:lnTo>
                    <a:pt x="3984" y="600"/>
                  </a:lnTo>
                  <a:lnTo>
                    <a:pt x="3990" y="594"/>
                  </a:lnTo>
                  <a:lnTo>
                    <a:pt x="4002" y="576"/>
                  </a:lnTo>
                  <a:lnTo>
                    <a:pt x="4008" y="576"/>
                  </a:lnTo>
                  <a:lnTo>
                    <a:pt x="4014" y="576"/>
                  </a:lnTo>
                  <a:lnTo>
                    <a:pt x="4020" y="582"/>
                  </a:lnTo>
                  <a:lnTo>
                    <a:pt x="4026" y="594"/>
                  </a:lnTo>
                  <a:lnTo>
                    <a:pt x="4026" y="600"/>
                  </a:lnTo>
                  <a:lnTo>
                    <a:pt x="4038" y="600"/>
                  </a:lnTo>
                  <a:lnTo>
                    <a:pt x="4038" y="606"/>
                  </a:lnTo>
                  <a:lnTo>
                    <a:pt x="4068" y="612"/>
                  </a:lnTo>
                  <a:lnTo>
                    <a:pt x="4098" y="624"/>
                  </a:lnTo>
                  <a:lnTo>
                    <a:pt x="4098" y="630"/>
                  </a:lnTo>
                  <a:lnTo>
                    <a:pt x="4098" y="636"/>
                  </a:lnTo>
                  <a:lnTo>
                    <a:pt x="4098" y="660"/>
                  </a:lnTo>
                  <a:lnTo>
                    <a:pt x="4098" y="666"/>
                  </a:lnTo>
                  <a:lnTo>
                    <a:pt x="4098" y="678"/>
                  </a:lnTo>
                  <a:lnTo>
                    <a:pt x="4098" y="684"/>
                  </a:lnTo>
                  <a:lnTo>
                    <a:pt x="4098" y="708"/>
                  </a:lnTo>
                  <a:lnTo>
                    <a:pt x="4104" y="720"/>
                  </a:lnTo>
                  <a:lnTo>
                    <a:pt x="4116" y="732"/>
                  </a:lnTo>
                  <a:lnTo>
                    <a:pt x="4146" y="756"/>
                  </a:lnTo>
                  <a:lnTo>
                    <a:pt x="4146" y="762"/>
                  </a:lnTo>
                  <a:lnTo>
                    <a:pt x="4140" y="774"/>
                  </a:lnTo>
                  <a:lnTo>
                    <a:pt x="4134" y="786"/>
                  </a:lnTo>
                  <a:lnTo>
                    <a:pt x="4134" y="792"/>
                  </a:lnTo>
                  <a:lnTo>
                    <a:pt x="4140" y="798"/>
                  </a:lnTo>
                  <a:lnTo>
                    <a:pt x="4146" y="798"/>
                  </a:lnTo>
                  <a:lnTo>
                    <a:pt x="4152" y="804"/>
                  </a:lnTo>
                  <a:lnTo>
                    <a:pt x="4158" y="810"/>
                  </a:lnTo>
                  <a:lnTo>
                    <a:pt x="4164" y="816"/>
                  </a:lnTo>
                  <a:lnTo>
                    <a:pt x="4164" y="834"/>
                  </a:lnTo>
                  <a:lnTo>
                    <a:pt x="4164" y="846"/>
                  </a:lnTo>
                  <a:lnTo>
                    <a:pt x="4170" y="864"/>
                  </a:lnTo>
                  <a:lnTo>
                    <a:pt x="4182" y="876"/>
                  </a:lnTo>
                  <a:lnTo>
                    <a:pt x="4200" y="888"/>
                  </a:lnTo>
                  <a:lnTo>
                    <a:pt x="4200" y="894"/>
                  </a:lnTo>
                  <a:lnTo>
                    <a:pt x="4194" y="894"/>
                  </a:lnTo>
                  <a:lnTo>
                    <a:pt x="4182" y="888"/>
                  </a:lnTo>
                  <a:lnTo>
                    <a:pt x="4182" y="894"/>
                  </a:lnTo>
                  <a:lnTo>
                    <a:pt x="4176" y="894"/>
                  </a:lnTo>
                  <a:lnTo>
                    <a:pt x="4170" y="906"/>
                  </a:lnTo>
                  <a:lnTo>
                    <a:pt x="4176" y="918"/>
                  </a:lnTo>
                  <a:lnTo>
                    <a:pt x="4236" y="966"/>
                  </a:lnTo>
                  <a:lnTo>
                    <a:pt x="4248" y="978"/>
                  </a:lnTo>
                  <a:lnTo>
                    <a:pt x="4254" y="984"/>
                  </a:lnTo>
                  <a:lnTo>
                    <a:pt x="4254" y="996"/>
                  </a:lnTo>
                  <a:lnTo>
                    <a:pt x="4242" y="1002"/>
                  </a:lnTo>
                  <a:lnTo>
                    <a:pt x="4236" y="1008"/>
                  </a:lnTo>
                  <a:lnTo>
                    <a:pt x="4224" y="1002"/>
                  </a:lnTo>
                  <a:lnTo>
                    <a:pt x="4218" y="1002"/>
                  </a:lnTo>
                  <a:lnTo>
                    <a:pt x="4212" y="1008"/>
                  </a:lnTo>
                  <a:lnTo>
                    <a:pt x="4212" y="1014"/>
                  </a:lnTo>
                  <a:lnTo>
                    <a:pt x="4218" y="1032"/>
                  </a:lnTo>
                  <a:lnTo>
                    <a:pt x="4230" y="1056"/>
                  </a:lnTo>
                  <a:lnTo>
                    <a:pt x="4236" y="1062"/>
                  </a:lnTo>
                  <a:lnTo>
                    <a:pt x="4242" y="1068"/>
                  </a:lnTo>
                  <a:lnTo>
                    <a:pt x="4248" y="1068"/>
                  </a:lnTo>
                  <a:lnTo>
                    <a:pt x="4266" y="1056"/>
                  </a:lnTo>
                  <a:lnTo>
                    <a:pt x="4278" y="1050"/>
                  </a:lnTo>
                  <a:lnTo>
                    <a:pt x="4284" y="1056"/>
                  </a:lnTo>
                  <a:lnTo>
                    <a:pt x="4302" y="1062"/>
                  </a:lnTo>
                  <a:lnTo>
                    <a:pt x="4308" y="1068"/>
                  </a:lnTo>
                  <a:lnTo>
                    <a:pt x="4314" y="1068"/>
                  </a:lnTo>
                  <a:lnTo>
                    <a:pt x="4350" y="1086"/>
                  </a:lnTo>
                  <a:lnTo>
                    <a:pt x="4368" y="1098"/>
                  </a:lnTo>
                  <a:lnTo>
                    <a:pt x="4374" y="1104"/>
                  </a:lnTo>
                  <a:lnTo>
                    <a:pt x="4368" y="1110"/>
                  </a:lnTo>
                  <a:lnTo>
                    <a:pt x="4374" y="1116"/>
                  </a:lnTo>
                  <a:lnTo>
                    <a:pt x="4374" y="1128"/>
                  </a:lnTo>
                  <a:lnTo>
                    <a:pt x="4362" y="1158"/>
                  </a:lnTo>
                  <a:lnTo>
                    <a:pt x="4362" y="1164"/>
                  </a:lnTo>
                  <a:lnTo>
                    <a:pt x="4362" y="1170"/>
                  </a:lnTo>
                  <a:lnTo>
                    <a:pt x="4368" y="1182"/>
                  </a:lnTo>
                  <a:lnTo>
                    <a:pt x="4392" y="1194"/>
                  </a:lnTo>
                  <a:lnTo>
                    <a:pt x="4404" y="1200"/>
                  </a:lnTo>
                  <a:lnTo>
                    <a:pt x="4422" y="1200"/>
                  </a:lnTo>
                  <a:lnTo>
                    <a:pt x="4446" y="1194"/>
                  </a:lnTo>
                  <a:lnTo>
                    <a:pt x="4458" y="1182"/>
                  </a:lnTo>
                  <a:lnTo>
                    <a:pt x="4464" y="1182"/>
                  </a:lnTo>
                  <a:lnTo>
                    <a:pt x="4482" y="1176"/>
                  </a:lnTo>
                  <a:lnTo>
                    <a:pt x="4488" y="1176"/>
                  </a:lnTo>
                  <a:lnTo>
                    <a:pt x="4494" y="1170"/>
                  </a:lnTo>
                  <a:lnTo>
                    <a:pt x="4500" y="1170"/>
                  </a:lnTo>
                  <a:lnTo>
                    <a:pt x="4500" y="1176"/>
                  </a:lnTo>
                  <a:lnTo>
                    <a:pt x="4500" y="1188"/>
                  </a:lnTo>
                  <a:lnTo>
                    <a:pt x="4506" y="1200"/>
                  </a:lnTo>
                  <a:lnTo>
                    <a:pt x="4500" y="1218"/>
                  </a:lnTo>
                  <a:lnTo>
                    <a:pt x="4506" y="1224"/>
                  </a:lnTo>
                  <a:lnTo>
                    <a:pt x="4512" y="1230"/>
                  </a:lnTo>
                  <a:lnTo>
                    <a:pt x="4524" y="1230"/>
                  </a:lnTo>
                  <a:lnTo>
                    <a:pt x="4530" y="1230"/>
                  </a:lnTo>
                  <a:lnTo>
                    <a:pt x="4536" y="1236"/>
                  </a:lnTo>
                  <a:lnTo>
                    <a:pt x="4536" y="1242"/>
                  </a:lnTo>
                  <a:lnTo>
                    <a:pt x="4524" y="1254"/>
                  </a:lnTo>
                  <a:lnTo>
                    <a:pt x="4518" y="1272"/>
                  </a:lnTo>
                  <a:lnTo>
                    <a:pt x="4518" y="1278"/>
                  </a:lnTo>
                  <a:lnTo>
                    <a:pt x="4518" y="1296"/>
                  </a:lnTo>
                  <a:lnTo>
                    <a:pt x="4518" y="1314"/>
                  </a:lnTo>
                  <a:lnTo>
                    <a:pt x="4542" y="1332"/>
                  </a:lnTo>
                  <a:lnTo>
                    <a:pt x="4554" y="1332"/>
                  </a:lnTo>
                  <a:lnTo>
                    <a:pt x="4560" y="1332"/>
                  </a:lnTo>
                  <a:lnTo>
                    <a:pt x="4572" y="1338"/>
                  </a:lnTo>
                  <a:lnTo>
                    <a:pt x="4596" y="1350"/>
                  </a:lnTo>
                  <a:lnTo>
                    <a:pt x="4614" y="1368"/>
                  </a:lnTo>
                  <a:lnTo>
                    <a:pt x="4620" y="1374"/>
                  </a:lnTo>
                  <a:lnTo>
                    <a:pt x="4626" y="1386"/>
                  </a:lnTo>
                  <a:lnTo>
                    <a:pt x="4626" y="1404"/>
                  </a:lnTo>
                  <a:lnTo>
                    <a:pt x="4620" y="1410"/>
                  </a:lnTo>
                  <a:lnTo>
                    <a:pt x="4614" y="1410"/>
                  </a:lnTo>
                  <a:lnTo>
                    <a:pt x="4608" y="1416"/>
                  </a:lnTo>
                  <a:lnTo>
                    <a:pt x="4596" y="1410"/>
                  </a:lnTo>
                  <a:lnTo>
                    <a:pt x="4578" y="1404"/>
                  </a:lnTo>
                  <a:lnTo>
                    <a:pt x="4572" y="1404"/>
                  </a:lnTo>
                  <a:lnTo>
                    <a:pt x="4566" y="1410"/>
                  </a:lnTo>
                  <a:lnTo>
                    <a:pt x="4566" y="1416"/>
                  </a:lnTo>
                  <a:lnTo>
                    <a:pt x="4566" y="1422"/>
                  </a:lnTo>
                  <a:lnTo>
                    <a:pt x="4590" y="1440"/>
                  </a:lnTo>
                  <a:lnTo>
                    <a:pt x="4602" y="1452"/>
                  </a:lnTo>
                  <a:lnTo>
                    <a:pt x="4614" y="1470"/>
                  </a:lnTo>
                  <a:lnTo>
                    <a:pt x="4626" y="1470"/>
                  </a:lnTo>
                  <a:lnTo>
                    <a:pt x="4632" y="1464"/>
                  </a:lnTo>
                  <a:lnTo>
                    <a:pt x="4644" y="1458"/>
                  </a:lnTo>
                  <a:lnTo>
                    <a:pt x="4650" y="1458"/>
                  </a:lnTo>
                  <a:lnTo>
                    <a:pt x="4656" y="1458"/>
                  </a:lnTo>
                  <a:lnTo>
                    <a:pt x="4668" y="1464"/>
                  </a:lnTo>
                  <a:lnTo>
                    <a:pt x="4674" y="1476"/>
                  </a:lnTo>
                  <a:lnTo>
                    <a:pt x="4668" y="1488"/>
                  </a:lnTo>
                  <a:lnTo>
                    <a:pt x="4668" y="1506"/>
                  </a:lnTo>
                  <a:lnTo>
                    <a:pt x="4668" y="1518"/>
                  </a:lnTo>
                  <a:lnTo>
                    <a:pt x="4674" y="1518"/>
                  </a:lnTo>
                  <a:lnTo>
                    <a:pt x="4680" y="1524"/>
                  </a:lnTo>
                  <a:lnTo>
                    <a:pt x="4692" y="1530"/>
                  </a:lnTo>
                  <a:lnTo>
                    <a:pt x="4704" y="1536"/>
                  </a:lnTo>
                  <a:lnTo>
                    <a:pt x="4722" y="1548"/>
                  </a:lnTo>
                  <a:lnTo>
                    <a:pt x="4728" y="1560"/>
                  </a:lnTo>
                  <a:lnTo>
                    <a:pt x="4746" y="1566"/>
                  </a:lnTo>
                  <a:lnTo>
                    <a:pt x="4758" y="1572"/>
                  </a:lnTo>
                  <a:lnTo>
                    <a:pt x="4770" y="1584"/>
                  </a:lnTo>
                  <a:lnTo>
                    <a:pt x="4776" y="1584"/>
                  </a:lnTo>
                  <a:lnTo>
                    <a:pt x="4776" y="1572"/>
                  </a:lnTo>
                  <a:lnTo>
                    <a:pt x="4782" y="1566"/>
                  </a:lnTo>
                  <a:lnTo>
                    <a:pt x="4788" y="1566"/>
                  </a:lnTo>
                  <a:lnTo>
                    <a:pt x="4794" y="1566"/>
                  </a:lnTo>
                  <a:lnTo>
                    <a:pt x="4800" y="1566"/>
                  </a:lnTo>
                  <a:lnTo>
                    <a:pt x="4824" y="1572"/>
                  </a:lnTo>
                  <a:lnTo>
                    <a:pt x="4842" y="1584"/>
                  </a:lnTo>
                  <a:lnTo>
                    <a:pt x="4860" y="1596"/>
                  </a:lnTo>
                  <a:lnTo>
                    <a:pt x="4872" y="1608"/>
                  </a:lnTo>
                  <a:lnTo>
                    <a:pt x="4896" y="1632"/>
                  </a:lnTo>
                  <a:lnTo>
                    <a:pt x="4902" y="1638"/>
                  </a:lnTo>
                  <a:lnTo>
                    <a:pt x="4920" y="1644"/>
                  </a:lnTo>
                  <a:lnTo>
                    <a:pt x="4956" y="1650"/>
                  </a:lnTo>
                  <a:lnTo>
                    <a:pt x="4962" y="1656"/>
                  </a:lnTo>
                  <a:lnTo>
                    <a:pt x="4974" y="1662"/>
                  </a:lnTo>
                  <a:lnTo>
                    <a:pt x="4980" y="1668"/>
                  </a:lnTo>
                  <a:lnTo>
                    <a:pt x="4980" y="1674"/>
                  </a:lnTo>
                  <a:lnTo>
                    <a:pt x="4986" y="1680"/>
                  </a:lnTo>
                  <a:lnTo>
                    <a:pt x="4998" y="1710"/>
                  </a:lnTo>
                  <a:lnTo>
                    <a:pt x="5004" y="1764"/>
                  </a:lnTo>
                  <a:lnTo>
                    <a:pt x="5004" y="1770"/>
                  </a:lnTo>
                  <a:lnTo>
                    <a:pt x="5016" y="1782"/>
                  </a:lnTo>
                  <a:lnTo>
                    <a:pt x="5022" y="1794"/>
                  </a:lnTo>
                  <a:lnTo>
                    <a:pt x="5052" y="1812"/>
                  </a:lnTo>
                  <a:lnTo>
                    <a:pt x="5064" y="1824"/>
                  </a:lnTo>
                  <a:lnTo>
                    <a:pt x="5088" y="1836"/>
                  </a:lnTo>
                  <a:lnTo>
                    <a:pt x="5118" y="1836"/>
                  </a:lnTo>
                  <a:lnTo>
                    <a:pt x="5124" y="1842"/>
                  </a:lnTo>
                  <a:lnTo>
                    <a:pt x="5136" y="1848"/>
                  </a:lnTo>
                  <a:lnTo>
                    <a:pt x="5154" y="1866"/>
                  </a:lnTo>
                  <a:lnTo>
                    <a:pt x="5166" y="1884"/>
                  </a:lnTo>
                  <a:lnTo>
                    <a:pt x="5190" y="1896"/>
                  </a:lnTo>
                  <a:lnTo>
                    <a:pt x="5202" y="1896"/>
                  </a:lnTo>
                  <a:lnTo>
                    <a:pt x="5214" y="1902"/>
                  </a:lnTo>
                  <a:lnTo>
                    <a:pt x="5208" y="1908"/>
                  </a:lnTo>
                  <a:lnTo>
                    <a:pt x="5214" y="1920"/>
                  </a:lnTo>
                  <a:lnTo>
                    <a:pt x="5220" y="1926"/>
                  </a:lnTo>
                  <a:lnTo>
                    <a:pt x="5232" y="1926"/>
                  </a:lnTo>
                  <a:lnTo>
                    <a:pt x="5238" y="1932"/>
                  </a:lnTo>
                  <a:lnTo>
                    <a:pt x="5238" y="1938"/>
                  </a:lnTo>
                  <a:lnTo>
                    <a:pt x="5238" y="1944"/>
                  </a:lnTo>
                  <a:lnTo>
                    <a:pt x="5238" y="1956"/>
                  </a:lnTo>
                  <a:lnTo>
                    <a:pt x="5238" y="1962"/>
                  </a:lnTo>
                  <a:lnTo>
                    <a:pt x="5244" y="1968"/>
                  </a:lnTo>
                  <a:lnTo>
                    <a:pt x="5256" y="1968"/>
                  </a:lnTo>
                  <a:lnTo>
                    <a:pt x="5262" y="1968"/>
                  </a:lnTo>
                  <a:lnTo>
                    <a:pt x="5268" y="1974"/>
                  </a:lnTo>
                  <a:lnTo>
                    <a:pt x="5274" y="1974"/>
                  </a:lnTo>
                  <a:lnTo>
                    <a:pt x="5286" y="1974"/>
                  </a:lnTo>
                  <a:lnTo>
                    <a:pt x="5286" y="1980"/>
                  </a:lnTo>
                  <a:lnTo>
                    <a:pt x="5292" y="1980"/>
                  </a:lnTo>
                  <a:lnTo>
                    <a:pt x="5286" y="1986"/>
                  </a:lnTo>
                  <a:lnTo>
                    <a:pt x="5274" y="1992"/>
                  </a:lnTo>
                  <a:lnTo>
                    <a:pt x="5274" y="2004"/>
                  </a:lnTo>
                  <a:lnTo>
                    <a:pt x="5298" y="2010"/>
                  </a:lnTo>
                  <a:lnTo>
                    <a:pt x="5304" y="2016"/>
                  </a:lnTo>
                  <a:lnTo>
                    <a:pt x="5304" y="2022"/>
                  </a:lnTo>
                  <a:lnTo>
                    <a:pt x="5304" y="2040"/>
                  </a:lnTo>
                  <a:lnTo>
                    <a:pt x="5298" y="2046"/>
                  </a:lnTo>
                  <a:lnTo>
                    <a:pt x="5286" y="2046"/>
                  </a:lnTo>
                  <a:lnTo>
                    <a:pt x="5280" y="2052"/>
                  </a:lnTo>
                  <a:lnTo>
                    <a:pt x="5274" y="2052"/>
                  </a:lnTo>
                  <a:lnTo>
                    <a:pt x="5274" y="2070"/>
                  </a:lnTo>
                  <a:lnTo>
                    <a:pt x="5274" y="2076"/>
                  </a:lnTo>
                  <a:lnTo>
                    <a:pt x="5268" y="2088"/>
                  </a:lnTo>
                  <a:lnTo>
                    <a:pt x="5262" y="2100"/>
                  </a:lnTo>
                  <a:lnTo>
                    <a:pt x="5262" y="2106"/>
                  </a:lnTo>
                  <a:lnTo>
                    <a:pt x="5256" y="2112"/>
                  </a:lnTo>
                  <a:lnTo>
                    <a:pt x="5238" y="2112"/>
                  </a:lnTo>
                  <a:lnTo>
                    <a:pt x="5232" y="2112"/>
                  </a:lnTo>
                  <a:lnTo>
                    <a:pt x="5232" y="2118"/>
                  </a:lnTo>
                  <a:lnTo>
                    <a:pt x="5232" y="2130"/>
                  </a:lnTo>
                  <a:lnTo>
                    <a:pt x="5232" y="2142"/>
                  </a:lnTo>
                  <a:lnTo>
                    <a:pt x="5226" y="2160"/>
                  </a:lnTo>
                  <a:lnTo>
                    <a:pt x="5226" y="2166"/>
                  </a:lnTo>
                  <a:lnTo>
                    <a:pt x="5232" y="2178"/>
                  </a:lnTo>
                  <a:lnTo>
                    <a:pt x="5244" y="2184"/>
                  </a:lnTo>
                  <a:lnTo>
                    <a:pt x="5250" y="2184"/>
                  </a:lnTo>
                  <a:lnTo>
                    <a:pt x="5244" y="2196"/>
                  </a:lnTo>
                  <a:lnTo>
                    <a:pt x="5244" y="2202"/>
                  </a:lnTo>
                  <a:lnTo>
                    <a:pt x="5256" y="2226"/>
                  </a:lnTo>
                  <a:lnTo>
                    <a:pt x="5250" y="2238"/>
                  </a:lnTo>
                  <a:lnTo>
                    <a:pt x="5250" y="2250"/>
                  </a:lnTo>
                  <a:lnTo>
                    <a:pt x="5250" y="2256"/>
                  </a:lnTo>
                  <a:lnTo>
                    <a:pt x="5256" y="2256"/>
                  </a:lnTo>
                  <a:lnTo>
                    <a:pt x="5262" y="2262"/>
                  </a:lnTo>
                  <a:lnTo>
                    <a:pt x="5268" y="2262"/>
                  </a:lnTo>
                  <a:lnTo>
                    <a:pt x="5274" y="2262"/>
                  </a:lnTo>
                  <a:lnTo>
                    <a:pt x="5280" y="2262"/>
                  </a:lnTo>
                  <a:lnTo>
                    <a:pt x="5292" y="2274"/>
                  </a:lnTo>
                  <a:lnTo>
                    <a:pt x="5304" y="2274"/>
                  </a:lnTo>
                  <a:lnTo>
                    <a:pt x="5316" y="2268"/>
                  </a:lnTo>
                  <a:lnTo>
                    <a:pt x="5322" y="2268"/>
                  </a:lnTo>
                  <a:lnTo>
                    <a:pt x="5322" y="2280"/>
                  </a:lnTo>
                  <a:lnTo>
                    <a:pt x="5322" y="2286"/>
                  </a:lnTo>
                  <a:lnTo>
                    <a:pt x="5334" y="2280"/>
                  </a:lnTo>
                  <a:lnTo>
                    <a:pt x="5340" y="2286"/>
                  </a:lnTo>
                  <a:lnTo>
                    <a:pt x="5346" y="2286"/>
                  </a:lnTo>
                  <a:lnTo>
                    <a:pt x="5352" y="2286"/>
                  </a:lnTo>
                  <a:lnTo>
                    <a:pt x="5352" y="2292"/>
                  </a:lnTo>
                  <a:lnTo>
                    <a:pt x="5352" y="2298"/>
                  </a:lnTo>
                  <a:lnTo>
                    <a:pt x="5346" y="2304"/>
                  </a:lnTo>
                  <a:lnTo>
                    <a:pt x="5352" y="2322"/>
                  </a:lnTo>
                  <a:lnTo>
                    <a:pt x="5346" y="2322"/>
                  </a:lnTo>
                  <a:lnTo>
                    <a:pt x="5340" y="2322"/>
                  </a:lnTo>
                  <a:lnTo>
                    <a:pt x="5340" y="2328"/>
                  </a:lnTo>
                  <a:lnTo>
                    <a:pt x="5352" y="2328"/>
                  </a:lnTo>
                  <a:lnTo>
                    <a:pt x="5346" y="2340"/>
                  </a:lnTo>
                  <a:lnTo>
                    <a:pt x="5352" y="2346"/>
                  </a:lnTo>
                  <a:lnTo>
                    <a:pt x="5352" y="2352"/>
                  </a:lnTo>
                  <a:lnTo>
                    <a:pt x="5394" y="2364"/>
                  </a:lnTo>
                  <a:lnTo>
                    <a:pt x="5400" y="2364"/>
                  </a:lnTo>
                  <a:lnTo>
                    <a:pt x="5412" y="2370"/>
                  </a:lnTo>
                  <a:lnTo>
                    <a:pt x="5424" y="2370"/>
                  </a:lnTo>
                  <a:lnTo>
                    <a:pt x="5424" y="2388"/>
                  </a:lnTo>
                  <a:lnTo>
                    <a:pt x="5430" y="2400"/>
                  </a:lnTo>
                  <a:lnTo>
                    <a:pt x="5448" y="2442"/>
                  </a:lnTo>
                  <a:lnTo>
                    <a:pt x="5448" y="2448"/>
                  </a:lnTo>
                  <a:lnTo>
                    <a:pt x="5454" y="2460"/>
                  </a:lnTo>
                  <a:lnTo>
                    <a:pt x="5460" y="2484"/>
                  </a:lnTo>
                  <a:lnTo>
                    <a:pt x="5460" y="2490"/>
                  </a:lnTo>
                  <a:lnTo>
                    <a:pt x="5460" y="2496"/>
                  </a:lnTo>
                  <a:lnTo>
                    <a:pt x="5460" y="2526"/>
                  </a:lnTo>
                  <a:lnTo>
                    <a:pt x="5460" y="2550"/>
                  </a:lnTo>
                  <a:lnTo>
                    <a:pt x="5460" y="2556"/>
                  </a:lnTo>
                  <a:lnTo>
                    <a:pt x="5436" y="2604"/>
                  </a:lnTo>
                  <a:lnTo>
                    <a:pt x="5436" y="2610"/>
                  </a:lnTo>
                  <a:lnTo>
                    <a:pt x="5436" y="2622"/>
                  </a:lnTo>
                  <a:lnTo>
                    <a:pt x="5436" y="2646"/>
                  </a:lnTo>
                  <a:lnTo>
                    <a:pt x="5442" y="2664"/>
                  </a:lnTo>
                  <a:lnTo>
                    <a:pt x="5454" y="2682"/>
                  </a:lnTo>
                  <a:lnTo>
                    <a:pt x="5472" y="2694"/>
                  </a:lnTo>
                  <a:lnTo>
                    <a:pt x="5478" y="2700"/>
                  </a:lnTo>
                  <a:lnTo>
                    <a:pt x="5484" y="2706"/>
                  </a:lnTo>
                  <a:lnTo>
                    <a:pt x="5490" y="2706"/>
                  </a:lnTo>
                  <a:lnTo>
                    <a:pt x="5502" y="2718"/>
                  </a:lnTo>
                  <a:lnTo>
                    <a:pt x="5508" y="2724"/>
                  </a:lnTo>
                  <a:lnTo>
                    <a:pt x="5508" y="2748"/>
                  </a:lnTo>
                  <a:lnTo>
                    <a:pt x="5502" y="2772"/>
                  </a:lnTo>
                  <a:lnTo>
                    <a:pt x="5496" y="2784"/>
                  </a:lnTo>
                  <a:lnTo>
                    <a:pt x="5496" y="2796"/>
                  </a:lnTo>
                  <a:lnTo>
                    <a:pt x="5496" y="2814"/>
                  </a:lnTo>
                  <a:lnTo>
                    <a:pt x="5496" y="2820"/>
                  </a:lnTo>
                  <a:lnTo>
                    <a:pt x="5496" y="2826"/>
                  </a:lnTo>
                  <a:lnTo>
                    <a:pt x="5490" y="2832"/>
                  </a:lnTo>
                  <a:lnTo>
                    <a:pt x="5466" y="2862"/>
                  </a:lnTo>
                  <a:lnTo>
                    <a:pt x="5454" y="2868"/>
                  </a:lnTo>
                  <a:lnTo>
                    <a:pt x="5442" y="2880"/>
                  </a:lnTo>
                  <a:lnTo>
                    <a:pt x="5430" y="2892"/>
                  </a:lnTo>
                  <a:lnTo>
                    <a:pt x="5412" y="2904"/>
                  </a:lnTo>
                  <a:lnTo>
                    <a:pt x="5400" y="2910"/>
                  </a:lnTo>
                  <a:lnTo>
                    <a:pt x="5370" y="2928"/>
                  </a:lnTo>
                  <a:lnTo>
                    <a:pt x="5376" y="2946"/>
                  </a:lnTo>
                  <a:lnTo>
                    <a:pt x="5388" y="2958"/>
                  </a:lnTo>
                  <a:lnTo>
                    <a:pt x="5394" y="2964"/>
                  </a:lnTo>
                  <a:lnTo>
                    <a:pt x="5406" y="3012"/>
                  </a:lnTo>
                  <a:lnTo>
                    <a:pt x="5418" y="3030"/>
                  </a:lnTo>
                  <a:lnTo>
                    <a:pt x="5424" y="3036"/>
                  </a:lnTo>
                  <a:lnTo>
                    <a:pt x="5436" y="3048"/>
                  </a:lnTo>
                  <a:lnTo>
                    <a:pt x="5442" y="3054"/>
                  </a:lnTo>
                  <a:lnTo>
                    <a:pt x="5448" y="3072"/>
                  </a:lnTo>
                  <a:lnTo>
                    <a:pt x="5466" y="3096"/>
                  </a:lnTo>
                  <a:lnTo>
                    <a:pt x="5472" y="3108"/>
                  </a:lnTo>
                  <a:lnTo>
                    <a:pt x="5484" y="3114"/>
                  </a:lnTo>
                  <a:lnTo>
                    <a:pt x="5490" y="3120"/>
                  </a:lnTo>
                  <a:lnTo>
                    <a:pt x="5496" y="3120"/>
                  </a:lnTo>
                  <a:lnTo>
                    <a:pt x="5508" y="3126"/>
                  </a:lnTo>
                  <a:lnTo>
                    <a:pt x="5526" y="3138"/>
                  </a:lnTo>
                  <a:lnTo>
                    <a:pt x="5550" y="3162"/>
                  </a:lnTo>
                  <a:lnTo>
                    <a:pt x="5574" y="3180"/>
                  </a:lnTo>
                  <a:lnTo>
                    <a:pt x="5574" y="3186"/>
                  </a:lnTo>
                  <a:lnTo>
                    <a:pt x="5580" y="3198"/>
                  </a:lnTo>
                  <a:lnTo>
                    <a:pt x="5574" y="3204"/>
                  </a:lnTo>
                  <a:lnTo>
                    <a:pt x="5568" y="3216"/>
                  </a:lnTo>
                  <a:lnTo>
                    <a:pt x="5562" y="3228"/>
                  </a:lnTo>
                  <a:lnTo>
                    <a:pt x="5556" y="3246"/>
                  </a:lnTo>
                  <a:lnTo>
                    <a:pt x="5550" y="3258"/>
                  </a:lnTo>
                  <a:lnTo>
                    <a:pt x="5556" y="3258"/>
                  </a:lnTo>
                  <a:lnTo>
                    <a:pt x="5562" y="3258"/>
                  </a:lnTo>
                  <a:lnTo>
                    <a:pt x="5568" y="3264"/>
                  </a:lnTo>
                  <a:lnTo>
                    <a:pt x="5574" y="3270"/>
                  </a:lnTo>
                  <a:lnTo>
                    <a:pt x="5580" y="3276"/>
                  </a:lnTo>
                  <a:lnTo>
                    <a:pt x="5592" y="3288"/>
                  </a:lnTo>
                  <a:lnTo>
                    <a:pt x="5604" y="3306"/>
                  </a:lnTo>
                  <a:lnTo>
                    <a:pt x="5604" y="3312"/>
                  </a:lnTo>
                  <a:lnTo>
                    <a:pt x="5604" y="3318"/>
                  </a:lnTo>
                  <a:lnTo>
                    <a:pt x="5610" y="3330"/>
                  </a:lnTo>
                  <a:lnTo>
                    <a:pt x="5616" y="3336"/>
                  </a:lnTo>
                  <a:lnTo>
                    <a:pt x="5634" y="3336"/>
                  </a:lnTo>
                  <a:lnTo>
                    <a:pt x="5640" y="3330"/>
                  </a:lnTo>
                  <a:lnTo>
                    <a:pt x="5646" y="3324"/>
                  </a:lnTo>
                  <a:lnTo>
                    <a:pt x="5646" y="3312"/>
                  </a:lnTo>
                  <a:lnTo>
                    <a:pt x="5652" y="3306"/>
                  </a:lnTo>
                  <a:lnTo>
                    <a:pt x="5670" y="3300"/>
                  </a:lnTo>
                  <a:lnTo>
                    <a:pt x="5676" y="3282"/>
                  </a:lnTo>
                  <a:lnTo>
                    <a:pt x="5688" y="3264"/>
                  </a:lnTo>
                  <a:lnTo>
                    <a:pt x="5694" y="3258"/>
                  </a:lnTo>
                  <a:lnTo>
                    <a:pt x="5694" y="3252"/>
                  </a:lnTo>
                  <a:lnTo>
                    <a:pt x="5694" y="3240"/>
                  </a:lnTo>
                  <a:lnTo>
                    <a:pt x="5700" y="3228"/>
                  </a:lnTo>
                  <a:lnTo>
                    <a:pt x="5724" y="3234"/>
                  </a:lnTo>
                  <a:lnTo>
                    <a:pt x="5736" y="3234"/>
                  </a:lnTo>
                  <a:lnTo>
                    <a:pt x="5742" y="3240"/>
                  </a:lnTo>
                  <a:lnTo>
                    <a:pt x="5742" y="3252"/>
                  </a:lnTo>
                  <a:lnTo>
                    <a:pt x="5748" y="3258"/>
                  </a:lnTo>
                  <a:lnTo>
                    <a:pt x="5772" y="3258"/>
                  </a:lnTo>
                  <a:lnTo>
                    <a:pt x="5778" y="3258"/>
                  </a:lnTo>
                  <a:lnTo>
                    <a:pt x="5802" y="3252"/>
                  </a:lnTo>
                  <a:lnTo>
                    <a:pt x="5808" y="3252"/>
                  </a:lnTo>
                  <a:lnTo>
                    <a:pt x="5808" y="3258"/>
                  </a:lnTo>
                  <a:lnTo>
                    <a:pt x="5808" y="3264"/>
                  </a:lnTo>
                  <a:lnTo>
                    <a:pt x="5802" y="3270"/>
                  </a:lnTo>
                  <a:lnTo>
                    <a:pt x="5802" y="3276"/>
                  </a:lnTo>
                  <a:lnTo>
                    <a:pt x="5802" y="3282"/>
                  </a:lnTo>
                  <a:lnTo>
                    <a:pt x="5826" y="3288"/>
                  </a:lnTo>
                  <a:lnTo>
                    <a:pt x="5832" y="3282"/>
                  </a:lnTo>
                  <a:lnTo>
                    <a:pt x="5838" y="3282"/>
                  </a:lnTo>
                  <a:lnTo>
                    <a:pt x="5838" y="3288"/>
                  </a:lnTo>
                  <a:lnTo>
                    <a:pt x="5838" y="3294"/>
                  </a:lnTo>
                  <a:lnTo>
                    <a:pt x="5838" y="3306"/>
                  </a:lnTo>
                  <a:lnTo>
                    <a:pt x="5844" y="3312"/>
                  </a:lnTo>
                  <a:lnTo>
                    <a:pt x="5850" y="3324"/>
                  </a:lnTo>
                  <a:lnTo>
                    <a:pt x="5844" y="3336"/>
                  </a:lnTo>
                  <a:lnTo>
                    <a:pt x="5850" y="3336"/>
                  </a:lnTo>
                  <a:lnTo>
                    <a:pt x="5856" y="3342"/>
                  </a:lnTo>
                  <a:lnTo>
                    <a:pt x="5868" y="3354"/>
                  </a:lnTo>
                  <a:lnTo>
                    <a:pt x="5886" y="3354"/>
                  </a:lnTo>
                  <a:lnTo>
                    <a:pt x="5892" y="3360"/>
                  </a:lnTo>
                  <a:lnTo>
                    <a:pt x="5892" y="3366"/>
                  </a:lnTo>
                  <a:lnTo>
                    <a:pt x="5898" y="3378"/>
                  </a:lnTo>
                  <a:lnTo>
                    <a:pt x="5910" y="3384"/>
                  </a:lnTo>
                  <a:lnTo>
                    <a:pt x="5910" y="3390"/>
                  </a:lnTo>
                  <a:lnTo>
                    <a:pt x="5892" y="3408"/>
                  </a:lnTo>
                  <a:lnTo>
                    <a:pt x="5892" y="3420"/>
                  </a:lnTo>
                  <a:lnTo>
                    <a:pt x="5892" y="3432"/>
                  </a:lnTo>
                  <a:lnTo>
                    <a:pt x="5898" y="3444"/>
                  </a:lnTo>
                  <a:lnTo>
                    <a:pt x="5904" y="3444"/>
                  </a:lnTo>
                  <a:lnTo>
                    <a:pt x="5922" y="3444"/>
                  </a:lnTo>
                  <a:lnTo>
                    <a:pt x="5928" y="3450"/>
                  </a:lnTo>
                  <a:lnTo>
                    <a:pt x="5934" y="3450"/>
                  </a:lnTo>
                  <a:lnTo>
                    <a:pt x="5934" y="3462"/>
                  </a:lnTo>
                  <a:lnTo>
                    <a:pt x="5916" y="3486"/>
                  </a:lnTo>
                  <a:lnTo>
                    <a:pt x="5922" y="3492"/>
                  </a:lnTo>
                  <a:lnTo>
                    <a:pt x="5934" y="3498"/>
                  </a:lnTo>
                  <a:lnTo>
                    <a:pt x="5940" y="3522"/>
                  </a:lnTo>
                  <a:lnTo>
                    <a:pt x="5946" y="3522"/>
                  </a:lnTo>
                  <a:lnTo>
                    <a:pt x="5952" y="3528"/>
                  </a:lnTo>
                  <a:lnTo>
                    <a:pt x="5958" y="3540"/>
                  </a:lnTo>
                  <a:lnTo>
                    <a:pt x="5988" y="3540"/>
                  </a:lnTo>
                  <a:lnTo>
                    <a:pt x="5994" y="3540"/>
                  </a:lnTo>
                  <a:lnTo>
                    <a:pt x="5994" y="3546"/>
                  </a:lnTo>
                  <a:lnTo>
                    <a:pt x="6000" y="3552"/>
                  </a:lnTo>
                  <a:lnTo>
                    <a:pt x="6006" y="3552"/>
                  </a:lnTo>
                  <a:lnTo>
                    <a:pt x="6006" y="3558"/>
                  </a:lnTo>
                  <a:lnTo>
                    <a:pt x="6006" y="3570"/>
                  </a:lnTo>
                  <a:lnTo>
                    <a:pt x="6000" y="3576"/>
                  </a:lnTo>
                  <a:lnTo>
                    <a:pt x="6000" y="3582"/>
                  </a:lnTo>
                  <a:lnTo>
                    <a:pt x="6006" y="3588"/>
                  </a:lnTo>
                  <a:lnTo>
                    <a:pt x="6018" y="3600"/>
                  </a:lnTo>
                  <a:lnTo>
                    <a:pt x="6018" y="3612"/>
                  </a:lnTo>
                  <a:lnTo>
                    <a:pt x="6018" y="3618"/>
                  </a:lnTo>
                  <a:lnTo>
                    <a:pt x="6024" y="3624"/>
                  </a:lnTo>
                  <a:lnTo>
                    <a:pt x="6030" y="3624"/>
                  </a:lnTo>
                  <a:lnTo>
                    <a:pt x="6030" y="3630"/>
                  </a:lnTo>
                  <a:lnTo>
                    <a:pt x="6024" y="3630"/>
                  </a:lnTo>
                  <a:lnTo>
                    <a:pt x="6018" y="3636"/>
                  </a:lnTo>
                  <a:lnTo>
                    <a:pt x="6018" y="3642"/>
                  </a:lnTo>
                  <a:lnTo>
                    <a:pt x="6024" y="3654"/>
                  </a:lnTo>
                  <a:lnTo>
                    <a:pt x="6018" y="3666"/>
                  </a:lnTo>
                  <a:lnTo>
                    <a:pt x="6024" y="3666"/>
                  </a:lnTo>
                  <a:lnTo>
                    <a:pt x="6030" y="3666"/>
                  </a:lnTo>
                  <a:lnTo>
                    <a:pt x="6036" y="3666"/>
                  </a:lnTo>
                  <a:lnTo>
                    <a:pt x="6042" y="3672"/>
                  </a:lnTo>
                  <a:lnTo>
                    <a:pt x="6048" y="3672"/>
                  </a:lnTo>
                  <a:lnTo>
                    <a:pt x="6054" y="3660"/>
                  </a:lnTo>
                  <a:lnTo>
                    <a:pt x="6054" y="3648"/>
                  </a:lnTo>
                  <a:lnTo>
                    <a:pt x="6048" y="3648"/>
                  </a:lnTo>
                  <a:lnTo>
                    <a:pt x="6054" y="3642"/>
                  </a:lnTo>
                  <a:lnTo>
                    <a:pt x="6066" y="3648"/>
                  </a:lnTo>
                  <a:lnTo>
                    <a:pt x="6072" y="3648"/>
                  </a:lnTo>
                  <a:lnTo>
                    <a:pt x="6078" y="3660"/>
                  </a:lnTo>
                  <a:lnTo>
                    <a:pt x="6078" y="3678"/>
                  </a:lnTo>
                  <a:lnTo>
                    <a:pt x="6084" y="3690"/>
                  </a:lnTo>
                  <a:lnTo>
                    <a:pt x="6084" y="3696"/>
                  </a:lnTo>
                  <a:lnTo>
                    <a:pt x="6084" y="3702"/>
                  </a:lnTo>
                  <a:lnTo>
                    <a:pt x="6078" y="3702"/>
                  </a:lnTo>
                  <a:lnTo>
                    <a:pt x="6054" y="3708"/>
                  </a:lnTo>
                  <a:lnTo>
                    <a:pt x="6048" y="3708"/>
                  </a:lnTo>
                  <a:lnTo>
                    <a:pt x="6042" y="3702"/>
                  </a:lnTo>
                  <a:lnTo>
                    <a:pt x="6036" y="3702"/>
                  </a:lnTo>
                  <a:lnTo>
                    <a:pt x="6036" y="3708"/>
                  </a:lnTo>
                  <a:lnTo>
                    <a:pt x="6030" y="3714"/>
                  </a:lnTo>
                  <a:lnTo>
                    <a:pt x="6036" y="3720"/>
                  </a:lnTo>
                  <a:lnTo>
                    <a:pt x="6048" y="3726"/>
                  </a:lnTo>
                  <a:lnTo>
                    <a:pt x="6048" y="3732"/>
                  </a:lnTo>
                  <a:lnTo>
                    <a:pt x="6030" y="3750"/>
                  </a:lnTo>
                  <a:lnTo>
                    <a:pt x="6030" y="3756"/>
                  </a:lnTo>
                  <a:lnTo>
                    <a:pt x="6030" y="3762"/>
                  </a:lnTo>
                  <a:lnTo>
                    <a:pt x="6036" y="3768"/>
                  </a:lnTo>
                  <a:lnTo>
                    <a:pt x="6036" y="3774"/>
                  </a:lnTo>
                  <a:lnTo>
                    <a:pt x="6024" y="3786"/>
                  </a:lnTo>
                  <a:lnTo>
                    <a:pt x="6030" y="3792"/>
                  </a:lnTo>
                  <a:lnTo>
                    <a:pt x="6030" y="3804"/>
                  </a:lnTo>
                  <a:lnTo>
                    <a:pt x="6042" y="3804"/>
                  </a:lnTo>
                  <a:lnTo>
                    <a:pt x="6048" y="3804"/>
                  </a:lnTo>
                  <a:lnTo>
                    <a:pt x="6048" y="3810"/>
                  </a:lnTo>
                  <a:lnTo>
                    <a:pt x="6048" y="3816"/>
                  </a:lnTo>
                  <a:lnTo>
                    <a:pt x="6054" y="3834"/>
                  </a:lnTo>
                  <a:lnTo>
                    <a:pt x="6048" y="3840"/>
                  </a:lnTo>
                  <a:lnTo>
                    <a:pt x="6048" y="3852"/>
                  </a:lnTo>
                  <a:lnTo>
                    <a:pt x="6042" y="3858"/>
                  </a:lnTo>
                  <a:lnTo>
                    <a:pt x="6048" y="3870"/>
                  </a:lnTo>
                  <a:lnTo>
                    <a:pt x="6054" y="3876"/>
                  </a:lnTo>
                  <a:lnTo>
                    <a:pt x="6054" y="3882"/>
                  </a:lnTo>
                  <a:lnTo>
                    <a:pt x="6048" y="3882"/>
                  </a:lnTo>
                  <a:lnTo>
                    <a:pt x="6054" y="3888"/>
                  </a:lnTo>
                  <a:lnTo>
                    <a:pt x="6066" y="3894"/>
                  </a:lnTo>
                  <a:lnTo>
                    <a:pt x="6066" y="3900"/>
                  </a:lnTo>
                  <a:lnTo>
                    <a:pt x="6048" y="3906"/>
                  </a:lnTo>
                  <a:lnTo>
                    <a:pt x="6036" y="3900"/>
                  </a:lnTo>
                  <a:lnTo>
                    <a:pt x="6012" y="3900"/>
                  </a:lnTo>
                  <a:lnTo>
                    <a:pt x="6012" y="3906"/>
                  </a:lnTo>
                  <a:lnTo>
                    <a:pt x="6012" y="3924"/>
                  </a:lnTo>
                  <a:lnTo>
                    <a:pt x="6006" y="3930"/>
                  </a:lnTo>
                  <a:lnTo>
                    <a:pt x="6000" y="3930"/>
                  </a:lnTo>
                  <a:lnTo>
                    <a:pt x="5994" y="3948"/>
                  </a:lnTo>
                  <a:lnTo>
                    <a:pt x="5988" y="3954"/>
                  </a:lnTo>
                  <a:lnTo>
                    <a:pt x="5988" y="3960"/>
                  </a:lnTo>
                  <a:lnTo>
                    <a:pt x="5988" y="3966"/>
                  </a:lnTo>
                  <a:lnTo>
                    <a:pt x="5994" y="3966"/>
                  </a:lnTo>
                  <a:lnTo>
                    <a:pt x="6000" y="3966"/>
                  </a:lnTo>
                  <a:lnTo>
                    <a:pt x="6006" y="3966"/>
                  </a:lnTo>
                  <a:lnTo>
                    <a:pt x="6012" y="3966"/>
                  </a:lnTo>
                  <a:lnTo>
                    <a:pt x="6018" y="3972"/>
                  </a:lnTo>
                  <a:lnTo>
                    <a:pt x="6018" y="3978"/>
                  </a:lnTo>
                  <a:lnTo>
                    <a:pt x="6024" y="3996"/>
                  </a:lnTo>
                  <a:lnTo>
                    <a:pt x="6024" y="4002"/>
                  </a:lnTo>
                  <a:lnTo>
                    <a:pt x="6024" y="4008"/>
                  </a:lnTo>
                  <a:lnTo>
                    <a:pt x="6012" y="4014"/>
                  </a:lnTo>
                  <a:lnTo>
                    <a:pt x="6006" y="4014"/>
                  </a:lnTo>
                  <a:lnTo>
                    <a:pt x="6006" y="4020"/>
                  </a:lnTo>
                  <a:lnTo>
                    <a:pt x="6012" y="4026"/>
                  </a:lnTo>
                  <a:lnTo>
                    <a:pt x="6024" y="4038"/>
                  </a:lnTo>
                  <a:lnTo>
                    <a:pt x="6024" y="4062"/>
                  </a:lnTo>
                  <a:lnTo>
                    <a:pt x="6018" y="4062"/>
                  </a:lnTo>
                  <a:lnTo>
                    <a:pt x="6006" y="4062"/>
                  </a:lnTo>
                  <a:lnTo>
                    <a:pt x="6000" y="4062"/>
                  </a:lnTo>
                  <a:lnTo>
                    <a:pt x="5994" y="4062"/>
                  </a:lnTo>
                  <a:lnTo>
                    <a:pt x="5988" y="4080"/>
                  </a:lnTo>
                  <a:lnTo>
                    <a:pt x="5994" y="4086"/>
                  </a:lnTo>
                  <a:lnTo>
                    <a:pt x="6000" y="4080"/>
                  </a:lnTo>
                  <a:lnTo>
                    <a:pt x="6006" y="4080"/>
                  </a:lnTo>
                  <a:lnTo>
                    <a:pt x="6006" y="4086"/>
                  </a:lnTo>
                  <a:lnTo>
                    <a:pt x="6006" y="4098"/>
                  </a:lnTo>
                  <a:lnTo>
                    <a:pt x="6012" y="4098"/>
                  </a:lnTo>
                  <a:lnTo>
                    <a:pt x="6012" y="4104"/>
                  </a:lnTo>
                  <a:lnTo>
                    <a:pt x="6024" y="4104"/>
                  </a:lnTo>
                  <a:lnTo>
                    <a:pt x="6024" y="4092"/>
                  </a:lnTo>
                  <a:lnTo>
                    <a:pt x="6030" y="4092"/>
                  </a:lnTo>
                  <a:lnTo>
                    <a:pt x="6042" y="4092"/>
                  </a:lnTo>
                  <a:lnTo>
                    <a:pt x="6048" y="4092"/>
                  </a:lnTo>
                  <a:lnTo>
                    <a:pt x="6048" y="4098"/>
                  </a:lnTo>
                  <a:lnTo>
                    <a:pt x="6042" y="4098"/>
                  </a:lnTo>
                  <a:lnTo>
                    <a:pt x="6042" y="4104"/>
                  </a:lnTo>
                  <a:lnTo>
                    <a:pt x="6048" y="4110"/>
                  </a:lnTo>
                  <a:lnTo>
                    <a:pt x="6054" y="4116"/>
                  </a:lnTo>
                  <a:lnTo>
                    <a:pt x="6054" y="4128"/>
                  </a:lnTo>
                  <a:lnTo>
                    <a:pt x="6054" y="4134"/>
                  </a:lnTo>
                  <a:lnTo>
                    <a:pt x="6060" y="4140"/>
                  </a:lnTo>
                  <a:lnTo>
                    <a:pt x="6060" y="4134"/>
                  </a:lnTo>
                  <a:lnTo>
                    <a:pt x="6066" y="4128"/>
                  </a:lnTo>
                  <a:lnTo>
                    <a:pt x="6072" y="4122"/>
                  </a:lnTo>
                  <a:lnTo>
                    <a:pt x="6078" y="4128"/>
                  </a:lnTo>
                  <a:lnTo>
                    <a:pt x="6078" y="4134"/>
                  </a:lnTo>
                  <a:lnTo>
                    <a:pt x="6078" y="4140"/>
                  </a:lnTo>
                  <a:lnTo>
                    <a:pt x="6078" y="4146"/>
                  </a:lnTo>
                  <a:lnTo>
                    <a:pt x="6084" y="4158"/>
                  </a:lnTo>
                  <a:lnTo>
                    <a:pt x="6072" y="4164"/>
                  </a:lnTo>
                  <a:lnTo>
                    <a:pt x="6072" y="4170"/>
                  </a:lnTo>
                  <a:lnTo>
                    <a:pt x="6060" y="4176"/>
                  </a:lnTo>
                  <a:lnTo>
                    <a:pt x="6060" y="4182"/>
                  </a:lnTo>
                  <a:lnTo>
                    <a:pt x="6066" y="4194"/>
                  </a:lnTo>
                  <a:lnTo>
                    <a:pt x="6066" y="4200"/>
                  </a:lnTo>
                  <a:lnTo>
                    <a:pt x="6060" y="4212"/>
                  </a:lnTo>
                  <a:lnTo>
                    <a:pt x="6042" y="4206"/>
                  </a:lnTo>
                  <a:lnTo>
                    <a:pt x="6030" y="4206"/>
                  </a:lnTo>
                  <a:lnTo>
                    <a:pt x="6006" y="4194"/>
                  </a:lnTo>
                  <a:lnTo>
                    <a:pt x="5982" y="4182"/>
                  </a:lnTo>
                  <a:lnTo>
                    <a:pt x="5964" y="4182"/>
                  </a:lnTo>
                  <a:lnTo>
                    <a:pt x="5934" y="4182"/>
                  </a:lnTo>
                  <a:lnTo>
                    <a:pt x="5910" y="4182"/>
                  </a:lnTo>
                  <a:lnTo>
                    <a:pt x="5892" y="4182"/>
                  </a:lnTo>
                  <a:lnTo>
                    <a:pt x="5862" y="4188"/>
                  </a:lnTo>
                  <a:lnTo>
                    <a:pt x="5844" y="4194"/>
                  </a:lnTo>
                  <a:lnTo>
                    <a:pt x="5844" y="4200"/>
                  </a:lnTo>
                  <a:lnTo>
                    <a:pt x="5838" y="4200"/>
                  </a:lnTo>
                  <a:lnTo>
                    <a:pt x="5802" y="4200"/>
                  </a:lnTo>
                  <a:lnTo>
                    <a:pt x="5796" y="4200"/>
                  </a:lnTo>
                  <a:lnTo>
                    <a:pt x="5778" y="4200"/>
                  </a:lnTo>
                  <a:lnTo>
                    <a:pt x="5772" y="4206"/>
                  </a:lnTo>
                  <a:lnTo>
                    <a:pt x="5754" y="4212"/>
                  </a:lnTo>
                  <a:lnTo>
                    <a:pt x="5742" y="4224"/>
                  </a:lnTo>
                  <a:lnTo>
                    <a:pt x="5730" y="4230"/>
                  </a:lnTo>
                  <a:lnTo>
                    <a:pt x="5724" y="4230"/>
                  </a:lnTo>
                  <a:lnTo>
                    <a:pt x="5682" y="4236"/>
                  </a:lnTo>
                  <a:lnTo>
                    <a:pt x="5658" y="4230"/>
                  </a:lnTo>
                  <a:lnTo>
                    <a:pt x="5634" y="4230"/>
                  </a:lnTo>
                  <a:lnTo>
                    <a:pt x="5598" y="4224"/>
                  </a:lnTo>
                  <a:lnTo>
                    <a:pt x="5586" y="4224"/>
                  </a:lnTo>
                  <a:lnTo>
                    <a:pt x="5562" y="4206"/>
                  </a:lnTo>
                  <a:lnTo>
                    <a:pt x="5556" y="4194"/>
                  </a:lnTo>
                  <a:lnTo>
                    <a:pt x="5544" y="4194"/>
                  </a:lnTo>
                  <a:lnTo>
                    <a:pt x="5538" y="4194"/>
                  </a:lnTo>
                  <a:lnTo>
                    <a:pt x="5514" y="4200"/>
                  </a:lnTo>
                  <a:lnTo>
                    <a:pt x="5490" y="4218"/>
                  </a:lnTo>
                  <a:lnTo>
                    <a:pt x="5472" y="4224"/>
                  </a:lnTo>
                  <a:lnTo>
                    <a:pt x="5448" y="4224"/>
                  </a:lnTo>
                  <a:lnTo>
                    <a:pt x="5430" y="4224"/>
                  </a:lnTo>
                  <a:lnTo>
                    <a:pt x="5424" y="4224"/>
                  </a:lnTo>
                  <a:lnTo>
                    <a:pt x="5412" y="4218"/>
                  </a:lnTo>
                  <a:lnTo>
                    <a:pt x="5412" y="4212"/>
                  </a:lnTo>
                  <a:lnTo>
                    <a:pt x="5400" y="4200"/>
                  </a:lnTo>
                  <a:lnTo>
                    <a:pt x="5376" y="4206"/>
                  </a:lnTo>
                  <a:lnTo>
                    <a:pt x="5370" y="4200"/>
                  </a:lnTo>
                  <a:lnTo>
                    <a:pt x="5364" y="4200"/>
                  </a:lnTo>
                  <a:lnTo>
                    <a:pt x="5352" y="4200"/>
                  </a:lnTo>
                  <a:lnTo>
                    <a:pt x="5340" y="4212"/>
                  </a:lnTo>
                  <a:lnTo>
                    <a:pt x="5322" y="4230"/>
                  </a:lnTo>
                  <a:lnTo>
                    <a:pt x="5310" y="4236"/>
                  </a:lnTo>
                  <a:lnTo>
                    <a:pt x="5292" y="4254"/>
                  </a:lnTo>
                  <a:lnTo>
                    <a:pt x="5286" y="4254"/>
                  </a:lnTo>
                  <a:lnTo>
                    <a:pt x="5280" y="4260"/>
                  </a:lnTo>
                  <a:lnTo>
                    <a:pt x="5274" y="4260"/>
                  </a:lnTo>
                  <a:lnTo>
                    <a:pt x="5268" y="4260"/>
                  </a:lnTo>
                  <a:lnTo>
                    <a:pt x="5262" y="4266"/>
                  </a:lnTo>
                  <a:lnTo>
                    <a:pt x="5256" y="4266"/>
                  </a:lnTo>
                  <a:lnTo>
                    <a:pt x="5244" y="4266"/>
                  </a:lnTo>
                  <a:lnTo>
                    <a:pt x="5220" y="4266"/>
                  </a:lnTo>
                  <a:lnTo>
                    <a:pt x="5160" y="4290"/>
                  </a:lnTo>
                  <a:lnTo>
                    <a:pt x="5154" y="4296"/>
                  </a:lnTo>
                  <a:lnTo>
                    <a:pt x="5148" y="4296"/>
                  </a:lnTo>
                  <a:lnTo>
                    <a:pt x="5142" y="4302"/>
                  </a:lnTo>
                  <a:lnTo>
                    <a:pt x="5124" y="4308"/>
                  </a:lnTo>
                  <a:lnTo>
                    <a:pt x="5112" y="4314"/>
                  </a:lnTo>
                  <a:lnTo>
                    <a:pt x="5100" y="4314"/>
                  </a:lnTo>
                  <a:lnTo>
                    <a:pt x="5094" y="4308"/>
                  </a:lnTo>
                  <a:lnTo>
                    <a:pt x="5088" y="4302"/>
                  </a:lnTo>
                  <a:lnTo>
                    <a:pt x="5088" y="4296"/>
                  </a:lnTo>
                  <a:lnTo>
                    <a:pt x="5076" y="4290"/>
                  </a:lnTo>
                  <a:lnTo>
                    <a:pt x="5076" y="4284"/>
                  </a:lnTo>
                  <a:lnTo>
                    <a:pt x="5064" y="4266"/>
                  </a:lnTo>
                  <a:lnTo>
                    <a:pt x="5058" y="4260"/>
                  </a:lnTo>
                  <a:lnTo>
                    <a:pt x="5052" y="4254"/>
                  </a:lnTo>
                  <a:lnTo>
                    <a:pt x="5046" y="4254"/>
                  </a:lnTo>
                  <a:lnTo>
                    <a:pt x="5040" y="4248"/>
                  </a:lnTo>
                  <a:lnTo>
                    <a:pt x="5022" y="4242"/>
                  </a:lnTo>
                  <a:lnTo>
                    <a:pt x="5004" y="4230"/>
                  </a:lnTo>
                  <a:lnTo>
                    <a:pt x="4980" y="4224"/>
                  </a:lnTo>
                  <a:lnTo>
                    <a:pt x="4968" y="4224"/>
                  </a:lnTo>
                  <a:lnTo>
                    <a:pt x="4962" y="4224"/>
                  </a:lnTo>
                  <a:lnTo>
                    <a:pt x="4950" y="4224"/>
                  </a:lnTo>
                  <a:lnTo>
                    <a:pt x="4938" y="4236"/>
                  </a:lnTo>
                  <a:lnTo>
                    <a:pt x="4914" y="4254"/>
                  </a:lnTo>
                  <a:lnTo>
                    <a:pt x="4902" y="4254"/>
                  </a:lnTo>
                  <a:lnTo>
                    <a:pt x="4896" y="4254"/>
                  </a:lnTo>
                  <a:lnTo>
                    <a:pt x="4890" y="4248"/>
                  </a:lnTo>
                  <a:lnTo>
                    <a:pt x="4884" y="4242"/>
                  </a:lnTo>
                  <a:lnTo>
                    <a:pt x="4872" y="4230"/>
                  </a:lnTo>
                  <a:lnTo>
                    <a:pt x="4866" y="4224"/>
                  </a:lnTo>
                  <a:lnTo>
                    <a:pt x="4854" y="4218"/>
                  </a:lnTo>
                  <a:lnTo>
                    <a:pt x="4842" y="4206"/>
                  </a:lnTo>
                  <a:lnTo>
                    <a:pt x="4836" y="4200"/>
                  </a:lnTo>
                  <a:lnTo>
                    <a:pt x="4824" y="4194"/>
                  </a:lnTo>
                  <a:lnTo>
                    <a:pt x="4812" y="4194"/>
                  </a:lnTo>
                  <a:lnTo>
                    <a:pt x="4794" y="4188"/>
                  </a:lnTo>
                  <a:lnTo>
                    <a:pt x="4788" y="4188"/>
                  </a:lnTo>
                  <a:lnTo>
                    <a:pt x="4746" y="4194"/>
                  </a:lnTo>
                  <a:lnTo>
                    <a:pt x="4740" y="4194"/>
                  </a:lnTo>
                  <a:lnTo>
                    <a:pt x="4722" y="4194"/>
                  </a:lnTo>
                  <a:lnTo>
                    <a:pt x="4704" y="4188"/>
                  </a:lnTo>
                  <a:lnTo>
                    <a:pt x="4704" y="4182"/>
                  </a:lnTo>
                  <a:lnTo>
                    <a:pt x="4698" y="4164"/>
                  </a:lnTo>
                  <a:lnTo>
                    <a:pt x="4692" y="4158"/>
                  </a:lnTo>
                  <a:lnTo>
                    <a:pt x="4692" y="4152"/>
                  </a:lnTo>
                  <a:lnTo>
                    <a:pt x="4686" y="4152"/>
                  </a:lnTo>
                  <a:lnTo>
                    <a:pt x="4680" y="4146"/>
                  </a:lnTo>
                  <a:lnTo>
                    <a:pt x="4674" y="4152"/>
                  </a:lnTo>
                  <a:lnTo>
                    <a:pt x="4662" y="4152"/>
                  </a:lnTo>
                  <a:lnTo>
                    <a:pt x="4650" y="4146"/>
                  </a:lnTo>
                  <a:lnTo>
                    <a:pt x="4626" y="4140"/>
                  </a:lnTo>
                  <a:lnTo>
                    <a:pt x="4626" y="4134"/>
                  </a:lnTo>
                  <a:lnTo>
                    <a:pt x="4620" y="4128"/>
                  </a:lnTo>
                  <a:lnTo>
                    <a:pt x="4620" y="4116"/>
                  </a:lnTo>
                  <a:lnTo>
                    <a:pt x="4614" y="4110"/>
                  </a:lnTo>
                  <a:lnTo>
                    <a:pt x="4596" y="4104"/>
                  </a:lnTo>
                  <a:lnTo>
                    <a:pt x="4590" y="4098"/>
                  </a:lnTo>
                  <a:lnTo>
                    <a:pt x="4584" y="4092"/>
                  </a:lnTo>
                  <a:lnTo>
                    <a:pt x="4578" y="4086"/>
                  </a:lnTo>
                  <a:lnTo>
                    <a:pt x="4572" y="4086"/>
                  </a:lnTo>
                  <a:lnTo>
                    <a:pt x="4566" y="4086"/>
                  </a:lnTo>
                  <a:lnTo>
                    <a:pt x="4560" y="4086"/>
                  </a:lnTo>
                  <a:lnTo>
                    <a:pt x="4542" y="4086"/>
                  </a:lnTo>
                  <a:lnTo>
                    <a:pt x="4530" y="4098"/>
                  </a:lnTo>
                  <a:lnTo>
                    <a:pt x="4530" y="4104"/>
                  </a:lnTo>
                  <a:lnTo>
                    <a:pt x="4524" y="4140"/>
                  </a:lnTo>
                  <a:lnTo>
                    <a:pt x="4518" y="4146"/>
                  </a:lnTo>
                  <a:lnTo>
                    <a:pt x="4500" y="4164"/>
                  </a:lnTo>
                  <a:lnTo>
                    <a:pt x="4494" y="4164"/>
                  </a:lnTo>
                  <a:lnTo>
                    <a:pt x="4488" y="4158"/>
                  </a:lnTo>
                  <a:lnTo>
                    <a:pt x="4464" y="4152"/>
                  </a:lnTo>
                  <a:lnTo>
                    <a:pt x="4458" y="4152"/>
                  </a:lnTo>
                  <a:lnTo>
                    <a:pt x="4446" y="4146"/>
                  </a:lnTo>
                  <a:lnTo>
                    <a:pt x="4434" y="4146"/>
                  </a:lnTo>
                  <a:lnTo>
                    <a:pt x="4428" y="4152"/>
                  </a:lnTo>
                  <a:lnTo>
                    <a:pt x="4416" y="4152"/>
                  </a:lnTo>
                  <a:lnTo>
                    <a:pt x="4410" y="4146"/>
                  </a:lnTo>
                  <a:lnTo>
                    <a:pt x="4404" y="4146"/>
                  </a:lnTo>
                  <a:lnTo>
                    <a:pt x="4398" y="4140"/>
                  </a:lnTo>
                  <a:lnTo>
                    <a:pt x="4392" y="4134"/>
                  </a:lnTo>
                  <a:lnTo>
                    <a:pt x="4392" y="4122"/>
                  </a:lnTo>
                  <a:lnTo>
                    <a:pt x="4392" y="4110"/>
                  </a:lnTo>
                  <a:lnTo>
                    <a:pt x="4392" y="4098"/>
                  </a:lnTo>
                  <a:lnTo>
                    <a:pt x="4392" y="4092"/>
                  </a:lnTo>
                  <a:lnTo>
                    <a:pt x="4398" y="4086"/>
                  </a:lnTo>
                  <a:lnTo>
                    <a:pt x="4404" y="4068"/>
                  </a:lnTo>
                  <a:lnTo>
                    <a:pt x="4416" y="4050"/>
                  </a:lnTo>
                  <a:lnTo>
                    <a:pt x="4416" y="4044"/>
                  </a:lnTo>
                  <a:lnTo>
                    <a:pt x="4416" y="4038"/>
                  </a:lnTo>
                  <a:lnTo>
                    <a:pt x="4410" y="4014"/>
                  </a:lnTo>
                  <a:lnTo>
                    <a:pt x="4410" y="4008"/>
                  </a:lnTo>
                  <a:lnTo>
                    <a:pt x="4398" y="4002"/>
                  </a:lnTo>
                  <a:lnTo>
                    <a:pt x="4392" y="3990"/>
                  </a:lnTo>
                  <a:lnTo>
                    <a:pt x="4386" y="3990"/>
                  </a:lnTo>
                  <a:lnTo>
                    <a:pt x="4380" y="3996"/>
                  </a:lnTo>
                  <a:lnTo>
                    <a:pt x="4368" y="4002"/>
                  </a:lnTo>
                  <a:lnTo>
                    <a:pt x="4362" y="3996"/>
                  </a:lnTo>
                  <a:lnTo>
                    <a:pt x="4356" y="3990"/>
                  </a:lnTo>
                  <a:lnTo>
                    <a:pt x="4350" y="3990"/>
                  </a:lnTo>
                  <a:lnTo>
                    <a:pt x="4338" y="3990"/>
                  </a:lnTo>
                  <a:lnTo>
                    <a:pt x="4338" y="3984"/>
                  </a:lnTo>
                  <a:lnTo>
                    <a:pt x="4332" y="3984"/>
                  </a:lnTo>
                  <a:lnTo>
                    <a:pt x="4326" y="3984"/>
                  </a:lnTo>
                  <a:lnTo>
                    <a:pt x="4320" y="3990"/>
                  </a:lnTo>
                  <a:lnTo>
                    <a:pt x="4314" y="3990"/>
                  </a:lnTo>
                  <a:lnTo>
                    <a:pt x="4296" y="3990"/>
                  </a:lnTo>
                  <a:lnTo>
                    <a:pt x="4290" y="3990"/>
                  </a:lnTo>
                  <a:lnTo>
                    <a:pt x="4284" y="4002"/>
                  </a:lnTo>
                  <a:lnTo>
                    <a:pt x="4278" y="4002"/>
                  </a:lnTo>
                  <a:lnTo>
                    <a:pt x="4272" y="3990"/>
                  </a:lnTo>
                  <a:lnTo>
                    <a:pt x="4260" y="3984"/>
                  </a:lnTo>
                  <a:lnTo>
                    <a:pt x="4260" y="3978"/>
                  </a:lnTo>
                  <a:lnTo>
                    <a:pt x="4254" y="3978"/>
                  </a:lnTo>
                  <a:lnTo>
                    <a:pt x="4248" y="3978"/>
                  </a:lnTo>
                  <a:lnTo>
                    <a:pt x="4236" y="3990"/>
                  </a:lnTo>
                  <a:lnTo>
                    <a:pt x="4230" y="3990"/>
                  </a:lnTo>
                  <a:lnTo>
                    <a:pt x="4224" y="3984"/>
                  </a:lnTo>
                  <a:lnTo>
                    <a:pt x="4212" y="3978"/>
                  </a:lnTo>
                  <a:lnTo>
                    <a:pt x="4206" y="3978"/>
                  </a:lnTo>
                  <a:lnTo>
                    <a:pt x="4194" y="3978"/>
                  </a:lnTo>
                  <a:lnTo>
                    <a:pt x="4182" y="3978"/>
                  </a:lnTo>
                  <a:lnTo>
                    <a:pt x="4176" y="3978"/>
                  </a:lnTo>
                  <a:lnTo>
                    <a:pt x="4170" y="3978"/>
                  </a:lnTo>
                  <a:lnTo>
                    <a:pt x="4164" y="3984"/>
                  </a:lnTo>
                  <a:lnTo>
                    <a:pt x="4146" y="3984"/>
                  </a:lnTo>
                  <a:lnTo>
                    <a:pt x="4134" y="3984"/>
                  </a:lnTo>
                  <a:lnTo>
                    <a:pt x="4134" y="3978"/>
                  </a:lnTo>
                  <a:lnTo>
                    <a:pt x="4134" y="3972"/>
                  </a:lnTo>
                  <a:lnTo>
                    <a:pt x="4128" y="3972"/>
                  </a:lnTo>
                  <a:lnTo>
                    <a:pt x="4122" y="3978"/>
                  </a:lnTo>
                  <a:lnTo>
                    <a:pt x="4122" y="3972"/>
                  </a:lnTo>
                  <a:lnTo>
                    <a:pt x="4122" y="3966"/>
                  </a:lnTo>
                  <a:lnTo>
                    <a:pt x="4080" y="3966"/>
                  </a:lnTo>
                  <a:lnTo>
                    <a:pt x="4020" y="3960"/>
                  </a:lnTo>
                  <a:lnTo>
                    <a:pt x="4014" y="3960"/>
                  </a:lnTo>
                  <a:lnTo>
                    <a:pt x="4008" y="3960"/>
                  </a:lnTo>
                  <a:lnTo>
                    <a:pt x="4002" y="3960"/>
                  </a:lnTo>
                  <a:lnTo>
                    <a:pt x="3990" y="3960"/>
                  </a:lnTo>
                  <a:lnTo>
                    <a:pt x="3894" y="3954"/>
                  </a:lnTo>
                  <a:lnTo>
                    <a:pt x="3858" y="3954"/>
                  </a:lnTo>
                  <a:lnTo>
                    <a:pt x="3828" y="3954"/>
                  </a:lnTo>
                  <a:lnTo>
                    <a:pt x="3768" y="3954"/>
                  </a:lnTo>
                  <a:lnTo>
                    <a:pt x="3738" y="3954"/>
                  </a:lnTo>
                  <a:lnTo>
                    <a:pt x="3672" y="3954"/>
                  </a:lnTo>
                  <a:lnTo>
                    <a:pt x="3654" y="3948"/>
                  </a:lnTo>
                  <a:lnTo>
                    <a:pt x="3654" y="3954"/>
                  </a:lnTo>
                  <a:lnTo>
                    <a:pt x="3636" y="3954"/>
                  </a:lnTo>
                  <a:lnTo>
                    <a:pt x="3618" y="3954"/>
                  </a:lnTo>
                  <a:lnTo>
                    <a:pt x="3612" y="3954"/>
                  </a:lnTo>
                  <a:lnTo>
                    <a:pt x="3486" y="3954"/>
                  </a:lnTo>
                  <a:lnTo>
                    <a:pt x="3480" y="3954"/>
                  </a:lnTo>
                  <a:lnTo>
                    <a:pt x="3474" y="3948"/>
                  </a:lnTo>
                  <a:lnTo>
                    <a:pt x="3402" y="3954"/>
                  </a:lnTo>
                  <a:lnTo>
                    <a:pt x="3396" y="3954"/>
                  </a:lnTo>
                  <a:lnTo>
                    <a:pt x="3366" y="3954"/>
                  </a:lnTo>
                  <a:lnTo>
                    <a:pt x="3360" y="3948"/>
                  </a:lnTo>
                  <a:lnTo>
                    <a:pt x="3330" y="3954"/>
                  </a:lnTo>
                  <a:lnTo>
                    <a:pt x="3324" y="3954"/>
                  </a:lnTo>
                  <a:lnTo>
                    <a:pt x="3312" y="3954"/>
                  </a:lnTo>
                  <a:lnTo>
                    <a:pt x="3234" y="3954"/>
                  </a:lnTo>
                  <a:lnTo>
                    <a:pt x="3216" y="3948"/>
                  </a:lnTo>
                  <a:lnTo>
                    <a:pt x="3174" y="3954"/>
                  </a:lnTo>
                  <a:lnTo>
                    <a:pt x="3168" y="3954"/>
                  </a:lnTo>
                  <a:lnTo>
                    <a:pt x="3156" y="3954"/>
                  </a:lnTo>
                  <a:lnTo>
                    <a:pt x="3150" y="3954"/>
                  </a:lnTo>
                  <a:lnTo>
                    <a:pt x="3144" y="3954"/>
                  </a:lnTo>
                  <a:lnTo>
                    <a:pt x="3108" y="3954"/>
                  </a:lnTo>
                  <a:lnTo>
                    <a:pt x="2982" y="3948"/>
                  </a:lnTo>
                  <a:lnTo>
                    <a:pt x="2856" y="3948"/>
                  </a:lnTo>
                  <a:lnTo>
                    <a:pt x="2724" y="3948"/>
                  </a:lnTo>
                  <a:lnTo>
                    <a:pt x="2712" y="3954"/>
                  </a:lnTo>
                  <a:lnTo>
                    <a:pt x="2646" y="3948"/>
                  </a:lnTo>
                  <a:lnTo>
                    <a:pt x="2598" y="3948"/>
                  </a:lnTo>
                  <a:lnTo>
                    <a:pt x="2592" y="3948"/>
                  </a:lnTo>
                  <a:lnTo>
                    <a:pt x="2586" y="3948"/>
                  </a:lnTo>
                  <a:lnTo>
                    <a:pt x="2580" y="3948"/>
                  </a:lnTo>
                  <a:lnTo>
                    <a:pt x="2550" y="3948"/>
                  </a:lnTo>
                  <a:lnTo>
                    <a:pt x="2496" y="3948"/>
                  </a:lnTo>
                  <a:lnTo>
                    <a:pt x="2472" y="3948"/>
                  </a:lnTo>
                  <a:lnTo>
                    <a:pt x="2460" y="3948"/>
                  </a:lnTo>
                  <a:lnTo>
                    <a:pt x="2442" y="3948"/>
                  </a:lnTo>
                  <a:lnTo>
                    <a:pt x="2424" y="3948"/>
                  </a:lnTo>
                  <a:lnTo>
                    <a:pt x="2394" y="3948"/>
                  </a:lnTo>
                  <a:lnTo>
                    <a:pt x="2388" y="3948"/>
                  </a:lnTo>
                  <a:lnTo>
                    <a:pt x="2382" y="3948"/>
                  </a:lnTo>
                  <a:lnTo>
                    <a:pt x="2370" y="3948"/>
                  </a:lnTo>
                  <a:lnTo>
                    <a:pt x="2364" y="3948"/>
                  </a:lnTo>
                  <a:lnTo>
                    <a:pt x="2346" y="3948"/>
                  </a:lnTo>
                  <a:lnTo>
                    <a:pt x="2334" y="3948"/>
                  </a:lnTo>
                  <a:lnTo>
                    <a:pt x="2322" y="3948"/>
                  </a:lnTo>
                  <a:lnTo>
                    <a:pt x="2310" y="3948"/>
                  </a:lnTo>
                  <a:lnTo>
                    <a:pt x="2304" y="3948"/>
                  </a:lnTo>
                  <a:lnTo>
                    <a:pt x="2262" y="3966"/>
                  </a:lnTo>
                  <a:lnTo>
                    <a:pt x="2232" y="3990"/>
                  </a:lnTo>
                  <a:lnTo>
                    <a:pt x="2226" y="3990"/>
                  </a:lnTo>
                  <a:lnTo>
                    <a:pt x="2208" y="4002"/>
                  </a:lnTo>
                  <a:lnTo>
                    <a:pt x="2172" y="4014"/>
                  </a:lnTo>
                  <a:lnTo>
                    <a:pt x="2154" y="4026"/>
                  </a:lnTo>
                  <a:lnTo>
                    <a:pt x="2136" y="4044"/>
                  </a:lnTo>
                  <a:lnTo>
                    <a:pt x="2124" y="4050"/>
                  </a:lnTo>
                  <a:lnTo>
                    <a:pt x="2112" y="4062"/>
                  </a:lnTo>
                  <a:lnTo>
                    <a:pt x="2100" y="4068"/>
                  </a:lnTo>
                  <a:lnTo>
                    <a:pt x="2094" y="4074"/>
                  </a:lnTo>
                  <a:lnTo>
                    <a:pt x="2076" y="4092"/>
                  </a:lnTo>
                  <a:lnTo>
                    <a:pt x="2064" y="4098"/>
                  </a:lnTo>
                  <a:lnTo>
                    <a:pt x="2058" y="4098"/>
                  </a:lnTo>
                  <a:lnTo>
                    <a:pt x="2052" y="4104"/>
                  </a:lnTo>
                  <a:lnTo>
                    <a:pt x="2034" y="4110"/>
                  </a:lnTo>
                  <a:lnTo>
                    <a:pt x="2022" y="4116"/>
                  </a:lnTo>
                  <a:lnTo>
                    <a:pt x="2016" y="4116"/>
                  </a:lnTo>
                  <a:lnTo>
                    <a:pt x="2010" y="4116"/>
                  </a:lnTo>
                  <a:lnTo>
                    <a:pt x="2004" y="4122"/>
                  </a:lnTo>
                  <a:lnTo>
                    <a:pt x="1998" y="4122"/>
                  </a:lnTo>
                  <a:lnTo>
                    <a:pt x="1974" y="4134"/>
                  </a:lnTo>
                  <a:lnTo>
                    <a:pt x="1962" y="4140"/>
                  </a:lnTo>
                  <a:lnTo>
                    <a:pt x="1902" y="4170"/>
                  </a:lnTo>
                  <a:lnTo>
                    <a:pt x="1896" y="4170"/>
                  </a:lnTo>
                  <a:lnTo>
                    <a:pt x="1890" y="4176"/>
                  </a:lnTo>
                  <a:lnTo>
                    <a:pt x="1878" y="4182"/>
                  </a:lnTo>
                  <a:lnTo>
                    <a:pt x="1842" y="4194"/>
                  </a:lnTo>
                  <a:lnTo>
                    <a:pt x="1818" y="4200"/>
                  </a:lnTo>
                  <a:lnTo>
                    <a:pt x="1806" y="4200"/>
                  </a:lnTo>
                  <a:lnTo>
                    <a:pt x="1782" y="4200"/>
                  </a:lnTo>
                  <a:lnTo>
                    <a:pt x="1746" y="4194"/>
                  </a:lnTo>
                  <a:lnTo>
                    <a:pt x="1740" y="4194"/>
                  </a:lnTo>
                  <a:lnTo>
                    <a:pt x="1728" y="4194"/>
                  </a:lnTo>
                  <a:lnTo>
                    <a:pt x="1722" y="4188"/>
                  </a:lnTo>
                  <a:lnTo>
                    <a:pt x="1710" y="4188"/>
                  </a:lnTo>
                  <a:lnTo>
                    <a:pt x="1692" y="4188"/>
                  </a:lnTo>
                  <a:lnTo>
                    <a:pt x="1650" y="4182"/>
                  </a:lnTo>
                  <a:lnTo>
                    <a:pt x="1626" y="4182"/>
                  </a:lnTo>
                  <a:lnTo>
                    <a:pt x="1620" y="4182"/>
                  </a:lnTo>
                  <a:lnTo>
                    <a:pt x="1614" y="4182"/>
                  </a:lnTo>
                  <a:lnTo>
                    <a:pt x="1578" y="4182"/>
                  </a:lnTo>
                  <a:lnTo>
                    <a:pt x="1560" y="4182"/>
                  </a:lnTo>
                  <a:lnTo>
                    <a:pt x="1554" y="4182"/>
                  </a:lnTo>
                  <a:lnTo>
                    <a:pt x="1536" y="4176"/>
                  </a:lnTo>
                  <a:lnTo>
                    <a:pt x="1488" y="4164"/>
                  </a:lnTo>
                  <a:lnTo>
                    <a:pt x="1470" y="4158"/>
                  </a:lnTo>
                  <a:lnTo>
                    <a:pt x="1458" y="4158"/>
                  </a:lnTo>
                  <a:lnTo>
                    <a:pt x="1452" y="4158"/>
                  </a:lnTo>
                  <a:lnTo>
                    <a:pt x="1410" y="4164"/>
                  </a:lnTo>
                  <a:lnTo>
                    <a:pt x="1380" y="4170"/>
                  </a:lnTo>
                  <a:lnTo>
                    <a:pt x="1362" y="4170"/>
                  </a:lnTo>
                  <a:lnTo>
                    <a:pt x="1362" y="4176"/>
                  </a:lnTo>
                  <a:lnTo>
                    <a:pt x="1350" y="4176"/>
                  </a:lnTo>
                  <a:lnTo>
                    <a:pt x="1344" y="4176"/>
                  </a:lnTo>
                  <a:lnTo>
                    <a:pt x="1326" y="4170"/>
                  </a:lnTo>
                  <a:lnTo>
                    <a:pt x="1314" y="4170"/>
                  </a:lnTo>
                  <a:lnTo>
                    <a:pt x="1302" y="4170"/>
                  </a:lnTo>
                  <a:lnTo>
                    <a:pt x="1290" y="4170"/>
                  </a:lnTo>
                  <a:lnTo>
                    <a:pt x="1272" y="4182"/>
                  </a:lnTo>
                  <a:lnTo>
                    <a:pt x="1266" y="4188"/>
                  </a:lnTo>
                  <a:lnTo>
                    <a:pt x="1230" y="4206"/>
                  </a:lnTo>
                  <a:lnTo>
                    <a:pt x="1224" y="4206"/>
                  </a:lnTo>
                  <a:lnTo>
                    <a:pt x="1212" y="4218"/>
                  </a:lnTo>
                  <a:lnTo>
                    <a:pt x="1188" y="4230"/>
                  </a:lnTo>
                  <a:lnTo>
                    <a:pt x="1158" y="4242"/>
                  </a:lnTo>
                  <a:lnTo>
                    <a:pt x="1146" y="4254"/>
                  </a:lnTo>
                  <a:lnTo>
                    <a:pt x="1134" y="4260"/>
                  </a:lnTo>
                  <a:lnTo>
                    <a:pt x="1128" y="4260"/>
                  </a:lnTo>
                  <a:lnTo>
                    <a:pt x="1122" y="4260"/>
                  </a:lnTo>
                  <a:lnTo>
                    <a:pt x="1092" y="4266"/>
                  </a:lnTo>
                  <a:lnTo>
                    <a:pt x="1086" y="4266"/>
                  </a:lnTo>
                  <a:lnTo>
                    <a:pt x="1050" y="4266"/>
                  </a:lnTo>
                  <a:lnTo>
                    <a:pt x="1026" y="4272"/>
                  </a:lnTo>
                  <a:lnTo>
                    <a:pt x="1014" y="4272"/>
                  </a:lnTo>
                  <a:lnTo>
                    <a:pt x="1008" y="4272"/>
                  </a:lnTo>
                  <a:lnTo>
                    <a:pt x="996" y="4272"/>
                  </a:lnTo>
                  <a:lnTo>
                    <a:pt x="972" y="4266"/>
                  </a:lnTo>
                  <a:lnTo>
                    <a:pt x="966" y="4266"/>
                  </a:lnTo>
                  <a:lnTo>
                    <a:pt x="960" y="4272"/>
                  </a:lnTo>
                  <a:lnTo>
                    <a:pt x="936" y="4278"/>
                  </a:lnTo>
                  <a:lnTo>
                    <a:pt x="930" y="4278"/>
                  </a:lnTo>
                  <a:lnTo>
                    <a:pt x="918" y="4278"/>
                  </a:lnTo>
                  <a:lnTo>
                    <a:pt x="876" y="4266"/>
                  </a:lnTo>
                  <a:lnTo>
                    <a:pt x="870" y="4266"/>
                  </a:lnTo>
                  <a:lnTo>
                    <a:pt x="852" y="4266"/>
                  </a:lnTo>
                  <a:lnTo>
                    <a:pt x="840" y="4266"/>
                  </a:lnTo>
                  <a:lnTo>
                    <a:pt x="828" y="4278"/>
                  </a:lnTo>
                  <a:lnTo>
                    <a:pt x="810" y="4290"/>
                  </a:lnTo>
                  <a:lnTo>
                    <a:pt x="804" y="4296"/>
                  </a:lnTo>
                  <a:lnTo>
                    <a:pt x="798" y="4296"/>
                  </a:lnTo>
                  <a:lnTo>
                    <a:pt x="792" y="4284"/>
                  </a:lnTo>
                  <a:lnTo>
                    <a:pt x="786" y="4278"/>
                  </a:lnTo>
                  <a:lnTo>
                    <a:pt x="780" y="4272"/>
                  </a:lnTo>
                  <a:lnTo>
                    <a:pt x="780" y="4254"/>
                  </a:lnTo>
                  <a:lnTo>
                    <a:pt x="774" y="4248"/>
                  </a:lnTo>
                  <a:lnTo>
                    <a:pt x="762" y="4236"/>
                  </a:lnTo>
                  <a:lnTo>
                    <a:pt x="750" y="4230"/>
                  </a:lnTo>
                  <a:lnTo>
                    <a:pt x="744" y="4212"/>
                  </a:lnTo>
                  <a:lnTo>
                    <a:pt x="732" y="4182"/>
                  </a:lnTo>
                  <a:lnTo>
                    <a:pt x="732" y="4170"/>
                  </a:lnTo>
                  <a:lnTo>
                    <a:pt x="726" y="4164"/>
                  </a:lnTo>
                  <a:lnTo>
                    <a:pt x="726" y="4152"/>
                  </a:lnTo>
                  <a:lnTo>
                    <a:pt x="726" y="4140"/>
                  </a:lnTo>
                  <a:lnTo>
                    <a:pt x="738" y="4122"/>
                  </a:lnTo>
                  <a:lnTo>
                    <a:pt x="744" y="4104"/>
                  </a:lnTo>
                  <a:lnTo>
                    <a:pt x="762" y="4080"/>
                  </a:lnTo>
                  <a:lnTo>
                    <a:pt x="768" y="4080"/>
                  </a:lnTo>
                  <a:lnTo>
                    <a:pt x="774" y="4086"/>
                  </a:lnTo>
                  <a:lnTo>
                    <a:pt x="780" y="4086"/>
                  </a:lnTo>
                  <a:lnTo>
                    <a:pt x="780" y="4080"/>
                  </a:lnTo>
                  <a:lnTo>
                    <a:pt x="780" y="4074"/>
                  </a:lnTo>
                  <a:lnTo>
                    <a:pt x="798" y="4074"/>
                  </a:lnTo>
                  <a:lnTo>
                    <a:pt x="810" y="4068"/>
                  </a:lnTo>
                  <a:lnTo>
                    <a:pt x="816" y="4068"/>
                  </a:lnTo>
                  <a:lnTo>
                    <a:pt x="822" y="4074"/>
                  </a:lnTo>
                  <a:lnTo>
                    <a:pt x="816" y="4086"/>
                  </a:lnTo>
                  <a:lnTo>
                    <a:pt x="822" y="4086"/>
                  </a:lnTo>
                  <a:lnTo>
                    <a:pt x="834" y="4080"/>
                  </a:lnTo>
                  <a:lnTo>
                    <a:pt x="834" y="4086"/>
                  </a:lnTo>
                  <a:lnTo>
                    <a:pt x="840" y="4086"/>
                  </a:lnTo>
                  <a:lnTo>
                    <a:pt x="840" y="4080"/>
                  </a:lnTo>
                  <a:lnTo>
                    <a:pt x="846" y="4068"/>
                  </a:lnTo>
                  <a:lnTo>
                    <a:pt x="864" y="4062"/>
                  </a:lnTo>
                  <a:lnTo>
                    <a:pt x="870" y="4056"/>
                  </a:lnTo>
                  <a:lnTo>
                    <a:pt x="876" y="4056"/>
                  </a:lnTo>
                  <a:lnTo>
                    <a:pt x="888" y="4044"/>
                  </a:lnTo>
                  <a:lnTo>
                    <a:pt x="900" y="4026"/>
                  </a:lnTo>
                  <a:lnTo>
                    <a:pt x="906" y="4014"/>
                  </a:lnTo>
                  <a:lnTo>
                    <a:pt x="918" y="4002"/>
                  </a:lnTo>
                  <a:lnTo>
                    <a:pt x="924" y="4002"/>
                  </a:lnTo>
                  <a:lnTo>
                    <a:pt x="930" y="3996"/>
                  </a:lnTo>
                  <a:lnTo>
                    <a:pt x="936" y="3990"/>
                  </a:lnTo>
                  <a:lnTo>
                    <a:pt x="936" y="3996"/>
                  </a:lnTo>
                  <a:lnTo>
                    <a:pt x="942" y="3996"/>
                  </a:lnTo>
                  <a:lnTo>
                    <a:pt x="954" y="4002"/>
                  </a:lnTo>
                  <a:lnTo>
                    <a:pt x="966" y="4008"/>
                  </a:lnTo>
                  <a:lnTo>
                    <a:pt x="972" y="4014"/>
                  </a:lnTo>
                  <a:lnTo>
                    <a:pt x="972" y="4026"/>
                  </a:lnTo>
                  <a:lnTo>
                    <a:pt x="978" y="4032"/>
                  </a:lnTo>
                  <a:lnTo>
                    <a:pt x="984" y="4038"/>
                  </a:lnTo>
                  <a:lnTo>
                    <a:pt x="990" y="4038"/>
                  </a:lnTo>
                  <a:lnTo>
                    <a:pt x="990" y="4032"/>
                  </a:lnTo>
                  <a:lnTo>
                    <a:pt x="996" y="4032"/>
                  </a:lnTo>
                  <a:lnTo>
                    <a:pt x="1008" y="4032"/>
                  </a:lnTo>
                  <a:lnTo>
                    <a:pt x="1014" y="4032"/>
                  </a:lnTo>
                  <a:lnTo>
                    <a:pt x="1020" y="4032"/>
                  </a:lnTo>
                  <a:lnTo>
                    <a:pt x="1044" y="4032"/>
                  </a:lnTo>
                  <a:lnTo>
                    <a:pt x="1056" y="4038"/>
                  </a:lnTo>
                  <a:lnTo>
                    <a:pt x="1092" y="4062"/>
                  </a:lnTo>
                  <a:lnTo>
                    <a:pt x="1104" y="4068"/>
                  </a:lnTo>
                  <a:lnTo>
                    <a:pt x="1116" y="4068"/>
                  </a:lnTo>
                  <a:lnTo>
                    <a:pt x="1116" y="4056"/>
                  </a:lnTo>
                  <a:lnTo>
                    <a:pt x="1104" y="4050"/>
                  </a:lnTo>
                  <a:lnTo>
                    <a:pt x="1092" y="4044"/>
                  </a:lnTo>
                  <a:lnTo>
                    <a:pt x="1092" y="4038"/>
                  </a:lnTo>
                  <a:lnTo>
                    <a:pt x="1092" y="4026"/>
                  </a:lnTo>
                  <a:lnTo>
                    <a:pt x="1086" y="4032"/>
                  </a:lnTo>
                  <a:lnTo>
                    <a:pt x="1080" y="4032"/>
                  </a:lnTo>
                  <a:lnTo>
                    <a:pt x="1068" y="4014"/>
                  </a:lnTo>
                  <a:lnTo>
                    <a:pt x="1050" y="4008"/>
                  </a:lnTo>
                  <a:lnTo>
                    <a:pt x="1044" y="4008"/>
                  </a:lnTo>
                  <a:lnTo>
                    <a:pt x="1044" y="4002"/>
                  </a:lnTo>
                  <a:lnTo>
                    <a:pt x="1038" y="4002"/>
                  </a:lnTo>
                  <a:lnTo>
                    <a:pt x="1032" y="4002"/>
                  </a:lnTo>
                  <a:lnTo>
                    <a:pt x="1026" y="3996"/>
                  </a:lnTo>
                  <a:lnTo>
                    <a:pt x="1026" y="3990"/>
                  </a:lnTo>
                  <a:lnTo>
                    <a:pt x="1020" y="3990"/>
                  </a:lnTo>
                  <a:lnTo>
                    <a:pt x="1014" y="3990"/>
                  </a:lnTo>
                  <a:lnTo>
                    <a:pt x="1014" y="3996"/>
                  </a:lnTo>
                  <a:lnTo>
                    <a:pt x="1020" y="4008"/>
                  </a:lnTo>
                  <a:lnTo>
                    <a:pt x="1002" y="3990"/>
                  </a:lnTo>
                  <a:lnTo>
                    <a:pt x="990" y="3978"/>
                  </a:lnTo>
                  <a:lnTo>
                    <a:pt x="960" y="3960"/>
                  </a:lnTo>
                  <a:lnTo>
                    <a:pt x="948" y="3960"/>
                  </a:lnTo>
                  <a:lnTo>
                    <a:pt x="942" y="3960"/>
                  </a:lnTo>
                  <a:lnTo>
                    <a:pt x="936" y="3960"/>
                  </a:lnTo>
                  <a:lnTo>
                    <a:pt x="930" y="3960"/>
                  </a:lnTo>
                  <a:lnTo>
                    <a:pt x="924" y="3960"/>
                  </a:lnTo>
                  <a:lnTo>
                    <a:pt x="906" y="3972"/>
                  </a:lnTo>
                  <a:lnTo>
                    <a:pt x="900" y="3972"/>
                  </a:lnTo>
                  <a:lnTo>
                    <a:pt x="888" y="3984"/>
                  </a:lnTo>
                  <a:lnTo>
                    <a:pt x="882" y="3996"/>
                  </a:lnTo>
                  <a:lnTo>
                    <a:pt x="864" y="4008"/>
                  </a:lnTo>
                  <a:lnTo>
                    <a:pt x="858" y="4014"/>
                  </a:lnTo>
                  <a:lnTo>
                    <a:pt x="840" y="4020"/>
                  </a:lnTo>
                  <a:lnTo>
                    <a:pt x="840" y="4026"/>
                  </a:lnTo>
                  <a:lnTo>
                    <a:pt x="816" y="4038"/>
                  </a:lnTo>
                  <a:lnTo>
                    <a:pt x="798" y="4044"/>
                  </a:lnTo>
                  <a:lnTo>
                    <a:pt x="792" y="4044"/>
                  </a:lnTo>
                  <a:lnTo>
                    <a:pt x="786" y="4050"/>
                  </a:lnTo>
                  <a:lnTo>
                    <a:pt x="768" y="4062"/>
                  </a:lnTo>
                  <a:lnTo>
                    <a:pt x="762" y="4062"/>
                  </a:lnTo>
                  <a:lnTo>
                    <a:pt x="756" y="4062"/>
                  </a:lnTo>
                  <a:lnTo>
                    <a:pt x="756" y="4056"/>
                  </a:lnTo>
                  <a:lnTo>
                    <a:pt x="750" y="4056"/>
                  </a:lnTo>
                  <a:lnTo>
                    <a:pt x="750" y="4044"/>
                  </a:lnTo>
                  <a:lnTo>
                    <a:pt x="750" y="4020"/>
                  </a:lnTo>
                  <a:lnTo>
                    <a:pt x="750" y="4008"/>
                  </a:lnTo>
                  <a:lnTo>
                    <a:pt x="750" y="4002"/>
                  </a:lnTo>
                  <a:lnTo>
                    <a:pt x="744" y="3990"/>
                  </a:lnTo>
                  <a:lnTo>
                    <a:pt x="744" y="3966"/>
                  </a:lnTo>
                  <a:lnTo>
                    <a:pt x="744" y="3942"/>
                  </a:lnTo>
                  <a:lnTo>
                    <a:pt x="750" y="3936"/>
                  </a:lnTo>
                  <a:lnTo>
                    <a:pt x="744" y="3924"/>
                  </a:lnTo>
                  <a:lnTo>
                    <a:pt x="738" y="3924"/>
                  </a:lnTo>
                  <a:lnTo>
                    <a:pt x="738" y="3918"/>
                  </a:lnTo>
                  <a:lnTo>
                    <a:pt x="744" y="3906"/>
                  </a:lnTo>
                  <a:lnTo>
                    <a:pt x="744" y="3900"/>
                  </a:lnTo>
                  <a:lnTo>
                    <a:pt x="732" y="3888"/>
                  </a:lnTo>
                  <a:lnTo>
                    <a:pt x="744" y="3852"/>
                  </a:lnTo>
                  <a:lnTo>
                    <a:pt x="750" y="3846"/>
                  </a:lnTo>
                  <a:lnTo>
                    <a:pt x="750" y="3840"/>
                  </a:lnTo>
                  <a:lnTo>
                    <a:pt x="750" y="3834"/>
                  </a:lnTo>
                  <a:lnTo>
                    <a:pt x="750" y="3822"/>
                  </a:lnTo>
                  <a:lnTo>
                    <a:pt x="744" y="3822"/>
                  </a:lnTo>
                  <a:lnTo>
                    <a:pt x="750" y="3816"/>
                  </a:lnTo>
                  <a:lnTo>
                    <a:pt x="750" y="3798"/>
                  </a:lnTo>
                  <a:lnTo>
                    <a:pt x="744" y="3798"/>
                  </a:lnTo>
                  <a:lnTo>
                    <a:pt x="744" y="3810"/>
                  </a:lnTo>
                  <a:lnTo>
                    <a:pt x="738" y="3840"/>
                  </a:lnTo>
                  <a:lnTo>
                    <a:pt x="738" y="3852"/>
                  </a:lnTo>
                  <a:lnTo>
                    <a:pt x="738" y="3858"/>
                  </a:lnTo>
                  <a:lnTo>
                    <a:pt x="738" y="3864"/>
                  </a:lnTo>
                  <a:lnTo>
                    <a:pt x="732" y="3858"/>
                  </a:lnTo>
                  <a:lnTo>
                    <a:pt x="732" y="3834"/>
                  </a:lnTo>
                  <a:lnTo>
                    <a:pt x="738" y="3828"/>
                  </a:lnTo>
                  <a:lnTo>
                    <a:pt x="732" y="3822"/>
                  </a:lnTo>
                  <a:lnTo>
                    <a:pt x="738" y="3810"/>
                  </a:lnTo>
                  <a:lnTo>
                    <a:pt x="744" y="3798"/>
                  </a:lnTo>
                  <a:lnTo>
                    <a:pt x="738" y="3786"/>
                  </a:lnTo>
                  <a:lnTo>
                    <a:pt x="756" y="3750"/>
                  </a:lnTo>
                  <a:lnTo>
                    <a:pt x="756" y="3744"/>
                  </a:lnTo>
                  <a:lnTo>
                    <a:pt x="762" y="3714"/>
                  </a:lnTo>
                  <a:lnTo>
                    <a:pt x="762" y="3696"/>
                  </a:lnTo>
                  <a:lnTo>
                    <a:pt x="762" y="3690"/>
                  </a:lnTo>
                  <a:lnTo>
                    <a:pt x="774" y="3666"/>
                  </a:lnTo>
                  <a:lnTo>
                    <a:pt x="774" y="3630"/>
                  </a:lnTo>
                  <a:lnTo>
                    <a:pt x="774" y="3612"/>
                  </a:lnTo>
                  <a:lnTo>
                    <a:pt x="774" y="3594"/>
                  </a:lnTo>
                  <a:lnTo>
                    <a:pt x="768" y="3576"/>
                  </a:lnTo>
                  <a:lnTo>
                    <a:pt x="768" y="3570"/>
                  </a:lnTo>
                  <a:lnTo>
                    <a:pt x="774" y="3570"/>
                  </a:lnTo>
                  <a:lnTo>
                    <a:pt x="780" y="3564"/>
                  </a:lnTo>
                  <a:lnTo>
                    <a:pt x="780" y="3558"/>
                  </a:lnTo>
                  <a:lnTo>
                    <a:pt x="786" y="3540"/>
                  </a:lnTo>
                  <a:lnTo>
                    <a:pt x="780" y="3528"/>
                  </a:lnTo>
                  <a:lnTo>
                    <a:pt x="780" y="3522"/>
                  </a:lnTo>
                  <a:lnTo>
                    <a:pt x="786" y="3516"/>
                  </a:lnTo>
                  <a:lnTo>
                    <a:pt x="792" y="3516"/>
                  </a:lnTo>
                  <a:lnTo>
                    <a:pt x="792" y="3522"/>
                  </a:lnTo>
                  <a:lnTo>
                    <a:pt x="798" y="3516"/>
                  </a:lnTo>
                  <a:lnTo>
                    <a:pt x="804" y="3510"/>
                  </a:lnTo>
                  <a:lnTo>
                    <a:pt x="810" y="3504"/>
                  </a:lnTo>
                  <a:lnTo>
                    <a:pt x="810" y="3498"/>
                  </a:lnTo>
                  <a:lnTo>
                    <a:pt x="810" y="3492"/>
                  </a:lnTo>
                  <a:lnTo>
                    <a:pt x="810" y="3486"/>
                  </a:lnTo>
                  <a:lnTo>
                    <a:pt x="816" y="3480"/>
                  </a:lnTo>
                  <a:lnTo>
                    <a:pt x="834" y="3474"/>
                  </a:lnTo>
                  <a:lnTo>
                    <a:pt x="846" y="3474"/>
                  </a:lnTo>
                  <a:lnTo>
                    <a:pt x="852" y="3474"/>
                  </a:lnTo>
                  <a:lnTo>
                    <a:pt x="870" y="3474"/>
                  </a:lnTo>
                  <a:lnTo>
                    <a:pt x="882" y="3474"/>
                  </a:lnTo>
                  <a:lnTo>
                    <a:pt x="936" y="3474"/>
                  </a:lnTo>
                  <a:lnTo>
                    <a:pt x="1008" y="3474"/>
                  </a:lnTo>
                  <a:lnTo>
                    <a:pt x="1092" y="3474"/>
                  </a:lnTo>
                  <a:lnTo>
                    <a:pt x="1110" y="3474"/>
                  </a:lnTo>
                  <a:lnTo>
                    <a:pt x="1122" y="3474"/>
                  </a:lnTo>
                  <a:lnTo>
                    <a:pt x="1128" y="3474"/>
                  </a:lnTo>
                  <a:lnTo>
                    <a:pt x="1134" y="3474"/>
                  </a:lnTo>
                  <a:lnTo>
                    <a:pt x="1146" y="3474"/>
                  </a:lnTo>
                  <a:lnTo>
                    <a:pt x="1230" y="3474"/>
                  </a:lnTo>
                  <a:lnTo>
                    <a:pt x="1266" y="3474"/>
                  </a:lnTo>
                  <a:lnTo>
                    <a:pt x="1296" y="3474"/>
                  </a:lnTo>
                  <a:lnTo>
                    <a:pt x="1356" y="3474"/>
                  </a:lnTo>
                  <a:lnTo>
                    <a:pt x="1392" y="3474"/>
                  </a:lnTo>
                  <a:lnTo>
                    <a:pt x="1398" y="3474"/>
                  </a:lnTo>
                  <a:lnTo>
                    <a:pt x="1434" y="3474"/>
                  </a:lnTo>
                  <a:lnTo>
                    <a:pt x="1440" y="3474"/>
                  </a:lnTo>
                  <a:lnTo>
                    <a:pt x="1458" y="3474"/>
                  </a:lnTo>
                  <a:lnTo>
                    <a:pt x="1494" y="3474"/>
                  </a:lnTo>
                  <a:lnTo>
                    <a:pt x="1506" y="3474"/>
                  </a:lnTo>
                  <a:lnTo>
                    <a:pt x="1512" y="3474"/>
                  </a:lnTo>
                  <a:lnTo>
                    <a:pt x="1518" y="3474"/>
                  </a:lnTo>
                  <a:lnTo>
                    <a:pt x="1524" y="3474"/>
                  </a:lnTo>
                  <a:lnTo>
                    <a:pt x="1608" y="3474"/>
                  </a:lnTo>
                  <a:lnTo>
                    <a:pt x="1620" y="3474"/>
                  </a:lnTo>
                  <a:lnTo>
                    <a:pt x="1644" y="3474"/>
                  </a:lnTo>
                  <a:lnTo>
                    <a:pt x="1698" y="3474"/>
                  </a:lnTo>
                  <a:lnTo>
                    <a:pt x="1698" y="3396"/>
                  </a:lnTo>
                  <a:lnTo>
                    <a:pt x="1698" y="3384"/>
                  </a:lnTo>
                  <a:lnTo>
                    <a:pt x="1698" y="3378"/>
                  </a:lnTo>
                  <a:lnTo>
                    <a:pt x="1704" y="3300"/>
                  </a:lnTo>
                  <a:lnTo>
                    <a:pt x="1716" y="3300"/>
                  </a:lnTo>
                  <a:lnTo>
                    <a:pt x="1740" y="3300"/>
                  </a:lnTo>
                  <a:lnTo>
                    <a:pt x="1764" y="3294"/>
                  </a:lnTo>
                  <a:lnTo>
                    <a:pt x="1776" y="3294"/>
                  </a:lnTo>
                  <a:lnTo>
                    <a:pt x="1782" y="3294"/>
                  </a:lnTo>
                  <a:lnTo>
                    <a:pt x="1818" y="3282"/>
                  </a:lnTo>
                  <a:lnTo>
                    <a:pt x="1836" y="3282"/>
                  </a:lnTo>
                  <a:lnTo>
                    <a:pt x="1854" y="3288"/>
                  </a:lnTo>
                  <a:lnTo>
                    <a:pt x="1860" y="3288"/>
                  </a:lnTo>
                  <a:lnTo>
                    <a:pt x="1878" y="3294"/>
                  </a:lnTo>
                  <a:lnTo>
                    <a:pt x="1884" y="3294"/>
                  </a:lnTo>
                  <a:lnTo>
                    <a:pt x="1902" y="3300"/>
                  </a:lnTo>
                  <a:lnTo>
                    <a:pt x="1920" y="3300"/>
                  </a:lnTo>
                  <a:lnTo>
                    <a:pt x="1932" y="3294"/>
                  </a:lnTo>
                  <a:lnTo>
                    <a:pt x="1968" y="3264"/>
                  </a:lnTo>
                  <a:lnTo>
                    <a:pt x="1986" y="3258"/>
                  </a:lnTo>
                  <a:lnTo>
                    <a:pt x="1992" y="3252"/>
                  </a:lnTo>
                  <a:lnTo>
                    <a:pt x="2004" y="3252"/>
                  </a:lnTo>
                  <a:lnTo>
                    <a:pt x="2022" y="3258"/>
                  </a:lnTo>
                  <a:lnTo>
                    <a:pt x="2034" y="3264"/>
                  </a:lnTo>
                  <a:lnTo>
                    <a:pt x="2040" y="3264"/>
                  </a:lnTo>
                  <a:lnTo>
                    <a:pt x="2052" y="3270"/>
                  </a:lnTo>
                  <a:lnTo>
                    <a:pt x="2070" y="3276"/>
                  </a:lnTo>
                  <a:lnTo>
                    <a:pt x="2082" y="3276"/>
                  </a:lnTo>
                  <a:lnTo>
                    <a:pt x="2088" y="3276"/>
                  </a:lnTo>
                  <a:lnTo>
                    <a:pt x="2100" y="3282"/>
                  </a:lnTo>
                  <a:lnTo>
                    <a:pt x="2112" y="3288"/>
                  </a:lnTo>
                  <a:lnTo>
                    <a:pt x="2118" y="3294"/>
                  </a:lnTo>
                  <a:lnTo>
                    <a:pt x="2130" y="3294"/>
                  </a:lnTo>
                  <a:lnTo>
                    <a:pt x="2148" y="3294"/>
                  </a:lnTo>
                  <a:lnTo>
                    <a:pt x="2160" y="3294"/>
                  </a:lnTo>
                  <a:lnTo>
                    <a:pt x="2160" y="3288"/>
                  </a:lnTo>
                  <a:lnTo>
                    <a:pt x="2202" y="3276"/>
                  </a:lnTo>
                  <a:lnTo>
                    <a:pt x="2220" y="3270"/>
                  </a:lnTo>
                  <a:lnTo>
                    <a:pt x="2226" y="3264"/>
                  </a:lnTo>
                  <a:lnTo>
                    <a:pt x="2226" y="3258"/>
                  </a:lnTo>
                  <a:lnTo>
                    <a:pt x="2238" y="3252"/>
                  </a:lnTo>
                  <a:lnTo>
                    <a:pt x="2262" y="3228"/>
                  </a:lnTo>
                  <a:lnTo>
                    <a:pt x="2274" y="3216"/>
                  </a:lnTo>
                  <a:lnTo>
                    <a:pt x="2274" y="3210"/>
                  </a:lnTo>
                  <a:lnTo>
                    <a:pt x="2280" y="3198"/>
                  </a:lnTo>
                  <a:lnTo>
                    <a:pt x="2280" y="3186"/>
                  </a:lnTo>
                  <a:lnTo>
                    <a:pt x="2280" y="3162"/>
                  </a:lnTo>
                  <a:lnTo>
                    <a:pt x="2286" y="3156"/>
                  </a:lnTo>
                  <a:lnTo>
                    <a:pt x="2286" y="3144"/>
                  </a:lnTo>
                  <a:lnTo>
                    <a:pt x="2292" y="3120"/>
                  </a:lnTo>
                  <a:lnTo>
                    <a:pt x="2298" y="3108"/>
                  </a:lnTo>
                  <a:lnTo>
                    <a:pt x="2310" y="3102"/>
                  </a:lnTo>
                  <a:lnTo>
                    <a:pt x="2316" y="3090"/>
                  </a:lnTo>
                  <a:lnTo>
                    <a:pt x="2322" y="3090"/>
                  </a:lnTo>
                  <a:lnTo>
                    <a:pt x="2334" y="3078"/>
                  </a:lnTo>
                  <a:lnTo>
                    <a:pt x="2358" y="3066"/>
                  </a:lnTo>
                  <a:lnTo>
                    <a:pt x="2388" y="3054"/>
                  </a:lnTo>
                  <a:lnTo>
                    <a:pt x="2394" y="3054"/>
                  </a:lnTo>
                  <a:lnTo>
                    <a:pt x="2400" y="3054"/>
                  </a:lnTo>
                  <a:lnTo>
                    <a:pt x="2406" y="3072"/>
                  </a:lnTo>
                  <a:lnTo>
                    <a:pt x="2412" y="3078"/>
                  </a:lnTo>
                  <a:lnTo>
                    <a:pt x="2424" y="3090"/>
                  </a:lnTo>
                  <a:lnTo>
                    <a:pt x="2430" y="3102"/>
                  </a:lnTo>
                  <a:lnTo>
                    <a:pt x="2448" y="3120"/>
                  </a:lnTo>
                  <a:lnTo>
                    <a:pt x="2496" y="3150"/>
                  </a:lnTo>
                  <a:lnTo>
                    <a:pt x="2502" y="3156"/>
                  </a:lnTo>
                  <a:lnTo>
                    <a:pt x="2526" y="3168"/>
                  </a:lnTo>
                  <a:lnTo>
                    <a:pt x="2538" y="3174"/>
                  </a:lnTo>
                  <a:lnTo>
                    <a:pt x="2556" y="3186"/>
                  </a:lnTo>
                  <a:lnTo>
                    <a:pt x="2568" y="3186"/>
                  </a:lnTo>
                  <a:lnTo>
                    <a:pt x="2574" y="3186"/>
                  </a:lnTo>
                  <a:lnTo>
                    <a:pt x="2586" y="3192"/>
                  </a:lnTo>
                  <a:lnTo>
                    <a:pt x="2604" y="3198"/>
                  </a:lnTo>
                  <a:lnTo>
                    <a:pt x="2622" y="3198"/>
                  </a:lnTo>
                  <a:lnTo>
                    <a:pt x="2628" y="3198"/>
                  </a:lnTo>
                  <a:lnTo>
                    <a:pt x="2640" y="3198"/>
                  </a:lnTo>
                  <a:lnTo>
                    <a:pt x="2664" y="3216"/>
                  </a:lnTo>
                  <a:lnTo>
                    <a:pt x="2676" y="3222"/>
                  </a:lnTo>
                  <a:lnTo>
                    <a:pt x="2688" y="3222"/>
                  </a:lnTo>
                  <a:lnTo>
                    <a:pt x="2712" y="3228"/>
                  </a:lnTo>
                  <a:lnTo>
                    <a:pt x="2718" y="3222"/>
                  </a:lnTo>
                  <a:lnTo>
                    <a:pt x="2724" y="3228"/>
                  </a:lnTo>
                  <a:lnTo>
                    <a:pt x="2730" y="3234"/>
                  </a:lnTo>
                  <a:lnTo>
                    <a:pt x="2736" y="3234"/>
                  </a:lnTo>
                  <a:lnTo>
                    <a:pt x="2742" y="3252"/>
                  </a:lnTo>
                  <a:lnTo>
                    <a:pt x="2760" y="3264"/>
                  </a:lnTo>
                  <a:lnTo>
                    <a:pt x="2784" y="3282"/>
                  </a:lnTo>
                  <a:lnTo>
                    <a:pt x="2832" y="3306"/>
                  </a:lnTo>
                  <a:lnTo>
                    <a:pt x="2838" y="3306"/>
                  </a:lnTo>
                  <a:lnTo>
                    <a:pt x="2850" y="3306"/>
                  </a:lnTo>
                  <a:lnTo>
                    <a:pt x="2868" y="3306"/>
                  </a:lnTo>
                  <a:lnTo>
                    <a:pt x="2886" y="3294"/>
                  </a:lnTo>
                  <a:lnTo>
                    <a:pt x="2904" y="3294"/>
                  </a:lnTo>
                  <a:lnTo>
                    <a:pt x="2910" y="3294"/>
                  </a:lnTo>
                  <a:lnTo>
                    <a:pt x="2922" y="3312"/>
                  </a:lnTo>
                  <a:lnTo>
                    <a:pt x="2934" y="3324"/>
                  </a:lnTo>
                  <a:lnTo>
                    <a:pt x="2940" y="3330"/>
                  </a:lnTo>
                  <a:lnTo>
                    <a:pt x="2946" y="3330"/>
                  </a:lnTo>
                  <a:lnTo>
                    <a:pt x="2958" y="3330"/>
                  </a:lnTo>
                  <a:lnTo>
                    <a:pt x="2976" y="3336"/>
                  </a:lnTo>
                  <a:lnTo>
                    <a:pt x="2988" y="3336"/>
                  </a:lnTo>
                  <a:lnTo>
                    <a:pt x="2988" y="3342"/>
                  </a:lnTo>
                  <a:lnTo>
                    <a:pt x="3018" y="3342"/>
                  </a:lnTo>
                  <a:lnTo>
                    <a:pt x="3024" y="3342"/>
                  </a:lnTo>
                  <a:lnTo>
                    <a:pt x="3042" y="3366"/>
                  </a:lnTo>
                  <a:lnTo>
                    <a:pt x="3054" y="3378"/>
                  </a:lnTo>
                  <a:lnTo>
                    <a:pt x="3060" y="3378"/>
                  </a:lnTo>
                  <a:lnTo>
                    <a:pt x="3078" y="3390"/>
                  </a:lnTo>
                  <a:lnTo>
                    <a:pt x="3102" y="3402"/>
                  </a:lnTo>
                  <a:lnTo>
                    <a:pt x="3120" y="3408"/>
                  </a:lnTo>
                  <a:lnTo>
                    <a:pt x="3132" y="3408"/>
                  </a:lnTo>
                  <a:lnTo>
                    <a:pt x="3138" y="3408"/>
                  </a:lnTo>
                  <a:lnTo>
                    <a:pt x="3144" y="3408"/>
                  </a:lnTo>
                  <a:lnTo>
                    <a:pt x="3174" y="3402"/>
                  </a:lnTo>
                  <a:lnTo>
                    <a:pt x="3186" y="3402"/>
                  </a:lnTo>
                  <a:lnTo>
                    <a:pt x="3204" y="3402"/>
                  </a:lnTo>
                  <a:lnTo>
                    <a:pt x="3222" y="3402"/>
                  </a:lnTo>
                  <a:lnTo>
                    <a:pt x="3240" y="3420"/>
                  </a:lnTo>
                  <a:lnTo>
                    <a:pt x="3246" y="3420"/>
                  </a:lnTo>
                  <a:lnTo>
                    <a:pt x="3288" y="3420"/>
                  </a:lnTo>
                  <a:lnTo>
                    <a:pt x="3294" y="3420"/>
                  </a:lnTo>
                  <a:lnTo>
                    <a:pt x="3312" y="3420"/>
                  </a:lnTo>
                  <a:lnTo>
                    <a:pt x="3324" y="3414"/>
                  </a:lnTo>
                  <a:lnTo>
                    <a:pt x="3330" y="3414"/>
                  </a:lnTo>
                  <a:lnTo>
                    <a:pt x="3342" y="3414"/>
                  </a:lnTo>
                  <a:lnTo>
                    <a:pt x="3348" y="3408"/>
                  </a:lnTo>
                  <a:lnTo>
                    <a:pt x="3354" y="3402"/>
                  </a:lnTo>
                  <a:lnTo>
                    <a:pt x="3360" y="3366"/>
                  </a:lnTo>
                  <a:lnTo>
                    <a:pt x="3366" y="3360"/>
                  </a:lnTo>
                  <a:lnTo>
                    <a:pt x="3384" y="3354"/>
                  </a:lnTo>
                  <a:lnTo>
                    <a:pt x="3408" y="3354"/>
                  </a:lnTo>
                  <a:lnTo>
                    <a:pt x="3420" y="3354"/>
                  </a:lnTo>
                  <a:lnTo>
                    <a:pt x="3426" y="3354"/>
                  </a:lnTo>
                  <a:lnTo>
                    <a:pt x="3432" y="3354"/>
                  </a:lnTo>
                  <a:lnTo>
                    <a:pt x="3444" y="3354"/>
                  </a:lnTo>
                  <a:lnTo>
                    <a:pt x="3456" y="3354"/>
                  </a:lnTo>
                  <a:lnTo>
                    <a:pt x="3462" y="3348"/>
                  </a:lnTo>
                  <a:lnTo>
                    <a:pt x="3480" y="3348"/>
                  </a:lnTo>
                  <a:lnTo>
                    <a:pt x="3498" y="3342"/>
                  </a:lnTo>
                  <a:lnTo>
                    <a:pt x="3516" y="3330"/>
                  </a:lnTo>
                  <a:lnTo>
                    <a:pt x="3534" y="3324"/>
                  </a:lnTo>
                  <a:lnTo>
                    <a:pt x="3546" y="3324"/>
                  </a:lnTo>
                  <a:lnTo>
                    <a:pt x="3558" y="3324"/>
                  </a:lnTo>
                  <a:lnTo>
                    <a:pt x="3576" y="3324"/>
                  </a:lnTo>
                  <a:lnTo>
                    <a:pt x="3588" y="3324"/>
                  </a:lnTo>
                  <a:lnTo>
                    <a:pt x="3612" y="3318"/>
                  </a:lnTo>
                  <a:lnTo>
                    <a:pt x="3636" y="3300"/>
                  </a:lnTo>
                  <a:lnTo>
                    <a:pt x="3648" y="3288"/>
                  </a:lnTo>
                  <a:lnTo>
                    <a:pt x="3660" y="3270"/>
                  </a:lnTo>
                  <a:lnTo>
                    <a:pt x="3672" y="3252"/>
                  </a:lnTo>
                  <a:lnTo>
                    <a:pt x="3678" y="3234"/>
                  </a:lnTo>
                  <a:lnTo>
                    <a:pt x="3678" y="3216"/>
                  </a:lnTo>
                  <a:lnTo>
                    <a:pt x="3678" y="3204"/>
                  </a:lnTo>
                  <a:lnTo>
                    <a:pt x="3672" y="3192"/>
                  </a:lnTo>
                  <a:lnTo>
                    <a:pt x="3660" y="3186"/>
                  </a:lnTo>
                  <a:lnTo>
                    <a:pt x="3660" y="3180"/>
                  </a:lnTo>
                  <a:lnTo>
                    <a:pt x="3648" y="3162"/>
                  </a:lnTo>
                  <a:lnTo>
                    <a:pt x="3624" y="3144"/>
                  </a:lnTo>
                  <a:lnTo>
                    <a:pt x="3618" y="3138"/>
                  </a:lnTo>
                  <a:lnTo>
                    <a:pt x="3618" y="3132"/>
                  </a:lnTo>
                  <a:lnTo>
                    <a:pt x="3600" y="3114"/>
                  </a:lnTo>
                  <a:lnTo>
                    <a:pt x="3588" y="3102"/>
                  </a:lnTo>
                  <a:lnTo>
                    <a:pt x="3558" y="3084"/>
                  </a:lnTo>
                  <a:lnTo>
                    <a:pt x="3522" y="3072"/>
                  </a:lnTo>
                  <a:lnTo>
                    <a:pt x="3522" y="3066"/>
                  </a:lnTo>
                  <a:lnTo>
                    <a:pt x="3516" y="3066"/>
                  </a:lnTo>
                  <a:lnTo>
                    <a:pt x="3492" y="3072"/>
                  </a:lnTo>
                  <a:lnTo>
                    <a:pt x="3474" y="3084"/>
                  </a:lnTo>
                  <a:lnTo>
                    <a:pt x="3444" y="3090"/>
                  </a:lnTo>
                  <a:lnTo>
                    <a:pt x="3426" y="3090"/>
                  </a:lnTo>
                  <a:lnTo>
                    <a:pt x="3402" y="3090"/>
                  </a:lnTo>
                  <a:lnTo>
                    <a:pt x="3396" y="3090"/>
                  </a:lnTo>
                  <a:lnTo>
                    <a:pt x="3360" y="3096"/>
                  </a:lnTo>
                  <a:lnTo>
                    <a:pt x="3354" y="3102"/>
                  </a:lnTo>
                  <a:lnTo>
                    <a:pt x="3348" y="3102"/>
                  </a:lnTo>
                  <a:lnTo>
                    <a:pt x="3336" y="3108"/>
                  </a:lnTo>
                  <a:lnTo>
                    <a:pt x="3312" y="3120"/>
                  </a:lnTo>
                  <a:lnTo>
                    <a:pt x="3282" y="3132"/>
                  </a:lnTo>
                  <a:lnTo>
                    <a:pt x="3276" y="3138"/>
                  </a:lnTo>
                  <a:lnTo>
                    <a:pt x="3270" y="3144"/>
                  </a:lnTo>
                  <a:lnTo>
                    <a:pt x="3252" y="3156"/>
                  </a:lnTo>
                  <a:lnTo>
                    <a:pt x="3246" y="3162"/>
                  </a:lnTo>
                  <a:lnTo>
                    <a:pt x="3240" y="3162"/>
                  </a:lnTo>
                  <a:lnTo>
                    <a:pt x="3174" y="3180"/>
                  </a:lnTo>
                  <a:lnTo>
                    <a:pt x="3150" y="3186"/>
                  </a:lnTo>
                  <a:lnTo>
                    <a:pt x="3138" y="3180"/>
                  </a:lnTo>
                  <a:lnTo>
                    <a:pt x="3120" y="3168"/>
                  </a:lnTo>
                  <a:lnTo>
                    <a:pt x="3102" y="3162"/>
                  </a:lnTo>
                  <a:lnTo>
                    <a:pt x="3096" y="3156"/>
                  </a:lnTo>
                  <a:lnTo>
                    <a:pt x="3060" y="3138"/>
                  </a:lnTo>
                  <a:lnTo>
                    <a:pt x="3042" y="3126"/>
                  </a:lnTo>
                  <a:lnTo>
                    <a:pt x="3030" y="3114"/>
                  </a:lnTo>
                  <a:lnTo>
                    <a:pt x="3018" y="3096"/>
                  </a:lnTo>
                  <a:lnTo>
                    <a:pt x="3000" y="3048"/>
                  </a:lnTo>
                  <a:lnTo>
                    <a:pt x="2988" y="3036"/>
                  </a:lnTo>
                  <a:lnTo>
                    <a:pt x="2976" y="3024"/>
                  </a:lnTo>
                  <a:lnTo>
                    <a:pt x="2958" y="3006"/>
                  </a:lnTo>
                  <a:lnTo>
                    <a:pt x="2946" y="3000"/>
                  </a:lnTo>
                  <a:lnTo>
                    <a:pt x="2922" y="2994"/>
                  </a:lnTo>
                  <a:lnTo>
                    <a:pt x="2910" y="2988"/>
                  </a:lnTo>
                  <a:lnTo>
                    <a:pt x="2904" y="2988"/>
                  </a:lnTo>
                  <a:lnTo>
                    <a:pt x="2892" y="2988"/>
                  </a:lnTo>
                  <a:lnTo>
                    <a:pt x="2874" y="2988"/>
                  </a:lnTo>
                  <a:lnTo>
                    <a:pt x="2844" y="2994"/>
                  </a:lnTo>
                  <a:lnTo>
                    <a:pt x="2826" y="3006"/>
                  </a:lnTo>
                  <a:lnTo>
                    <a:pt x="2814" y="3012"/>
                  </a:lnTo>
                  <a:lnTo>
                    <a:pt x="2790" y="3024"/>
                  </a:lnTo>
                  <a:lnTo>
                    <a:pt x="2784" y="3030"/>
                  </a:lnTo>
                  <a:lnTo>
                    <a:pt x="2772" y="3030"/>
                  </a:lnTo>
                  <a:lnTo>
                    <a:pt x="2754" y="3018"/>
                  </a:lnTo>
                  <a:lnTo>
                    <a:pt x="2730" y="3006"/>
                  </a:lnTo>
                  <a:lnTo>
                    <a:pt x="2718" y="2994"/>
                  </a:lnTo>
                  <a:lnTo>
                    <a:pt x="2712" y="2994"/>
                  </a:lnTo>
                  <a:lnTo>
                    <a:pt x="2706" y="2982"/>
                  </a:lnTo>
                  <a:lnTo>
                    <a:pt x="2700" y="2976"/>
                  </a:lnTo>
                  <a:lnTo>
                    <a:pt x="2700" y="2952"/>
                  </a:lnTo>
                  <a:lnTo>
                    <a:pt x="2694" y="2922"/>
                  </a:lnTo>
                  <a:lnTo>
                    <a:pt x="2682" y="2904"/>
                  </a:lnTo>
                  <a:lnTo>
                    <a:pt x="2676" y="2898"/>
                  </a:lnTo>
                  <a:lnTo>
                    <a:pt x="2664" y="2886"/>
                  </a:lnTo>
                  <a:close/>
                  <a:moveTo>
                    <a:pt x="846" y="2862"/>
                  </a:moveTo>
                  <a:lnTo>
                    <a:pt x="858" y="2844"/>
                  </a:lnTo>
                  <a:lnTo>
                    <a:pt x="870" y="2832"/>
                  </a:lnTo>
                  <a:lnTo>
                    <a:pt x="888" y="2826"/>
                  </a:lnTo>
                  <a:lnTo>
                    <a:pt x="900" y="2820"/>
                  </a:lnTo>
                  <a:lnTo>
                    <a:pt x="912" y="2820"/>
                  </a:lnTo>
                  <a:lnTo>
                    <a:pt x="918" y="2820"/>
                  </a:lnTo>
                  <a:lnTo>
                    <a:pt x="918" y="2826"/>
                  </a:lnTo>
                  <a:lnTo>
                    <a:pt x="912" y="2832"/>
                  </a:lnTo>
                  <a:lnTo>
                    <a:pt x="906" y="2838"/>
                  </a:lnTo>
                  <a:lnTo>
                    <a:pt x="858" y="2868"/>
                  </a:lnTo>
                  <a:lnTo>
                    <a:pt x="864" y="2856"/>
                  </a:lnTo>
                  <a:lnTo>
                    <a:pt x="864" y="2850"/>
                  </a:lnTo>
                  <a:lnTo>
                    <a:pt x="852" y="2862"/>
                  </a:lnTo>
                  <a:lnTo>
                    <a:pt x="846" y="2862"/>
                  </a:lnTo>
                  <a:close/>
                  <a:moveTo>
                    <a:pt x="870" y="2970"/>
                  </a:moveTo>
                  <a:lnTo>
                    <a:pt x="870" y="2952"/>
                  </a:lnTo>
                  <a:lnTo>
                    <a:pt x="876" y="2952"/>
                  </a:lnTo>
                  <a:lnTo>
                    <a:pt x="882" y="2976"/>
                  </a:lnTo>
                  <a:lnTo>
                    <a:pt x="876" y="2988"/>
                  </a:lnTo>
                  <a:lnTo>
                    <a:pt x="870" y="2988"/>
                  </a:lnTo>
                  <a:lnTo>
                    <a:pt x="870" y="2970"/>
                  </a:lnTo>
                  <a:close/>
                  <a:moveTo>
                    <a:pt x="840" y="2982"/>
                  </a:moveTo>
                  <a:lnTo>
                    <a:pt x="846" y="2982"/>
                  </a:lnTo>
                  <a:lnTo>
                    <a:pt x="852" y="2994"/>
                  </a:lnTo>
                  <a:lnTo>
                    <a:pt x="864" y="3000"/>
                  </a:lnTo>
                  <a:lnTo>
                    <a:pt x="864" y="3006"/>
                  </a:lnTo>
                  <a:lnTo>
                    <a:pt x="858" y="3006"/>
                  </a:lnTo>
                  <a:lnTo>
                    <a:pt x="852" y="3000"/>
                  </a:lnTo>
                  <a:lnTo>
                    <a:pt x="840" y="2988"/>
                  </a:lnTo>
                  <a:lnTo>
                    <a:pt x="840" y="2982"/>
                  </a:lnTo>
                  <a:close/>
                  <a:moveTo>
                    <a:pt x="762" y="2730"/>
                  </a:moveTo>
                  <a:lnTo>
                    <a:pt x="762" y="2724"/>
                  </a:lnTo>
                  <a:lnTo>
                    <a:pt x="768" y="2718"/>
                  </a:lnTo>
                  <a:lnTo>
                    <a:pt x="768" y="2724"/>
                  </a:lnTo>
                  <a:lnTo>
                    <a:pt x="768" y="2730"/>
                  </a:lnTo>
                  <a:lnTo>
                    <a:pt x="762" y="2730"/>
                  </a:lnTo>
                  <a:close/>
                  <a:moveTo>
                    <a:pt x="54" y="1998"/>
                  </a:moveTo>
                  <a:lnTo>
                    <a:pt x="66" y="1998"/>
                  </a:lnTo>
                  <a:lnTo>
                    <a:pt x="72" y="2004"/>
                  </a:lnTo>
                  <a:lnTo>
                    <a:pt x="66" y="2010"/>
                  </a:lnTo>
                  <a:lnTo>
                    <a:pt x="60" y="2010"/>
                  </a:lnTo>
                  <a:lnTo>
                    <a:pt x="54" y="2004"/>
                  </a:lnTo>
                  <a:lnTo>
                    <a:pt x="54" y="1998"/>
                  </a:lnTo>
                  <a:close/>
                </a:path>
              </a:pathLst>
            </a:custGeom>
            <a:noFill/>
            <a:ln w="12700">
              <a:solidFill>
                <a:srgbClr val="FFFFFF">
                  <a:lumMod val="65000"/>
                </a:srgb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43" name="Freeform 15"/>
            <p:cNvSpPr/>
            <p:nvPr>
              <p:custDataLst>
                <p:tags r:id="rId3"/>
              </p:custDataLst>
            </p:nvPr>
          </p:nvSpPr>
          <p:spPr bwMode="gray">
            <a:xfrm>
              <a:off x="1937909" y="1003079"/>
              <a:ext cx="5102360" cy="2348173"/>
            </a:xfrm>
            <a:custGeom>
              <a:avLst/>
              <a:gdLst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1938 w 5553075"/>
                <a:gd name="connsiteY116" fmla="*/ 877580 h 2634942"/>
                <a:gd name="connsiteX117" fmla="*/ 4071938 w 5553075"/>
                <a:gd name="connsiteY117" fmla="*/ 963305 h 2634942"/>
                <a:gd name="connsiteX118" fmla="*/ 4138613 w 5553075"/>
                <a:gd name="connsiteY118" fmla="*/ 1049030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76725 w 5553075"/>
                <a:gd name="connsiteY125" fmla="*/ 1344305 h 2634942"/>
                <a:gd name="connsiteX126" fmla="*/ 4271963 w 5553075"/>
                <a:gd name="connsiteY126" fmla="*/ 1387167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10063 w 5553075"/>
                <a:gd name="connsiteY129" fmla="*/ 1458605 h 2634942"/>
                <a:gd name="connsiteX130" fmla="*/ 4438650 w 5553075"/>
                <a:gd name="connsiteY130" fmla="*/ 1510992 h 2634942"/>
                <a:gd name="connsiteX131" fmla="*/ 4438650 w 5553075"/>
                <a:gd name="connsiteY131" fmla="*/ 1563380 h 2634942"/>
                <a:gd name="connsiteX132" fmla="*/ 4419600 w 5553075"/>
                <a:gd name="connsiteY132" fmla="*/ 1620530 h 2634942"/>
                <a:gd name="connsiteX133" fmla="*/ 4500563 w 5553075"/>
                <a:gd name="connsiteY133" fmla="*/ 1672917 h 2634942"/>
                <a:gd name="connsiteX134" fmla="*/ 4572000 w 5553075"/>
                <a:gd name="connsiteY134" fmla="*/ 1634817 h 2634942"/>
                <a:gd name="connsiteX135" fmla="*/ 4605338 w 5553075"/>
                <a:gd name="connsiteY135" fmla="*/ 1639580 h 2634942"/>
                <a:gd name="connsiteX136" fmla="*/ 4619625 w 5553075"/>
                <a:gd name="connsiteY136" fmla="*/ 1687205 h 2634942"/>
                <a:gd name="connsiteX137" fmla="*/ 4657725 w 5553075"/>
                <a:gd name="connsiteY137" fmla="*/ 1711017 h 2634942"/>
                <a:gd name="connsiteX138" fmla="*/ 4629150 w 5553075"/>
                <a:gd name="connsiteY138" fmla="*/ 1758642 h 2634942"/>
                <a:gd name="connsiteX139" fmla="*/ 4652963 w 5553075"/>
                <a:gd name="connsiteY139" fmla="*/ 1815792 h 2634942"/>
                <a:gd name="connsiteX140" fmla="*/ 4681538 w 5553075"/>
                <a:gd name="connsiteY140" fmla="*/ 1849130 h 2634942"/>
                <a:gd name="connsiteX141" fmla="*/ 4767263 w 5553075"/>
                <a:gd name="connsiteY141" fmla="*/ 1891992 h 2634942"/>
                <a:gd name="connsiteX142" fmla="*/ 4776788 w 5553075"/>
                <a:gd name="connsiteY142" fmla="*/ 1968192 h 2634942"/>
                <a:gd name="connsiteX143" fmla="*/ 4705350 w 5553075"/>
                <a:gd name="connsiteY143" fmla="*/ 1939617 h 2634942"/>
                <a:gd name="connsiteX144" fmla="*/ 4695825 w 5553075"/>
                <a:gd name="connsiteY144" fmla="*/ 1972955 h 2634942"/>
                <a:gd name="connsiteX145" fmla="*/ 4743450 w 5553075"/>
                <a:gd name="connsiteY145" fmla="*/ 2015817 h 2634942"/>
                <a:gd name="connsiteX146" fmla="*/ 4776788 w 5553075"/>
                <a:gd name="connsiteY146" fmla="*/ 2034867 h 2634942"/>
                <a:gd name="connsiteX147" fmla="*/ 4810125 w 5553075"/>
                <a:gd name="connsiteY147" fmla="*/ 2011055 h 2634942"/>
                <a:gd name="connsiteX148" fmla="*/ 4843463 w 5553075"/>
                <a:gd name="connsiteY148" fmla="*/ 2025342 h 2634942"/>
                <a:gd name="connsiteX149" fmla="*/ 4838700 w 5553075"/>
                <a:gd name="connsiteY149" fmla="*/ 2096780 h 2634942"/>
                <a:gd name="connsiteX150" fmla="*/ 4972050 w 5553075"/>
                <a:gd name="connsiteY150" fmla="*/ 2192030 h 2634942"/>
                <a:gd name="connsiteX151" fmla="*/ 4995863 w 5553075"/>
                <a:gd name="connsiteY151" fmla="*/ 2168217 h 2634942"/>
                <a:gd name="connsiteX152" fmla="*/ 5081588 w 5553075"/>
                <a:gd name="connsiteY152" fmla="*/ 2187267 h 2634942"/>
                <a:gd name="connsiteX153" fmla="*/ 5124450 w 5553075"/>
                <a:gd name="connsiteY153" fmla="*/ 2253942 h 2634942"/>
                <a:gd name="connsiteX154" fmla="*/ 5248275 w 5553075"/>
                <a:gd name="connsiteY154" fmla="*/ 2296805 h 2634942"/>
                <a:gd name="connsiteX155" fmla="*/ 5281613 w 5553075"/>
                <a:gd name="connsiteY155" fmla="*/ 2363480 h 2634942"/>
                <a:gd name="connsiteX156" fmla="*/ 5276850 w 5553075"/>
                <a:gd name="connsiteY156" fmla="*/ 2444442 h 2634942"/>
                <a:gd name="connsiteX157" fmla="*/ 5353050 w 5553075"/>
                <a:gd name="connsiteY157" fmla="*/ 2515880 h 2634942"/>
                <a:gd name="connsiteX158" fmla="*/ 5438775 w 5553075"/>
                <a:gd name="connsiteY158" fmla="*/ 2534930 h 2634942"/>
                <a:gd name="connsiteX159" fmla="*/ 5486400 w 5553075"/>
                <a:gd name="connsiteY159" fmla="*/ 2596842 h 2634942"/>
                <a:gd name="connsiteX160" fmla="*/ 5553075 w 5553075"/>
                <a:gd name="connsiteY160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1938 w 5553075"/>
                <a:gd name="connsiteY116" fmla="*/ 877580 h 2634942"/>
                <a:gd name="connsiteX117" fmla="*/ 4071938 w 5553075"/>
                <a:gd name="connsiteY117" fmla="*/ 963305 h 2634942"/>
                <a:gd name="connsiteX118" fmla="*/ 4138613 w 5553075"/>
                <a:gd name="connsiteY118" fmla="*/ 1049030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76725 w 5553075"/>
                <a:gd name="connsiteY125" fmla="*/ 1344305 h 2634942"/>
                <a:gd name="connsiteX126" fmla="*/ 4271963 w 5553075"/>
                <a:gd name="connsiteY126" fmla="*/ 1387167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438650 w 5553075"/>
                <a:gd name="connsiteY130" fmla="*/ 1510992 h 2634942"/>
                <a:gd name="connsiteX131" fmla="*/ 4438650 w 5553075"/>
                <a:gd name="connsiteY131" fmla="*/ 1563380 h 2634942"/>
                <a:gd name="connsiteX132" fmla="*/ 4419600 w 5553075"/>
                <a:gd name="connsiteY132" fmla="*/ 1620530 h 2634942"/>
                <a:gd name="connsiteX133" fmla="*/ 4500563 w 5553075"/>
                <a:gd name="connsiteY133" fmla="*/ 1672917 h 2634942"/>
                <a:gd name="connsiteX134" fmla="*/ 4572000 w 5553075"/>
                <a:gd name="connsiteY134" fmla="*/ 1634817 h 2634942"/>
                <a:gd name="connsiteX135" fmla="*/ 4605338 w 5553075"/>
                <a:gd name="connsiteY135" fmla="*/ 1639580 h 2634942"/>
                <a:gd name="connsiteX136" fmla="*/ 4619625 w 5553075"/>
                <a:gd name="connsiteY136" fmla="*/ 1687205 h 2634942"/>
                <a:gd name="connsiteX137" fmla="*/ 4657725 w 5553075"/>
                <a:gd name="connsiteY137" fmla="*/ 1711017 h 2634942"/>
                <a:gd name="connsiteX138" fmla="*/ 4629150 w 5553075"/>
                <a:gd name="connsiteY138" fmla="*/ 1758642 h 2634942"/>
                <a:gd name="connsiteX139" fmla="*/ 4652963 w 5553075"/>
                <a:gd name="connsiteY139" fmla="*/ 1815792 h 2634942"/>
                <a:gd name="connsiteX140" fmla="*/ 4681538 w 5553075"/>
                <a:gd name="connsiteY140" fmla="*/ 1849130 h 2634942"/>
                <a:gd name="connsiteX141" fmla="*/ 4767263 w 5553075"/>
                <a:gd name="connsiteY141" fmla="*/ 1891992 h 2634942"/>
                <a:gd name="connsiteX142" fmla="*/ 4776788 w 5553075"/>
                <a:gd name="connsiteY142" fmla="*/ 1968192 h 2634942"/>
                <a:gd name="connsiteX143" fmla="*/ 4705350 w 5553075"/>
                <a:gd name="connsiteY143" fmla="*/ 1939617 h 2634942"/>
                <a:gd name="connsiteX144" fmla="*/ 4695825 w 5553075"/>
                <a:gd name="connsiteY144" fmla="*/ 1972955 h 2634942"/>
                <a:gd name="connsiteX145" fmla="*/ 4743450 w 5553075"/>
                <a:gd name="connsiteY145" fmla="*/ 2015817 h 2634942"/>
                <a:gd name="connsiteX146" fmla="*/ 4776788 w 5553075"/>
                <a:gd name="connsiteY146" fmla="*/ 2034867 h 2634942"/>
                <a:gd name="connsiteX147" fmla="*/ 4810125 w 5553075"/>
                <a:gd name="connsiteY147" fmla="*/ 2011055 h 2634942"/>
                <a:gd name="connsiteX148" fmla="*/ 4843463 w 5553075"/>
                <a:gd name="connsiteY148" fmla="*/ 2025342 h 2634942"/>
                <a:gd name="connsiteX149" fmla="*/ 4838700 w 5553075"/>
                <a:gd name="connsiteY149" fmla="*/ 2096780 h 2634942"/>
                <a:gd name="connsiteX150" fmla="*/ 4972050 w 5553075"/>
                <a:gd name="connsiteY150" fmla="*/ 2192030 h 2634942"/>
                <a:gd name="connsiteX151" fmla="*/ 4995863 w 5553075"/>
                <a:gd name="connsiteY151" fmla="*/ 2168217 h 2634942"/>
                <a:gd name="connsiteX152" fmla="*/ 5081588 w 5553075"/>
                <a:gd name="connsiteY152" fmla="*/ 2187267 h 2634942"/>
                <a:gd name="connsiteX153" fmla="*/ 5124450 w 5553075"/>
                <a:gd name="connsiteY153" fmla="*/ 2253942 h 2634942"/>
                <a:gd name="connsiteX154" fmla="*/ 5248275 w 5553075"/>
                <a:gd name="connsiteY154" fmla="*/ 2296805 h 2634942"/>
                <a:gd name="connsiteX155" fmla="*/ 5281613 w 5553075"/>
                <a:gd name="connsiteY155" fmla="*/ 2363480 h 2634942"/>
                <a:gd name="connsiteX156" fmla="*/ 5276850 w 5553075"/>
                <a:gd name="connsiteY156" fmla="*/ 2444442 h 2634942"/>
                <a:gd name="connsiteX157" fmla="*/ 5353050 w 5553075"/>
                <a:gd name="connsiteY157" fmla="*/ 2515880 h 2634942"/>
                <a:gd name="connsiteX158" fmla="*/ 5438775 w 5553075"/>
                <a:gd name="connsiteY158" fmla="*/ 2534930 h 2634942"/>
                <a:gd name="connsiteX159" fmla="*/ 5486400 w 5553075"/>
                <a:gd name="connsiteY159" fmla="*/ 2596842 h 2634942"/>
                <a:gd name="connsiteX160" fmla="*/ 5553075 w 5553075"/>
                <a:gd name="connsiteY160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1938 w 5553075"/>
                <a:gd name="connsiteY116" fmla="*/ 877580 h 2634942"/>
                <a:gd name="connsiteX117" fmla="*/ 4071938 w 5553075"/>
                <a:gd name="connsiteY117" fmla="*/ 963305 h 2634942"/>
                <a:gd name="connsiteX118" fmla="*/ 4138613 w 5553075"/>
                <a:gd name="connsiteY118" fmla="*/ 1049030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76725 w 5553075"/>
                <a:gd name="connsiteY125" fmla="*/ 1344305 h 2634942"/>
                <a:gd name="connsiteX126" fmla="*/ 4271963 w 5553075"/>
                <a:gd name="connsiteY126" fmla="*/ 1387167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384675 w 5553075"/>
                <a:gd name="connsiteY130" fmla="*/ 1501467 h 2634942"/>
                <a:gd name="connsiteX131" fmla="*/ 4438650 w 5553075"/>
                <a:gd name="connsiteY131" fmla="*/ 1510992 h 2634942"/>
                <a:gd name="connsiteX132" fmla="*/ 4438650 w 5553075"/>
                <a:gd name="connsiteY132" fmla="*/ 1563380 h 2634942"/>
                <a:gd name="connsiteX133" fmla="*/ 4419600 w 5553075"/>
                <a:gd name="connsiteY133" fmla="*/ 1620530 h 2634942"/>
                <a:gd name="connsiteX134" fmla="*/ 4500563 w 5553075"/>
                <a:gd name="connsiteY134" fmla="*/ 1672917 h 2634942"/>
                <a:gd name="connsiteX135" fmla="*/ 4572000 w 5553075"/>
                <a:gd name="connsiteY135" fmla="*/ 1634817 h 2634942"/>
                <a:gd name="connsiteX136" fmla="*/ 4605338 w 5553075"/>
                <a:gd name="connsiteY136" fmla="*/ 1639580 h 2634942"/>
                <a:gd name="connsiteX137" fmla="*/ 4619625 w 5553075"/>
                <a:gd name="connsiteY137" fmla="*/ 1687205 h 2634942"/>
                <a:gd name="connsiteX138" fmla="*/ 4657725 w 5553075"/>
                <a:gd name="connsiteY138" fmla="*/ 1711017 h 2634942"/>
                <a:gd name="connsiteX139" fmla="*/ 4629150 w 5553075"/>
                <a:gd name="connsiteY139" fmla="*/ 1758642 h 2634942"/>
                <a:gd name="connsiteX140" fmla="*/ 4652963 w 5553075"/>
                <a:gd name="connsiteY140" fmla="*/ 1815792 h 2634942"/>
                <a:gd name="connsiteX141" fmla="*/ 4681538 w 5553075"/>
                <a:gd name="connsiteY141" fmla="*/ 1849130 h 2634942"/>
                <a:gd name="connsiteX142" fmla="*/ 4767263 w 5553075"/>
                <a:gd name="connsiteY142" fmla="*/ 1891992 h 2634942"/>
                <a:gd name="connsiteX143" fmla="*/ 4776788 w 5553075"/>
                <a:gd name="connsiteY143" fmla="*/ 1968192 h 2634942"/>
                <a:gd name="connsiteX144" fmla="*/ 4705350 w 5553075"/>
                <a:gd name="connsiteY144" fmla="*/ 1939617 h 2634942"/>
                <a:gd name="connsiteX145" fmla="*/ 4695825 w 5553075"/>
                <a:gd name="connsiteY145" fmla="*/ 1972955 h 2634942"/>
                <a:gd name="connsiteX146" fmla="*/ 4743450 w 5553075"/>
                <a:gd name="connsiteY146" fmla="*/ 2015817 h 2634942"/>
                <a:gd name="connsiteX147" fmla="*/ 4776788 w 5553075"/>
                <a:gd name="connsiteY147" fmla="*/ 2034867 h 2634942"/>
                <a:gd name="connsiteX148" fmla="*/ 4810125 w 5553075"/>
                <a:gd name="connsiteY148" fmla="*/ 2011055 h 2634942"/>
                <a:gd name="connsiteX149" fmla="*/ 4843463 w 5553075"/>
                <a:gd name="connsiteY149" fmla="*/ 2025342 h 2634942"/>
                <a:gd name="connsiteX150" fmla="*/ 4838700 w 5553075"/>
                <a:gd name="connsiteY150" fmla="*/ 2096780 h 2634942"/>
                <a:gd name="connsiteX151" fmla="*/ 4972050 w 5553075"/>
                <a:gd name="connsiteY151" fmla="*/ 2192030 h 2634942"/>
                <a:gd name="connsiteX152" fmla="*/ 4995863 w 5553075"/>
                <a:gd name="connsiteY152" fmla="*/ 2168217 h 2634942"/>
                <a:gd name="connsiteX153" fmla="*/ 5081588 w 5553075"/>
                <a:gd name="connsiteY153" fmla="*/ 2187267 h 2634942"/>
                <a:gd name="connsiteX154" fmla="*/ 5124450 w 5553075"/>
                <a:gd name="connsiteY154" fmla="*/ 2253942 h 2634942"/>
                <a:gd name="connsiteX155" fmla="*/ 5248275 w 5553075"/>
                <a:gd name="connsiteY155" fmla="*/ 2296805 h 2634942"/>
                <a:gd name="connsiteX156" fmla="*/ 5281613 w 5553075"/>
                <a:gd name="connsiteY156" fmla="*/ 2363480 h 2634942"/>
                <a:gd name="connsiteX157" fmla="*/ 5276850 w 5553075"/>
                <a:gd name="connsiteY157" fmla="*/ 2444442 h 2634942"/>
                <a:gd name="connsiteX158" fmla="*/ 5353050 w 5553075"/>
                <a:gd name="connsiteY158" fmla="*/ 2515880 h 2634942"/>
                <a:gd name="connsiteX159" fmla="*/ 5438775 w 5553075"/>
                <a:gd name="connsiteY159" fmla="*/ 2534930 h 2634942"/>
                <a:gd name="connsiteX160" fmla="*/ 5486400 w 5553075"/>
                <a:gd name="connsiteY160" fmla="*/ 2596842 h 2634942"/>
                <a:gd name="connsiteX161" fmla="*/ 5553075 w 5553075"/>
                <a:gd name="connsiteY161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1938 w 5553075"/>
                <a:gd name="connsiteY116" fmla="*/ 877580 h 2634942"/>
                <a:gd name="connsiteX117" fmla="*/ 4071938 w 5553075"/>
                <a:gd name="connsiteY117" fmla="*/ 963305 h 2634942"/>
                <a:gd name="connsiteX118" fmla="*/ 4138613 w 5553075"/>
                <a:gd name="connsiteY118" fmla="*/ 1049030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76725 w 5553075"/>
                <a:gd name="connsiteY125" fmla="*/ 1344305 h 2634942"/>
                <a:gd name="connsiteX126" fmla="*/ 4271963 w 5553075"/>
                <a:gd name="connsiteY126" fmla="*/ 1387167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384675 w 5553075"/>
                <a:gd name="connsiteY130" fmla="*/ 1501467 h 2634942"/>
                <a:gd name="connsiteX131" fmla="*/ 4445000 w 5553075"/>
                <a:gd name="connsiteY131" fmla="*/ 1536392 h 2634942"/>
                <a:gd name="connsiteX132" fmla="*/ 4438650 w 5553075"/>
                <a:gd name="connsiteY132" fmla="*/ 1563380 h 2634942"/>
                <a:gd name="connsiteX133" fmla="*/ 4419600 w 5553075"/>
                <a:gd name="connsiteY133" fmla="*/ 1620530 h 2634942"/>
                <a:gd name="connsiteX134" fmla="*/ 4500563 w 5553075"/>
                <a:gd name="connsiteY134" fmla="*/ 1672917 h 2634942"/>
                <a:gd name="connsiteX135" fmla="*/ 4572000 w 5553075"/>
                <a:gd name="connsiteY135" fmla="*/ 1634817 h 2634942"/>
                <a:gd name="connsiteX136" fmla="*/ 4605338 w 5553075"/>
                <a:gd name="connsiteY136" fmla="*/ 1639580 h 2634942"/>
                <a:gd name="connsiteX137" fmla="*/ 4619625 w 5553075"/>
                <a:gd name="connsiteY137" fmla="*/ 1687205 h 2634942"/>
                <a:gd name="connsiteX138" fmla="*/ 4657725 w 5553075"/>
                <a:gd name="connsiteY138" fmla="*/ 1711017 h 2634942"/>
                <a:gd name="connsiteX139" fmla="*/ 4629150 w 5553075"/>
                <a:gd name="connsiteY139" fmla="*/ 1758642 h 2634942"/>
                <a:gd name="connsiteX140" fmla="*/ 4652963 w 5553075"/>
                <a:gd name="connsiteY140" fmla="*/ 1815792 h 2634942"/>
                <a:gd name="connsiteX141" fmla="*/ 4681538 w 5553075"/>
                <a:gd name="connsiteY141" fmla="*/ 1849130 h 2634942"/>
                <a:gd name="connsiteX142" fmla="*/ 4767263 w 5553075"/>
                <a:gd name="connsiteY142" fmla="*/ 1891992 h 2634942"/>
                <a:gd name="connsiteX143" fmla="*/ 4776788 w 5553075"/>
                <a:gd name="connsiteY143" fmla="*/ 1968192 h 2634942"/>
                <a:gd name="connsiteX144" fmla="*/ 4705350 w 5553075"/>
                <a:gd name="connsiteY144" fmla="*/ 1939617 h 2634942"/>
                <a:gd name="connsiteX145" fmla="*/ 4695825 w 5553075"/>
                <a:gd name="connsiteY145" fmla="*/ 1972955 h 2634942"/>
                <a:gd name="connsiteX146" fmla="*/ 4743450 w 5553075"/>
                <a:gd name="connsiteY146" fmla="*/ 2015817 h 2634942"/>
                <a:gd name="connsiteX147" fmla="*/ 4776788 w 5553075"/>
                <a:gd name="connsiteY147" fmla="*/ 2034867 h 2634942"/>
                <a:gd name="connsiteX148" fmla="*/ 4810125 w 5553075"/>
                <a:gd name="connsiteY148" fmla="*/ 2011055 h 2634942"/>
                <a:gd name="connsiteX149" fmla="*/ 4843463 w 5553075"/>
                <a:gd name="connsiteY149" fmla="*/ 2025342 h 2634942"/>
                <a:gd name="connsiteX150" fmla="*/ 4838700 w 5553075"/>
                <a:gd name="connsiteY150" fmla="*/ 2096780 h 2634942"/>
                <a:gd name="connsiteX151" fmla="*/ 4972050 w 5553075"/>
                <a:gd name="connsiteY151" fmla="*/ 2192030 h 2634942"/>
                <a:gd name="connsiteX152" fmla="*/ 4995863 w 5553075"/>
                <a:gd name="connsiteY152" fmla="*/ 2168217 h 2634942"/>
                <a:gd name="connsiteX153" fmla="*/ 5081588 w 5553075"/>
                <a:gd name="connsiteY153" fmla="*/ 2187267 h 2634942"/>
                <a:gd name="connsiteX154" fmla="*/ 5124450 w 5553075"/>
                <a:gd name="connsiteY154" fmla="*/ 2253942 h 2634942"/>
                <a:gd name="connsiteX155" fmla="*/ 5248275 w 5553075"/>
                <a:gd name="connsiteY155" fmla="*/ 2296805 h 2634942"/>
                <a:gd name="connsiteX156" fmla="*/ 5281613 w 5553075"/>
                <a:gd name="connsiteY156" fmla="*/ 2363480 h 2634942"/>
                <a:gd name="connsiteX157" fmla="*/ 5276850 w 5553075"/>
                <a:gd name="connsiteY157" fmla="*/ 2444442 h 2634942"/>
                <a:gd name="connsiteX158" fmla="*/ 5353050 w 5553075"/>
                <a:gd name="connsiteY158" fmla="*/ 2515880 h 2634942"/>
                <a:gd name="connsiteX159" fmla="*/ 5438775 w 5553075"/>
                <a:gd name="connsiteY159" fmla="*/ 2534930 h 2634942"/>
                <a:gd name="connsiteX160" fmla="*/ 5486400 w 5553075"/>
                <a:gd name="connsiteY160" fmla="*/ 2596842 h 2634942"/>
                <a:gd name="connsiteX161" fmla="*/ 5553075 w 5553075"/>
                <a:gd name="connsiteY161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1938 w 5553075"/>
                <a:gd name="connsiteY116" fmla="*/ 877580 h 2634942"/>
                <a:gd name="connsiteX117" fmla="*/ 4071938 w 5553075"/>
                <a:gd name="connsiteY117" fmla="*/ 963305 h 2634942"/>
                <a:gd name="connsiteX118" fmla="*/ 4138613 w 5553075"/>
                <a:gd name="connsiteY118" fmla="*/ 1049030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76725 w 5553075"/>
                <a:gd name="connsiteY125" fmla="*/ 1344305 h 2634942"/>
                <a:gd name="connsiteX126" fmla="*/ 4271963 w 5553075"/>
                <a:gd name="connsiteY126" fmla="*/ 1387167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384675 w 5553075"/>
                <a:gd name="connsiteY130" fmla="*/ 1501467 h 2634942"/>
                <a:gd name="connsiteX131" fmla="*/ 4445000 w 5553075"/>
                <a:gd name="connsiteY131" fmla="*/ 1536392 h 2634942"/>
                <a:gd name="connsiteX132" fmla="*/ 4438650 w 5553075"/>
                <a:gd name="connsiteY132" fmla="*/ 1563380 h 2634942"/>
                <a:gd name="connsiteX133" fmla="*/ 4432300 w 5553075"/>
                <a:gd name="connsiteY133" fmla="*/ 1633230 h 2634942"/>
                <a:gd name="connsiteX134" fmla="*/ 4500563 w 5553075"/>
                <a:gd name="connsiteY134" fmla="*/ 1672917 h 2634942"/>
                <a:gd name="connsiteX135" fmla="*/ 4572000 w 5553075"/>
                <a:gd name="connsiteY135" fmla="*/ 1634817 h 2634942"/>
                <a:gd name="connsiteX136" fmla="*/ 4605338 w 5553075"/>
                <a:gd name="connsiteY136" fmla="*/ 1639580 h 2634942"/>
                <a:gd name="connsiteX137" fmla="*/ 4619625 w 5553075"/>
                <a:gd name="connsiteY137" fmla="*/ 1687205 h 2634942"/>
                <a:gd name="connsiteX138" fmla="*/ 4657725 w 5553075"/>
                <a:gd name="connsiteY138" fmla="*/ 1711017 h 2634942"/>
                <a:gd name="connsiteX139" fmla="*/ 4629150 w 5553075"/>
                <a:gd name="connsiteY139" fmla="*/ 1758642 h 2634942"/>
                <a:gd name="connsiteX140" fmla="*/ 4652963 w 5553075"/>
                <a:gd name="connsiteY140" fmla="*/ 1815792 h 2634942"/>
                <a:gd name="connsiteX141" fmla="*/ 4681538 w 5553075"/>
                <a:gd name="connsiteY141" fmla="*/ 1849130 h 2634942"/>
                <a:gd name="connsiteX142" fmla="*/ 4767263 w 5553075"/>
                <a:gd name="connsiteY142" fmla="*/ 1891992 h 2634942"/>
                <a:gd name="connsiteX143" fmla="*/ 4776788 w 5553075"/>
                <a:gd name="connsiteY143" fmla="*/ 1968192 h 2634942"/>
                <a:gd name="connsiteX144" fmla="*/ 4705350 w 5553075"/>
                <a:gd name="connsiteY144" fmla="*/ 1939617 h 2634942"/>
                <a:gd name="connsiteX145" fmla="*/ 4695825 w 5553075"/>
                <a:gd name="connsiteY145" fmla="*/ 1972955 h 2634942"/>
                <a:gd name="connsiteX146" fmla="*/ 4743450 w 5553075"/>
                <a:gd name="connsiteY146" fmla="*/ 2015817 h 2634942"/>
                <a:gd name="connsiteX147" fmla="*/ 4776788 w 5553075"/>
                <a:gd name="connsiteY147" fmla="*/ 2034867 h 2634942"/>
                <a:gd name="connsiteX148" fmla="*/ 4810125 w 5553075"/>
                <a:gd name="connsiteY148" fmla="*/ 2011055 h 2634942"/>
                <a:gd name="connsiteX149" fmla="*/ 4843463 w 5553075"/>
                <a:gd name="connsiteY149" fmla="*/ 2025342 h 2634942"/>
                <a:gd name="connsiteX150" fmla="*/ 4838700 w 5553075"/>
                <a:gd name="connsiteY150" fmla="*/ 2096780 h 2634942"/>
                <a:gd name="connsiteX151" fmla="*/ 4972050 w 5553075"/>
                <a:gd name="connsiteY151" fmla="*/ 2192030 h 2634942"/>
                <a:gd name="connsiteX152" fmla="*/ 4995863 w 5553075"/>
                <a:gd name="connsiteY152" fmla="*/ 2168217 h 2634942"/>
                <a:gd name="connsiteX153" fmla="*/ 5081588 w 5553075"/>
                <a:gd name="connsiteY153" fmla="*/ 2187267 h 2634942"/>
                <a:gd name="connsiteX154" fmla="*/ 5124450 w 5553075"/>
                <a:gd name="connsiteY154" fmla="*/ 2253942 h 2634942"/>
                <a:gd name="connsiteX155" fmla="*/ 5248275 w 5553075"/>
                <a:gd name="connsiteY155" fmla="*/ 2296805 h 2634942"/>
                <a:gd name="connsiteX156" fmla="*/ 5281613 w 5553075"/>
                <a:gd name="connsiteY156" fmla="*/ 2363480 h 2634942"/>
                <a:gd name="connsiteX157" fmla="*/ 5276850 w 5553075"/>
                <a:gd name="connsiteY157" fmla="*/ 2444442 h 2634942"/>
                <a:gd name="connsiteX158" fmla="*/ 5353050 w 5553075"/>
                <a:gd name="connsiteY158" fmla="*/ 2515880 h 2634942"/>
                <a:gd name="connsiteX159" fmla="*/ 5438775 w 5553075"/>
                <a:gd name="connsiteY159" fmla="*/ 2534930 h 2634942"/>
                <a:gd name="connsiteX160" fmla="*/ 5486400 w 5553075"/>
                <a:gd name="connsiteY160" fmla="*/ 2596842 h 2634942"/>
                <a:gd name="connsiteX161" fmla="*/ 5553075 w 5553075"/>
                <a:gd name="connsiteY161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1938 w 5553075"/>
                <a:gd name="connsiteY116" fmla="*/ 877580 h 2634942"/>
                <a:gd name="connsiteX117" fmla="*/ 4071938 w 5553075"/>
                <a:gd name="connsiteY117" fmla="*/ 963305 h 2634942"/>
                <a:gd name="connsiteX118" fmla="*/ 4138613 w 5553075"/>
                <a:gd name="connsiteY118" fmla="*/ 1049030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76725 w 5553075"/>
                <a:gd name="connsiteY125" fmla="*/ 1344305 h 2634942"/>
                <a:gd name="connsiteX126" fmla="*/ 4271963 w 5553075"/>
                <a:gd name="connsiteY126" fmla="*/ 1387167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384675 w 5553075"/>
                <a:gd name="connsiteY130" fmla="*/ 1501467 h 2634942"/>
                <a:gd name="connsiteX131" fmla="*/ 4445000 w 5553075"/>
                <a:gd name="connsiteY131" fmla="*/ 1536392 h 2634942"/>
                <a:gd name="connsiteX132" fmla="*/ 4438650 w 5553075"/>
                <a:gd name="connsiteY132" fmla="*/ 1563380 h 2634942"/>
                <a:gd name="connsiteX133" fmla="*/ 4432300 w 5553075"/>
                <a:gd name="connsiteY133" fmla="*/ 1633230 h 2634942"/>
                <a:gd name="connsiteX134" fmla="*/ 4500563 w 5553075"/>
                <a:gd name="connsiteY134" fmla="*/ 1672917 h 2634942"/>
                <a:gd name="connsiteX135" fmla="*/ 4565650 w 5553075"/>
                <a:gd name="connsiteY135" fmla="*/ 1653867 h 2634942"/>
                <a:gd name="connsiteX136" fmla="*/ 4605338 w 5553075"/>
                <a:gd name="connsiteY136" fmla="*/ 1639580 h 2634942"/>
                <a:gd name="connsiteX137" fmla="*/ 4619625 w 5553075"/>
                <a:gd name="connsiteY137" fmla="*/ 1687205 h 2634942"/>
                <a:gd name="connsiteX138" fmla="*/ 4657725 w 5553075"/>
                <a:gd name="connsiteY138" fmla="*/ 1711017 h 2634942"/>
                <a:gd name="connsiteX139" fmla="*/ 4629150 w 5553075"/>
                <a:gd name="connsiteY139" fmla="*/ 1758642 h 2634942"/>
                <a:gd name="connsiteX140" fmla="*/ 4652963 w 5553075"/>
                <a:gd name="connsiteY140" fmla="*/ 1815792 h 2634942"/>
                <a:gd name="connsiteX141" fmla="*/ 4681538 w 5553075"/>
                <a:gd name="connsiteY141" fmla="*/ 1849130 h 2634942"/>
                <a:gd name="connsiteX142" fmla="*/ 4767263 w 5553075"/>
                <a:gd name="connsiteY142" fmla="*/ 1891992 h 2634942"/>
                <a:gd name="connsiteX143" fmla="*/ 4776788 w 5553075"/>
                <a:gd name="connsiteY143" fmla="*/ 1968192 h 2634942"/>
                <a:gd name="connsiteX144" fmla="*/ 4705350 w 5553075"/>
                <a:gd name="connsiteY144" fmla="*/ 1939617 h 2634942"/>
                <a:gd name="connsiteX145" fmla="*/ 4695825 w 5553075"/>
                <a:gd name="connsiteY145" fmla="*/ 1972955 h 2634942"/>
                <a:gd name="connsiteX146" fmla="*/ 4743450 w 5553075"/>
                <a:gd name="connsiteY146" fmla="*/ 2015817 h 2634942"/>
                <a:gd name="connsiteX147" fmla="*/ 4776788 w 5553075"/>
                <a:gd name="connsiteY147" fmla="*/ 2034867 h 2634942"/>
                <a:gd name="connsiteX148" fmla="*/ 4810125 w 5553075"/>
                <a:gd name="connsiteY148" fmla="*/ 2011055 h 2634942"/>
                <a:gd name="connsiteX149" fmla="*/ 4843463 w 5553075"/>
                <a:gd name="connsiteY149" fmla="*/ 2025342 h 2634942"/>
                <a:gd name="connsiteX150" fmla="*/ 4838700 w 5553075"/>
                <a:gd name="connsiteY150" fmla="*/ 2096780 h 2634942"/>
                <a:gd name="connsiteX151" fmla="*/ 4972050 w 5553075"/>
                <a:gd name="connsiteY151" fmla="*/ 2192030 h 2634942"/>
                <a:gd name="connsiteX152" fmla="*/ 4995863 w 5553075"/>
                <a:gd name="connsiteY152" fmla="*/ 2168217 h 2634942"/>
                <a:gd name="connsiteX153" fmla="*/ 5081588 w 5553075"/>
                <a:gd name="connsiteY153" fmla="*/ 2187267 h 2634942"/>
                <a:gd name="connsiteX154" fmla="*/ 5124450 w 5553075"/>
                <a:gd name="connsiteY154" fmla="*/ 2253942 h 2634942"/>
                <a:gd name="connsiteX155" fmla="*/ 5248275 w 5553075"/>
                <a:gd name="connsiteY155" fmla="*/ 2296805 h 2634942"/>
                <a:gd name="connsiteX156" fmla="*/ 5281613 w 5553075"/>
                <a:gd name="connsiteY156" fmla="*/ 2363480 h 2634942"/>
                <a:gd name="connsiteX157" fmla="*/ 5276850 w 5553075"/>
                <a:gd name="connsiteY157" fmla="*/ 2444442 h 2634942"/>
                <a:gd name="connsiteX158" fmla="*/ 5353050 w 5553075"/>
                <a:gd name="connsiteY158" fmla="*/ 2515880 h 2634942"/>
                <a:gd name="connsiteX159" fmla="*/ 5438775 w 5553075"/>
                <a:gd name="connsiteY159" fmla="*/ 2534930 h 2634942"/>
                <a:gd name="connsiteX160" fmla="*/ 5486400 w 5553075"/>
                <a:gd name="connsiteY160" fmla="*/ 2596842 h 2634942"/>
                <a:gd name="connsiteX161" fmla="*/ 5553075 w 5553075"/>
                <a:gd name="connsiteY161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1938 w 5553075"/>
                <a:gd name="connsiteY116" fmla="*/ 877580 h 2634942"/>
                <a:gd name="connsiteX117" fmla="*/ 4071938 w 5553075"/>
                <a:gd name="connsiteY117" fmla="*/ 963305 h 2634942"/>
                <a:gd name="connsiteX118" fmla="*/ 4138613 w 5553075"/>
                <a:gd name="connsiteY118" fmla="*/ 1049030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86250 w 5553075"/>
                <a:gd name="connsiteY125" fmla="*/ 1357005 h 2634942"/>
                <a:gd name="connsiteX126" fmla="*/ 4271963 w 5553075"/>
                <a:gd name="connsiteY126" fmla="*/ 1387167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384675 w 5553075"/>
                <a:gd name="connsiteY130" fmla="*/ 1501467 h 2634942"/>
                <a:gd name="connsiteX131" fmla="*/ 4445000 w 5553075"/>
                <a:gd name="connsiteY131" fmla="*/ 1536392 h 2634942"/>
                <a:gd name="connsiteX132" fmla="*/ 4438650 w 5553075"/>
                <a:gd name="connsiteY132" fmla="*/ 1563380 h 2634942"/>
                <a:gd name="connsiteX133" fmla="*/ 4432300 w 5553075"/>
                <a:gd name="connsiteY133" fmla="*/ 1633230 h 2634942"/>
                <a:gd name="connsiteX134" fmla="*/ 4500563 w 5553075"/>
                <a:gd name="connsiteY134" fmla="*/ 1672917 h 2634942"/>
                <a:gd name="connsiteX135" fmla="*/ 4565650 w 5553075"/>
                <a:gd name="connsiteY135" fmla="*/ 1653867 h 2634942"/>
                <a:gd name="connsiteX136" fmla="*/ 4605338 w 5553075"/>
                <a:gd name="connsiteY136" fmla="*/ 1639580 h 2634942"/>
                <a:gd name="connsiteX137" fmla="*/ 4619625 w 5553075"/>
                <a:gd name="connsiteY137" fmla="*/ 1687205 h 2634942"/>
                <a:gd name="connsiteX138" fmla="*/ 4657725 w 5553075"/>
                <a:gd name="connsiteY138" fmla="*/ 1711017 h 2634942"/>
                <a:gd name="connsiteX139" fmla="*/ 4629150 w 5553075"/>
                <a:gd name="connsiteY139" fmla="*/ 1758642 h 2634942"/>
                <a:gd name="connsiteX140" fmla="*/ 4652963 w 5553075"/>
                <a:gd name="connsiteY140" fmla="*/ 1815792 h 2634942"/>
                <a:gd name="connsiteX141" fmla="*/ 4681538 w 5553075"/>
                <a:gd name="connsiteY141" fmla="*/ 1849130 h 2634942"/>
                <a:gd name="connsiteX142" fmla="*/ 4767263 w 5553075"/>
                <a:gd name="connsiteY142" fmla="*/ 1891992 h 2634942"/>
                <a:gd name="connsiteX143" fmla="*/ 4776788 w 5553075"/>
                <a:gd name="connsiteY143" fmla="*/ 1968192 h 2634942"/>
                <a:gd name="connsiteX144" fmla="*/ 4705350 w 5553075"/>
                <a:gd name="connsiteY144" fmla="*/ 1939617 h 2634942"/>
                <a:gd name="connsiteX145" fmla="*/ 4695825 w 5553075"/>
                <a:gd name="connsiteY145" fmla="*/ 1972955 h 2634942"/>
                <a:gd name="connsiteX146" fmla="*/ 4743450 w 5553075"/>
                <a:gd name="connsiteY146" fmla="*/ 2015817 h 2634942"/>
                <a:gd name="connsiteX147" fmla="*/ 4776788 w 5553075"/>
                <a:gd name="connsiteY147" fmla="*/ 2034867 h 2634942"/>
                <a:gd name="connsiteX148" fmla="*/ 4810125 w 5553075"/>
                <a:gd name="connsiteY148" fmla="*/ 2011055 h 2634942"/>
                <a:gd name="connsiteX149" fmla="*/ 4843463 w 5553075"/>
                <a:gd name="connsiteY149" fmla="*/ 2025342 h 2634942"/>
                <a:gd name="connsiteX150" fmla="*/ 4838700 w 5553075"/>
                <a:gd name="connsiteY150" fmla="*/ 2096780 h 2634942"/>
                <a:gd name="connsiteX151" fmla="*/ 4972050 w 5553075"/>
                <a:gd name="connsiteY151" fmla="*/ 2192030 h 2634942"/>
                <a:gd name="connsiteX152" fmla="*/ 4995863 w 5553075"/>
                <a:gd name="connsiteY152" fmla="*/ 2168217 h 2634942"/>
                <a:gd name="connsiteX153" fmla="*/ 5081588 w 5553075"/>
                <a:gd name="connsiteY153" fmla="*/ 2187267 h 2634942"/>
                <a:gd name="connsiteX154" fmla="*/ 5124450 w 5553075"/>
                <a:gd name="connsiteY154" fmla="*/ 2253942 h 2634942"/>
                <a:gd name="connsiteX155" fmla="*/ 5248275 w 5553075"/>
                <a:gd name="connsiteY155" fmla="*/ 2296805 h 2634942"/>
                <a:gd name="connsiteX156" fmla="*/ 5281613 w 5553075"/>
                <a:gd name="connsiteY156" fmla="*/ 2363480 h 2634942"/>
                <a:gd name="connsiteX157" fmla="*/ 5276850 w 5553075"/>
                <a:gd name="connsiteY157" fmla="*/ 2444442 h 2634942"/>
                <a:gd name="connsiteX158" fmla="*/ 5353050 w 5553075"/>
                <a:gd name="connsiteY158" fmla="*/ 2515880 h 2634942"/>
                <a:gd name="connsiteX159" fmla="*/ 5438775 w 5553075"/>
                <a:gd name="connsiteY159" fmla="*/ 2534930 h 2634942"/>
                <a:gd name="connsiteX160" fmla="*/ 5486400 w 5553075"/>
                <a:gd name="connsiteY160" fmla="*/ 2596842 h 2634942"/>
                <a:gd name="connsiteX161" fmla="*/ 5553075 w 5553075"/>
                <a:gd name="connsiteY161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1938 w 5553075"/>
                <a:gd name="connsiteY116" fmla="*/ 877580 h 2634942"/>
                <a:gd name="connsiteX117" fmla="*/ 4071938 w 5553075"/>
                <a:gd name="connsiteY117" fmla="*/ 963305 h 2634942"/>
                <a:gd name="connsiteX118" fmla="*/ 4138613 w 5553075"/>
                <a:gd name="connsiteY118" fmla="*/ 1049030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86250 w 5553075"/>
                <a:gd name="connsiteY125" fmla="*/ 1357005 h 2634942"/>
                <a:gd name="connsiteX126" fmla="*/ 4275138 w 5553075"/>
                <a:gd name="connsiteY126" fmla="*/ 1396692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384675 w 5553075"/>
                <a:gd name="connsiteY130" fmla="*/ 1501467 h 2634942"/>
                <a:gd name="connsiteX131" fmla="*/ 4445000 w 5553075"/>
                <a:gd name="connsiteY131" fmla="*/ 1536392 h 2634942"/>
                <a:gd name="connsiteX132" fmla="*/ 4438650 w 5553075"/>
                <a:gd name="connsiteY132" fmla="*/ 1563380 h 2634942"/>
                <a:gd name="connsiteX133" fmla="*/ 4432300 w 5553075"/>
                <a:gd name="connsiteY133" fmla="*/ 1633230 h 2634942"/>
                <a:gd name="connsiteX134" fmla="*/ 4500563 w 5553075"/>
                <a:gd name="connsiteY134" fmla="*/ 1672917 h 2634942"/>
                <a:gd name="connsiteX135" fmla="*/ 4565650 w 5553075"/>
                <a:gd name="connsiteY135" fmla="*/ 1653867 h 2634942"/>
                <a:gd name="connsiteX136" fmla="*/ 4605338 w 5553075"/>
                <a:gd name="connsiteY136" fmla="*/ 1639580 h 2634942"/>
                <a:gd name="connsiteX137" fmla="*/ 4619625 w 5553075"/>
                <a:gd name="connsiteY137" fmla="*/ 1687205 h 2634942"/>
                <a:gd name="connsiteX138" fmla="*/ 4657725 w 5553075"/>
                <a:gd name="connsiteY138" fmla="*/ 1711017 h 2634942"/>
                <a:gd name="connsiteX139" fmla="*/ 4629150 w 5553075"/>
                <a:gd name="connsiteY139" fmla="*/ 1758642 h 2634942"/>
                <a:gd name="connsiteX140" fmla="*/ 4652963 w 5553075"/>
                <a:gd name="connsiteY140" fmla="*/ 1815792 h 2634942"/>
                <a:gd name="connsiteX141" fmla="*/ 4681538 w 5553075"/>
                <a:gd name="connsiteY141" fmla="*/ 1849130 h 2634942"/>
                <a:gd name="connsiteX142" fmla="*/ 4767263 w 5553075"/>
                <a:gd name="connsiteY142" fmla="*/ 1891992 h 2634942"/>
                <a:gd name="connsiteX143" fmla="*/ 4776788 w 5553075"/>
                <a:gd name="connsiteY143" fmla="*/ 1968192 h 2634942"/>
                <a:gd name="connsiteX144" fmla="*/ 4705350 w 5553075"/>
                <a:gd name="connsiteY144" fmla="*/ 1939617 h 2634942"/>
                <a:gd name="connsiteX145" fmla="*/ 4695825 w 5553075"/>
                <a:gd name="connsiteY145" fmla="*/ 1972955 h 2634942"/>
                <a:gd name="connsiteX146" fmla="*/ 4743450 w 5553075"/>
                <a:gd name="connsiteY146" fmla="*/ 2015817 h 2634942"/>
                <a:gd name="connsiteX147" fmla="*/ 4776788 w 5553075"/>
                <a:gd name="connsiteY147" fmla="*/ 2034867 h 2634942"/>
                <a:gd name="connsiteX148" fmla="*/ 4810125 w 5553075"/>
                <a:gd name="connsiteY148" fmla="*/ 2011055 h 2634942"/>
                <a:gd name="connsiteX149" fmla="*/ 4843463 w 5553075"/>
                <a:gd name="connsiteY149" fmla="*/ 2025342 h 2634942"/>
                <a:gd name="connsiteX150" fmla="*/ 4838700 w 5553075"/>
                <a:gd name="connsiteY150" fmla="*/ 2096780 h 2634942"/>
                <a:gd name="connsiteX151" fmla="*/ 4972050 w 5553075"/>
                <a:gd name="connsiteY151" fmla="*/ 2192030 h 2634942"/>
                <a:gd name="connsiteX152" fmla="*/ 4995863 w 5553075"/>
                <a:gd name="connsiteY152" fmla="*/ 2168217 h 2634942"/>
                <a:gd name="connsiteX153" fmla="*/ 5081588 w 5553075"/>
                <a:gd name="connsiteY153" fmla="*/ 2187267 h 2634942"/>
                <a:gd name="connsiteX154" fmla="*/ 5124450 w 5553075"/>
                <a:gd name="connsiteY154" fmla="*/ 2253942 h 2634942"/>
                <a:gd name="connsiteX155" fmla="*/ 5248275 w 5553075"/>
                <a:gd name="connsiteY155" fmla="*/ 2296805 h 2634942"/>
                <a:gd name="connsiteX156" fmla="*/ 5281613 w 5553075"/>
                <a:gd name="connsiteY156" fmla="*/ 2363480 h 2634942"/>
                <a:gd name="connsiteX157" fmla="*/ 5276850 w 5553075"/>
                <a:gd name="connsiteY157" fmla="*/ 2444442 h 2634942"/>
                <a:gd name="connsiteX158" fmla="*/ 5353050 w 5553075"/>
                <a:gd name="connsiteY158" fmla="*/ 2515880 h 2634942"/>
                <a:gd name="connsiteX159" fmla="*/ 5438775 w 5553075"/>
                <a:gd name="connsiteY159" fmla="*/ 2534930 h 2634942"/>
                <a:gd name="connsiteX160" fmla="*/ 5486400 w 5553075"/>
                <a:gd name="connsiteY160" fmla="*/ 2596842 h 2634942"/>
                <a:gd name="connsiteX161" fmla="*/ 5553075 w 5553075"/>
                <a:gd name="connsiteY161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8288 w 5553075"/>
                <a:gd name="connsiteY116" fmla="*/ 896630 h 2634942"/>
                <a:gd name="connsiteX117" fmla="*/ 4071938 w 5553075"/>
                <a:gd name="connsiteY117" fmla="*/ 963305 h 2634942"/>
                <a:gd name="connsiteX118" fmla="*/ 4138613 w 5553075"/>
                <a:gd name="connsiteY118" fmla="*/ 1049030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86250 w 5553075"/>
                <a:gd name="connsiteY125" fmla="*/ 1357005 h 2634942"/>
                <a:gd name="connsiteX126" fmla="*/ 4275138 w 5553075"/>
                <a:gd name="connsiteY126" fmla="*/ 1396692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384675 w 5553075"/>
                <a:gd name="connsiteY130" fmla="*/ 1501467 h 2634942"/>
                <a:gd name="connsiteX131" fmla="*/ 4445000 w 5553075"/>
                <a:gd name="connsiteY131" fmla="*/ 1536392 h 2634942"/>
                <a:gd name="connsiteX132" fmla="*/ 4438650 w 5553075"/>
                <a:gd name="connsiteY132" fmla="*/ 1563380 h 2634942"/>
                <a:gd name="connsiteX133" fmla="*/ 4432300 w 5553075"/>
                <a:gd name="connsiteY133" fmla="*/ 1633230 h 2634942"/>
                <a:gd name="connsiteX134" fmla="*/ 4500563 w 5553075"/>
                <a:gd name="connsiteY134" fmla="*/ 1672917 h 2634942"/>
                <a:gd name="connsiteX135" fmla="*/ 4565650 w 5553075"/>
                <a:gd name="connsiteY135" fmla="*/ 1653867 h 2634942"/>
                <a:gd name="connsiteX136" fmla="*/ 4605338 w 5553075"/>
                <a:gd name="connsiteY136" fmla="*/ 1639580 h 2634942"/>
                <a:gd name="connsiteX137" fmla="*/ 4619625 w 5553075"/>
                <a:gd name="connsiteY137" fmla="*/ 1687205 h 2634942"/>
                <a:gd name="connsiteX138" fmla="*/ 4657725 w 5553075"/>
                <a:gd name="connsiteY138" fmla="*/ 1711017 h 2634942"/>
                <a:gd name="connsiteX139" fmla="*/ 4629150 w 5553075"/>
                <a:gd name="connsiteY139" fmla="*/ 1758642 h 2634942"/>
                <a:gd name="connsiteX140" fmla="*/ 4652963 w 5553075"/>
                <a:gd name="connsiteY140" fmla="*/ 1815792 h 2634942"/>
                <a:gd name="connsiteX141" fmla="*/ 4681538 w 5553075"/>
                <a:gd name="connsiteY141" fmla="*/ 1849130 h 2634942"/>
                <a:gd name="connsiteX142" fmla="*/ 4767263 w 5553075"/>
                <a:gd name="connsiteY142" fmla="*/ 1891992 h 2634942"/>
                <a:gd name="connsiteX143" fmla="*/ 4776788 w 5553075"/>
                <a:gd name="connsiteY143" fmla="*/ 1968192 h 2634942"/>
                <a:gd name="connsiteX144" fmla="*/ 4705350 w 5553075"/>
                <a:gd name="connsiteY144" fmla="*/ 1939617 h 2634942"/>
                <a:gd name="connsiteX145" fmla="*/ 4695825 w 5553075"/>
                <a:gd name="connsiteY145" fmla="*/ 1972955 h 2634942"/>
                <a:gd name="connsiteX146" fmla="*/ 4743450 w 5553075"/>
                <a:gd name="connsiteY146" fmla="*/ 2015817 h 2634942"/>
                <a:gd name="connsiteX147" fmla="*/ 4776788 w 5553075"/>
                <a:gd name="connsiteY147" fmla="*/ 2034867 h 2634942"/>
                <a:gd name="connsiteX148" fmla="*/ 4810125 w 5553075"/>
                <a:gd name="connsiteY148" fmla="*/ 2011055 h 2634942"/>
                <a:gd name="connsiteX149" fmla="*/ 4843463 w 5553075"/>
                <a:gd name="connsiteY149" fmla="*/ 2025342 h 2634942"/>
                <a:gd name="connsiteX150" fmla="*/ 4838700 w 5553075"/>
                <a:gd name="connsiteY150" fmla="*/ 2096780 h 2634942"/>
                <a:gd name="connsiteX151" fmla="*/ 4972050 w 5553075"/>
                <a:gd name="connsiteY151" fmla="*/ 2192030 h 2634942"/>
                <a:gd name="connsiteX152" fmla="*/ 4995863 w 5553075"/>
                <a:gd name="connsiteY152" fmla="*/ 2168217 h 2634942"/>
                <a:gd name="connsiteX153" fmla="*/ 5081588 w 5553075"/>
                <a:gd name="connsiteY153" fmla="*/ 2187267 h 2634942"/>
                <a:gd name="connsiteX154" fmla="*/ 5124450 w 5553075"/>
                <a:gd name="connsiteY154" fmla="*/ 2253942 h 2634942"/>
                <a:gd name="connsiteX155" fmla="*/ 5248275 w 5553075"/>
                <a:gd name="connsiteY155" fmla="*/ 2296805 h 2634942"/>
                <a:gd name="connsiteX156" fmla="*/ 5281613 w 5553075"/>
                <a:gd name="connsiteY156" fmla="*/ 2363480 h 2634942"/>
                <a:gd name="connsiteX157" fmla="*/ 5276850 w 5553075"/>
                <a:gd name="connsiteY157" fmla="*/ 2444442 h 2634942"/>
                <a:gd name="connsiteX158" fmla="*/ 5353050 w 5553075"/>
                <a:gd name="connsiteY158" fmla="*/ 2515880 h 2634942"/>
                <a:gd name="connsiteX159" fmla="*/ 5438775 w 5553075"/>
                <a:gd name="connsiteY159" fmla="*/ 2534930 h 2634942"/>
                <a:gd name="connsiteX160" fmla="*/ 5486400 w 5553075"/>
                <a:gd name="connsiteY160" fmla="*/ 2596842 h 2634942"/>
                <a:gd name="connsiteX161" fmla="*/ 5553075 w 5553075"/>
                <a:gd name="connsiteY161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8288 w 5553075"/>
                <a:gd name="connsiteY116" fmla="*/ 896630 h 2634942"/>
                <a:gd name="connsiteX117" fmla="*/ 4071938 w 5553075"/>
                <a:gd name="connsiteY117" fmla="*/ 963305 h 2634942"/>
                <a:gd name="connsiteX118" fmla="*/ 4116388 w 5553075"/>
                <a:gd name="connsiteY118" fmla="*/ 1026805 h 2634942"/>
                <a:gd name="connsiteX119" fmla="*/ 4119563 w 5553075"/>
                <a:gd name="connsiteY119" fmla="*/ 10823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86250 w 5553075"/>
                <a:gd name="connsiteY125" fmla="*/ 1357005 h 2634942"/>
                <a:gd name="connsiteX126" fmla="*/ 4275138 w 5553075"/>
                <a:gd name="connsiteY126" fmla="*/ 1396692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384675 w 5553075"/>
                <a:gd name="connsiteY130" fmla="*/ 1501467 h 2634942"/>
                <a:gd name="connsiteX131" fmla="*/ 4445000 w 5553075"/>
                <a:gd name="connsiteY131" fmla="*/ 1536392 h 2634942"/>
                <a:gd name="connsiteX132" fmla="*/ 4438650 w 5553075"/>
                <a:gd name="connsiteY132" fmla="*/ 1563380 h 2634942"/>
                <a:gd name="connsiteX133" fmla="*/ 4432300 w 5553075"/>
                <a:gd name="connsiteY133" fmla="*/ 1633230 h 2634942"/>
                <a:gd name="connsiteX134" fmla="*/ 4500563 w 5553075"/>
                <a:gd name="connsiteY134" fmla="*/ 1672917 h 2634942"/>
                <a:gd name="connsiteX135" fmla="*/ 4565650 w 5553075"/>
                <a:gd name="connsiteY135" fmla="*/ 1653867 h 2634942"/>
                <a:gd name="connsiteX136" fmla="*/ 4605338 w 5553075"/>
                <a:gd name="connsiteY136" fmla="*/ 1639580 h 2634942"/>
                <a:gd name="connsiteX137" fmla="*/ 4619625 w 5553075"/>
                <a:gd name="connsiteY137" fmla="*/ 1687205 h 2634942"/>
                <a:gd name="connsiteX138" fmla="*/ 4657725 w 5553075"/>
                <a:gd name="connsiteY138" fmla="*/ 1711017 h 2634942"/>
                <a:gd name="connsiteX139" fmla="*/ 4629150 w 5553075"/>
                <a:gd name="connsiteY139" fmla="*/ 1758642 h 2634942"/>
                <a:gd name="connsiteX140" fmla="*/ 4652963 w 5553075"/>
                <a:gd name="connsiteY140" fmla="*/ 1815792 h 2634942"/>
                <a:gd name="connsiteX141" fmla="*/ 4681538 w 5553075"/>
                <a:gd name="connsiteY141" fmla="*/ 1849130 h 2634942"/>
                <a:gd name="connsiteX142" fmla="*/ 4767263 w 5553075"/>
                <a:gd name="connsiteY142" fmla="*/ 1891992 h 2634942"/>
                <a:gd name="connsiteX143" fmla="*/ 4776788 w 5553075"/>
                <a:gd name="connsiteY143" fmla="*/ 1968192 h 2634942"/>
                <a:gd name="connsiteX144" fmla="*/ 4705350 w 5553075"/>
                <a:gd name="connsiteY144" fmla="*/ 1939617 h 2634942"/>
                <a:gd name="connsiteX145" fmla="*/ 4695825 w 5553075"/>
                <a:gd name="connsiteY145" fmla="*/ 1972955 h 2634942"/>
                <a:gd name="connsiteX146" fmla="*/ 4743450 w 5553075"/>
                <a:gd name="connsiteY146" fmla="*/ 2015817 h 2634942"/>
                <a:gd name="connsiteX147" fmla="*/ 4776788 w 5553075"/>
                <a:gd name="connsiteY147" fmla="*/ 2034867 h 2634942"/>
                <a:gd name="connsiteX148" fmla="*/ 4810125 w 5553075"/>
                <a:gd name="connsiteY148" fmla="*/ 2011055 h 2634942"/>
                <a:gd name="connsiteX149" fmla="*/ 4843463 w 5553075"/>
                <a:gd name="connsiteY149" fmla="*/ 2025342 h 2634942"/>
                <a:gd name="connsiteX150" fmla="*/ 4838700 w 5553075"/>
                <a:gd name="connsiteY150" fmla="*/ 2096780 h 2634942"/>
                <a:gd name="connsiteX151" fmla="*/ 4972050 w 5553075"/>
                <a:gd name="connsiteY151" fmla="*/ 2192030 h 2634942"/>
                <a:gd name="connsiteX152" fmla="*/ 4995863 w 5553075"/>
                <a:gd name="connsiteY152" fmla="*/ 2168217 h 2634942"/>
                <a:gd name="connsiteX153" fmla="*/ 5081588 w 5553075"/>
                <a:gd name="connsiteY153" fmla="*/ 2187267 h 2634942"/>
                <a:gd name="connsiteX154" fmla="*/ 5124450 w 5553075"/>
                <a:gd name="connsiteY154" fmla="*/ 2253942 h 2634942"/>
                <a:gd name="connsiteX155" fmla="*/ 5248275 w 5553075"/>
                <a:gd name="connsiteY155" fmla="*/ 2296805 h 2634942"/>
                <a:gd name="connsiteX156" fmla="*/ 5281613 w 5553075"/>
                <a:gd name="connsiteY156" fmla="*/ 2363480 h 2634942"/>
                <a:gd name="connsiteX157" fmla="*/ 5276850 w 5553075"/>
                <a:gd name="connsiteY157" fmla="*/ 2444442 h 2634942"/>
                <a:gd name="connsiteX158" fmla="*/ 5353050 w 5553075"/>
                <a:gd name="connsiteY158" fmla="*/ 2515880 h 2634942"/>
                <a:gd name="connsiteX159" fmla="*/ 5438775 w 5553075"/>
                <a:gd name="connsiteY159" fmla="*/ 2534930 h 2634942"/>
                <a:gd name="connsiteX160" fmla="*/ 5486400 w 5553075"/>
                <a:gd name="connsiteY160" fmla="*/ 2596842 h 2634942"/>
                <a:gd name="connsiteX161" fmla="*/ 5553075 w 5553075"/>
                <a:gd name="connsiteY161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8288 w 5553075"/>
                <a:gd name="connsiteY116" fmla="*/ 896630 h 2634942"/>
                <a:gd name="connsiteX117" fmla="*/ 4071938 w 5553075"/>
                <a:gd name="connsiteY117" fmla="*/ 963305 h 2634942"/>
                <a:gd name="connsiteX118" fmla="*/ 4116388 w 5553075"/>
                <a:gd name="connsiteY118" fmla="*/ 1026805 h 2634942"/>
                <a:gd name="connsiteX119" fmla="*/ 4144963 w 5553075"/>
                <a:gd name="connsiteY119" fmla="*/ 1069667 h 2634942"/>
                <a:gd name="connsiteX120" fmla="*/ 4157663 w 5553075"/>
                <a:gd name="connsiteY120" fmla="*/ 1125230 h 2634942"/>
                <a:gd name="connsiteX121" fmla="*/ 4162425 w 5553075"/>
                <a:gd name="connsiteY121" fmla="*/ 1201430 h 2634942"/>
                <a:gd name="connsiteX122" fmla="*/ 4195763 w 5553075"/>
                <a:gd name="connsiteY122" fmla="*/ 1230005 h 2634942"/>
                <a:gd name="connsiteX123" fmla="*/ 4176713 w 5553075"/>
                <a:gd name="connsiteY123" fmla="*/ 1263342 h 2634942"/>
                <a:gd name="connsiteX124" fmla="*/ 4191000 w 5553075"/>
                <a:gd name="connsiteY124" fmla="*/ 1287155 h 2634942"/>
                <a:gd name="connsiteX125" fmla="*/ 4286250 w 5553075"/>
                <a:gd name="connsiteY125" fmla="*/ 1357005 h 2634942"/>
                <a:gd name="connsiteX126" fmla="*/ 4275138 w 5553075"/>
                <a:gd name="connsiteY126" fmla="*/ 1396692 h 2634942"/>
                <a:gd name="connsiteX127" fmla="*/ 4229100 w 5553075"/>
                <a:gd name="connsiteY127" fmla="*/ 1396692 h 2634942"/>
                <a:gd name="connsiteX128" fmla="*/ 4271963 w 5553075"/>
                <a:gd name="connsiteY128" fmla="*/ 1482417 h 2634942"/>
                <a:gd name="connsiteX129" fmla="*/ 4329113 w 5553075"/>
                <a:gd name="connsiteY129" fmla="*/ 1471305 h 2634942"/>
                <a:gd name="connsiteX130" fmla="*/ 4384675 w 5553075"/>
                <a:gd name="connsiteY130" fmla="*/ 1501467 h 2634942"/>
                <a:gd name="connsiteX131" fmla="*/ 4445000 w 5553075"/>
                <a:gd name="connsiteY131" fmla="*/ 1536392 h 2634942"/>
                <a:gd name="connsiteX132" fmla="*/ 4438650 w 5553075"/>
                <a:gd name="connsiteY132" fmla="*/ 1563380 h 2634942"/>
                <a:gd name="connsiteX133" fmla="*/ 4432300 w 5553075"/>
                <a:gd name="connsiteY133" fmla="*/ 1633230 h 2634942"/>
                <a:gd name="connsiteX134" fmla="*/ 4500563 w 5553075"/>
                <a:gd name="connsiteY134" fmla="*/ 1672917 h 2634942"/>
                <a:gd name="connsiteX135" fmla="*/ 4565650 w 5553075"/>
                <a:gd name="connsiteY135" fmla="*/ 1653867 h 2634942"/>
                <a:gd name="connsiteX136" fmla="*/ 4605338 w 5553075"/>
                <a:gd name="connsiteY136" fmla="*/ 1639580 h 2634942"/>
                <a:gd name="connsiteX137" fmla="*/ 4619625 w 5553075"/>
                <a:gd name="connsiteY137" fmla="*/ 1687205 h 2634942"/>
                <a:gd name="connsiteX138" fmla="*/ 4657725 w 5553075"/>
                <a:gd name="connsiteY138" fmla="*/ 1711017 h 2634942"/>
                <a:gd name="connsiteX139" fmla="*/ 4629150 w 5553075"/>
                <a:gd name="connsiteY139" fmla="*/ 1758642 h 2634942"/>
                <a:gd name="connsiteX140" fmla="*/ 4652963 w 5553075"/>
                <a:gd name="connsiteY140" fmla="*/ 1815792 h 2634942"/>
                <a:gd name="connsiteX141" fmla="*/ 4681538 w 5553075"/>
                <a:gd name="connsiteY141" fmla="*/ 1849130 h 2634942"/>
                <a:gd name="connsiteX142" fmla="*/ 4767263 w 5553075"/>
                <a:gd name="connsiteY142" fmla="*/ 1891992 h 2634942"/>
                <a:gd name="connsiteX143" fmla="*/ 4776788 w 5553075"/>
                <a:gd name="connsiteY143" fmla="*/ 1968192 h 2634942"/>
                <a:gd name="connsiteX144" fmla="*/ 4705350 w 5553075"/>
                <a:gd name="connsiteY144" fmla="*/ 1939617 h 2634942"/>
                <a:gd name="connsiteX145" fmla="*/ 4695825 w 5553075"/>
                <a:gd name="connsiteY145" fmla="*/ 1972955 h 2634942"/>
                <a:gd name="connsiteX146" fmla="*/ 4743450 w 5553075"/>
                <a:gd name="connsiteY146" fmla="*/ 2015817 h 2634942"/>
                <a:gd name="connsiteX147" fmla="*/ 4776788 w 5553075"/>
                <a:gd name="connsiteY147" fmla="*/ 2034867 h 2634942"/>
                <a:gd name="connsiteX148" fmla="*/ 4810125 w 5553075"/>
                <a:gd name="connsiteY148" fmla="*/ 2011055 h 2634942"/>
                <a:gd name="connsiteX149" fmla="*/ 4843463 w 5553075"/>
                <a:gd name="connsiteY149" fmla="*/ 2025342 h 2634942"/>
                <a:gd name="connsiteX150" fmla="*/ 4838700 w 5553075"/>
                <a:gd name="connsiteY150" fmla="*/ 2096780 h 2634942"/>
                <a:gd name="connsiteX151" fmla="*/ 4972050 w 5553075"/>
                <a:gd name="connsiteY151" fmla="*/ 2192030 h 2634942"/>
                <a:gd name="connsiteX152" fmla="*/ 4995863 w 5553075"/>
                <a:gd name="connsiteY152" fmla="*/ 2168217 h 2634942"/>
                <a:gd name="connsiteX153" fmla="*/ 5081588 w 5553075"/>
                <a:gd name="connsiteY153" fmla="*/ 2187267 h 2634942"/>
                <a:gd name="connsiteX154" fmla="*/ 5124450 w 5553075"/>
                <a:gd name="connsiteY154" fmla="*/ 2253942 h 2634942"/>
                <a:gd name="connsiteX155" fmla="*/ 5248275 w 5553075"/>
                <a:gd name="connsiteY155" fmla="*/ 2296805 h 2634942"/>
                <a:gd name="connsiteX156" fmla="*/ 5281613 w 5553075"/>
                <a:gd name="connsiteY156" fmla="*/ 2363480 h 2634942"/>
                <a:gd name="connsiteX157" fmla="*/ 5276850 w 5553075"/>
                <a:gd name="connsiteY157" fmla="*/ 2444442 h 2634942"/>
                <a:gd name="connsiteX158" fmla="*/ 5353050 w 5553075"/>
                <a:gd name="connsiteY158" fmla="*/ 2515880 h 2634942"/>
                <a:gd name="connsiteX159" fmla="*/ 5438775 w 5553075"/>
                <a:gd name="connsiteY159" fmla="*/ 2534930 h 2634942"/>
                <a:gd name="connsiteX160" fmla="*/ 5486400 w 5553075"/>
                <a:gd name="connsiteY160" fmla="*/ 2596842 h 2634942"/>
                <a:gd name="connsiteX161" fmla="*/ 5553075 w 5553075"/>
                <a:gd name="connsiteY161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71838 w 5553075"/>
                <a:gd name="connsiteY89" fmla="*/ 525155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8288 w 5553075"/>
                <a:gd name="connsiteY116" fmla="*/ 896630 h 2634942"/>
                <a:gd name="connsiteX117" fmla="*/ 4071938 w 5553075"/>
                <a:gd name="connsiteY117" fmla="*/ 963305 h 2634942"/>
                <a:gd name="connsiteX118" fmla="*/ 4116388 w 5553075"/>
                <a:gd name="connsiteY118" fmla="*/ 1026805 h 2634942"/>
                <a:gd name="connsiteX119" fmla="*/ 4144963 w 5553075"/>
                <a:gd name="connsiteY119" fmla="*/ 1069667 h 2634942"/>
                <a:gd name="connsiteX120" fmla="*/ 4137025 w 5553075"/>
                <a:gd name="connsiteY120" fmla="*/ 1098242 h 2634942"/>
                <a:gd name="connsiteX121" fmla="*/ 4157663 w 5553075"/>
                <a:gd name="connsiteY121" fmla="*/ 1125230 h 2634942"/>
                <a:gd name="connsiteX122" fmla="*/ 4162425 w 5553075"/>
                <a:gd name="connsiteY122" fmla="*/ 1201430 h 2634942"/>
                <a:gd name="connsiteX123" fmla="*/ 4195763 w 5553075"/>
                <a:gd name="connsiteY123" fmla="*/ 1230005 h 2634942"/>
                <a:gd name="connsiteX124" fmla="*/ 4176713 w 5553075"/>
                <a:gd name="connsiteY124" fmla="*/ 1263342 h 2634942"/>
                <a:gd name="connsiteX125" fmla="*/ 4191000 w 5553075"/>
                <a:gd name="connsiteY125" fmla="*/ 1287155 h 2634942"/>
                <a:gd name="connsiteX126" fmla="*/ 4286250 w 5553075"/>
                <a:gd name="connsiteY126" fmla="*/ 1357005 h 2634942"/>
                <a:gd name="connsiteX127" fmla="*/ 4275138 w 5553075"/>
                <a:gd name="connsiteY127" fmla="*/ 1396692 h 2634942"/>
                <a:gd name="connsiteX128" fmla="*/ 4229100 w 5553075"/>
                <a:gd name="connsiteY128" fmla="*/ 1396692 h 2634942"/>
                <a:gd name="connsiteX129" fmla="*/ 4271963 w 5553075"/>
                <a:gd name="connsiteY129" fmla="*/ 1482417 h 2634942"/>
                <a:gd name="connsiteX130" fmla="*/ 4329113 w 5553075"/>
                <a:gd name="connsiteY130" fmla="*/ 1471305 h 2634942"/>
                <a:gd name="connsiteX131" fmla="*/ 4384675 w 5553075"/>
                <a:gd name="connsiteY131" fmla="*/ 1501467 h 2634942"/>
                <a:gd name="connsiteX132" fmla="*/ 4445000 w 5553075"/>
                <a:gd name="connsiteY132" fmla="*/ 1536392 h 2634942"/>
                <a:gd name="connsiteX133" fmla="*/ 4438650 w 5553075"/>
                <a:gd name="connsiteY133" fmla="*/ 1563380 h 2634942"/>
                <a:gd name="connsiteX134" fmla="*/ 4432300 w 5553075"/>
                <a:gd name="connsiteY134" fmla="*/ 1633230 h 2634942"/>
                <a:gd name="connsiteX135" fmla="*/ 4500563 w 5553075"/>
                <a:gd name="connsiteY135" fmla="*/ 1672917 h 2634942"/>
                <a:gd name="connsiteX136" fmla="*/ 4565650 w 5553075"/>
                <a:gd name="connsiteY136" fmla="*/ 1653867 h 2634942"/>
                <a:gd name="connsiteX137" fmla="*/ 4605338 w 5553075"/>
                <a:gd name="connsiteY137" fmla="*/ 1639580 h 2634942"/>
                <a:gd name="connsiteX138" fmla="*/ 4619625 w 5553075"/>
                <a:gd name="connsiteY138" fmla="*/ 1687205 h 2634942"/>
                <a:gd name="connsiteX139" fmla="*/ 4657725 w 5553075"/>
                <a:gd name="connsiteY139" fmla="*/ 1711017 h 2634942"/>
                <a:gd name="connsiteX140" fmla="*/ 4629150 w 5553075"/>
                <a:gd name="connsiteY140" fmla="*/ 1758642 h 2634942"/>
                <a:gd name="connsiteX141" fmla="*/ 4652963 w 5553075"/>
                <a:gd name="connsiteY141" fmla="*/ 1815792 h 2634942"/>
                <a:gd name="connsiteX142" fmla="*/ 4681538 w 5553075"/>
                <a:gd name="connsiteY142" fmla="*/ 1849130 h 2634942"/>
                <a:gd name="connsiteX143" fmla="*/ 4767263 w 5553075"/>
                <a:gd name="connsiteY143" fmla="*/ 1891992 h 2634942"/>
                <a:gd name="connsiteX144" fmla="*/ 4776788 w 5553075"/>
                <a:gd name="connsiteY144" fmla="*/ 1968192 h 2634942"/>
                <a:gd name="connsiteX145" fmla="*/ 4705350 w 5553075"/>
                <a:gd name="connsiteY145" fmla="*/ 1939617 h 2634942"/>
                <a:gd name="connsiteX146" fmla="*/ 4695825 w 5553075"/>
                <a:gd name="connsiteY146" fmla="*/ 1972955 h 2634942"/>
                <a:gd name="connsiteX147" fmla="*/ 4743450 w 5553075"/>
                <a:gd name="connsiteY147" fmla="*/ 2015817 h 2634942"/>
                <a:gd name="connsiteX148" fmla="*/ 4776788 w 5553075"/>
                <a:gd name="connsiteY148" fmla="*/ 2034867 h 2634942"/>
                <a:gd name="connsiteX149" fmla="*/ 4810125 w 5553075"/>
                <a:gd name="connsiteY149" fmla="*/ 2011055 h 2634942"/>
                <a:gd name="connsiteX150" fmla="*/ 4843463 w 5553075"/>
                <a:gd name="connsiteY150" fmla="*/ 2025342 h 2634942"/>
                <a:gd name="connsiteX151" fmla="*/ 4838700 w 5553075"/>
                <a:gd name="connsiteY151" fmla="*/ 2096780 h 2634942"/>
                <a:gd name="connsiteX152" fmla="*/ 4972050 w 5553075"/>
                <a:gd name="connsiteY152" fmla="*/ 2192030 h 2634942"/>
                <a:gd name="connsiteX153" fmla="*/ 4995863 w 5553075"/>
                <a:gd name="connsiteY153" fmla="*/ 2168217 h 2634942"/>
                <a:gd name="connsiteX154" fmla="*/ 5081588 w 5553075"/>
                <a:gd name="connsiteY154" fmla="*/ 2187267 h 2634942"/>
                <a:gd name="connsiteX155" fmla="*/ 5124450 w 5553075"/>
                <a:gd name="connsiteY155" fmla="*/ 2253942 h 2634942"/>
                <a:gd name="connsiteX156" fmla="*/ 5248275 w 5553075"/>
                <a:gd name="connsiteY156" fmla="*/ 2296805 h 2634942"/>
                <a:gd name="connsiteX157" fmla="*/ 5281613 w 5553075"/>
                <a:gd name="connsiteY157" fmla="*/ 2363480 h 2634942"/>
                <a:gd name="connsiteX158" fmla="*/ 5276850 w 5553075"/>
                <a:gd name="connsiteY158" fmla="*/ 2444442 h 2634942"/>
                <a:gd name="connsiteX159" fmla="*/ 5353050 w 5553075"/>
                <a:gd name="connsiteY159" fmla="*/ 2515880 h 2634942"/>
                <a:gd name="connsiteX160" fmla="*/ 5438775 w 5553075"/>
                <a:gd name="connsiteY160" fmla="*/ 2534930 h 2634942"/>
                <a:gd name="connsiteX161" fmla="*/ 5486400 w 5553075"/>
                <a:gd name="connsiteY161" fmla="*/ 2596842 h 2634942"/>
                <a:gd name="connsiteX162" fmla="*/ 5553075 w 5553075"/>
                <a:gd name="connsiteY162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10867 h 2634942"/>
                <a:gd name="connsiteX89" fmla="*/ 3281363 w 5553075"/>
                <a:gd name="connsiteY89" fmla="*/ 547380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8288 w 5553075"/>
                <a:gd name="connsiteY116" fmla="*/ 896630 h 2634942"/>
                <a:gd name="connsiteX117" fmla="*/ 4071938 w 5553075"/>
                <a:gd name="connsiteY117" fmla="*/ 963305 h 2634942"/>
                <a:gd name="connsiteX118" fmla="*/ 4116388 w 5553075"/>
                <a:gd name="connsiteY118" fmla="*/ 1026805 h 2634942"/>
                <a:gd name="connsiteX119" fmla="*/ 4144963 w 5553075"/>
                <a:gd name="connsiteY119" fmla="*/ 1069667 h 2634942"/>
                <a:gd name="connsiteX120" fmla="*/ 4137025 w 5553075"/>
                <a:gd name="connsiteY120" fmla="*/ 1098242 h 2634942"/>
                <a:gd name="connsiteX121" fmla="*/ 4157663 w 5553075"/>
                <a:gd name="connsiteY121" fmla="*/ 1125230 h 2634942"/>
                <a:gd name="connsiteX122" fmla="*/ 4162425 w 5553075"/>
                <a:gd name="connsiteY122" fmla="*/ 1201430 h 2634942"/>
                <a:gd name="connsiteX123" fmla="*/ 4195763 w 5553075"/>
                <a:gd name="connsiteY123" fmla="*/ 1230005 h 2634942"/>
                <a:gd name="connsiteX124" fmla="*/ 4176713 w 5553075"/>
                <a:gd name="connsiteY124" fmla="*/ 1263342 h 2634942"/>
                <a:gd name="connsiteX125" fmla="*/ 4191000 w 5553075"/>
                <a:gd name="connsiteY125" fmla="*/ 1287155 h 2634942"/>
                <a:gd name="connsiteX126" fmla="*/ 4286250 w 5553075"/>
                <a:gd name="connsiteY126" fmla="*/ 1357005 h 2634942"/>
                <a:gd name="connsiteX127" fmla="*/ 4275138 w 5553075"/>
                <a:gd name="connsiteY127" fmla="*/ 1396692 h 2634942"/>
                <a:gd name="connsiteX128" fmla="*/ 4229100 w 5553075"/>
                <a:gd name="connsiteY128" fmla="*/ 1396692 h 2634942"/>
                <a:gd name="connsiteX129" fmla="*/ 4271963 w 5553075"/>
                <a:gd name="connsiteY129" fmla="*/ 1482417 h 2634942"/>
                <a:gd name="connsiteX130" fmla="*/ 4329113 w 5553075"/>
                <a:gd name="connsiteY130" fmla="*/ 1471305 h 2634942"/>
                <a:gd name="connsiteX131" fmla="*/ 4384675 w 5553075"/>
                <a:gd name="connsiteY131" fmla="*/ 1501467 h 2634942"/>
                <a:gd name="connsiteX132" fmla="*/ 4445000 w 5553075"/>
                <a:gd name="connsiteY132" fmla="*/ 1536392 h 2634942"/>
                <a:gd name="connsiteX133" fmla="*/ 4438650 w 5553075"/>
                <a:gd name="connsiteY133" fmla="*/ 1563380 h 2634942"/>
                <a:gd name="connsiteX134" fmla="*/ 4432300 w 5553075"/>
                <a:gd name="connsiteY134" fmla="*/ 1633230 h 2634942"/>
                <a:gd name="connsiteX135" fmla="*/ 4500563 w 5553075"/>
                <a:gd name="connsiteY135" fmla="*/ 1672917 h 2634942"/>
                <a:gd name="connsiteX136" fmla="*/ 4565650 w 5553075"/>
                <a:gd name="connsiteY136" fmla="*/ 1653867 h 2634942"/>
                <a:gd name="connsiteX137" fmla="*/ 4605338 w 5553075"/>
                <a:gd name="connsiteY137" fmla="*/ 1639580 h 2634942"/>
                <a:gd name="connsiteX138" fmla="*/ 4619625 w 5553075"/>
                <a:gd name="connsiteY138" fmla="*/ 1687205 h 2634942"/>
                <a:gd name="connsiteX139" fmla="*/ 4657725 w 5553075"/>
                <a:gd name="connsiteY139" fmla="*/ 1711017 h 2634942"/>
                <a:gd name="connsiteX140" fmla="*/ 4629150 w 5553075"/>
                <a:gd name="connsiteY140" fmla="*/ 1758642 h 2634942"/>
                <a:gd name="connsiteX141" fmla="*/ 4652963 w 5553075"/>
                <a:gd name="connsiteY141" fmla="*/ 1815792 h 2634942"/>
                <a:gd name="connsiteX142" fmla="*/ 4681538 w 5553075"/>
                <a:gd name="connsiteY142" fmla="*/ 1849130 h 2634942"/>
                <a:gd name="connsiteX143" fmla="*/ 4767263 w 5553075"/>
                <a:gd name="connsiteY143" fmla="*/ 1891992 h 2634942"/>
                <a:gd name="connsiteX144" fmla="*/ 4776788 w 5553075"/>
                <a:gd name="connsiteY144" fmla="*/ 1968192 h 2634942"/>
                <a:gd name="connsiteX145" fmla="*/ 4705350 w 5553075"/>
                <a:gd name="connsiteY145" fmla="*/ 1939617 h 2634942"/>
                <a:gd name="connsiteX146" fmla="*/ 4695825 w 5553075"/>
                <a:gd name="connsiteY146" fmla="*/ 1972955 h 2634942"/>
                <a:gd name="connsiteX147" fmla="*/ 4743450 w 5553075"/>
                <a:gd name="connsiteY147" fmla="*/ 2015817 h 2634942"/>
                <a:gd name="connsiteX148" fmla="*/ 4776788 w 5553075"/>
                <a:gd name="connsiteY148" fmla="*/ 2034867 h 2634942"/>
                <a:gd name="connsiteX149" fmla="*/ 4810125 w 5553075"/>
                <a:gd name="connsiteY149" fmla="*/ 2011055 h 2634942"/>
                <a:gd name="connsiteX150" fmla="*/ 4843463 w 5553075"/>
                <a:gd name="connsiteY150" fmla="*/ 2025342 h 2634942"/>
                <a:gd name="connsiteX151" fmla="*/ 4838700 w 5553075"/>
                <a:gd name="connsiteY151" fmla="*/ 2096780 h 2634942"/>
                <a:gd name="connsiteX152" fmla="*/ 4972050 w 5553075"/>
                <a:gd name="connsiteY152" fmla="*/ 2192030 h 2634942"/>
                <a:gd name="connsiteX153" fmla="*/ 4995863 w 5553075"/>
                <a:gd name="connsiteY153" fmla="*/ 2168217 h 2634942"/>
                <a:gd name="connsiteX154" fmla="*/ 5081588 w 5553075"/>
                <a:gd name="connsiteY154" fmla="*/ 2187267 h 2634942"/>
                <a:gd name="connsiteX155" fmla="*/ 5124450 w 5553075"/>
                <a:gd name="connsiteY155" fmla="*/ 2253942 h 2634942"/>
                <a:gd name="connsiteX156" fmla="*/ 5248275 w 5553075"/>
                <a:gd name="connsiteY156" fmla="*/ 2296805 h 2634942"/>
                <a:gd name="connsiteX157" fmla="*/ 5281613 w 5553075"/>
                <a:gd name="connsiteY157" fmla="*/ 2363480 h 2634942"/>
                <a:gd name="connsiteX158" fmla="*/ 5276850 w 5553075"/>
                <a:gd name="connsiteY158" fmla="*/ 2444442 h 2634942"/>
                <a:gd name="connsiteX159" fmla="*/ 5353050 w 5553075"/>
                <a:gd name="connsiteY159" fmla="*/ 2515880 h 2634942"/>
                <a:gd name="connsiteX160" fmla="*/ 5438775 w 5553075"/>
                <a:gd name="connsiteY160" fmla="*/ 2534930 h 2634942"/>
                <a:gd name="connsiteX161" fmla="*/ 5486400 w 5553075"/>
                <a:gd name="connsiteY161" fmla="*/ 2596842 h 2634942"/>
                <a:gd name="connsiteX162" fmla="*/ 5553075 w 5553075"/>
                <a:gd name="connsiteY162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138488 w 5553075"/>
                <a:gd name="connsiteY84" fmla="*/ 372755 h 2634942"/>
                <a:gd name="connsiteX85" fmla="*/ 3190875 w 5553075"/>
                <a:gd name="connsiteY85" fmla="*/ 425142 h 2634942"/>
                <a:gd name="connsiteX86" fmla="*/ 3214688 w 5553075"/>
                <a:gd name="connsiteY86" fmla="*/ 468005 h 2634942"/>
                <a:gd name="connsiteX87" fmla="*/ 3257550 w 5553075"/>
                <a:gd name="connsiteY87" fmla="*/ 472767 h 2634942"/>
                <a:gd name="connsiteX88" fmla="*/ 3319463 w 5553075"/>
                <a:gd name="connsiteY88" fmla="*/ 529917 h 2634942"/>
                <a:gd name="connsiteX89" fmla="*/ 3281363 w 5553075"/>
                <a:gd name="connsiteY89" fmla="*/ 547380 h 2634942"/>
                <a:gd name="connsiteX90" fmla="*/ 3281363 w 5553075"/>
                <a:gd name="connsiteY90" fmla="*/ 568017 h 2634942"/>
                <a:gd name="connsiteX91" fmla="*/ 3319463 w 5553075"/>
                <a:gd name="connsiteY91" fmla="*/ 582305 h 2634942"/>
                <a:gd name="connsiteX92" fmla="*/ 3286125 w 5553075"/>
                <a:gd name="connsiteY92" fmla="*/ 634692 h 2634942"/>
                <a:gd name="connsiteX93" fmla="*/ 3352800 w 5553075"/>
                <a:gd name="connsiteY93" fmla="*/ 629930 h 2634942"/>
                <a:gd name="connsiteX94" fmla="*/ 3381375 w 5553075"/>
                <a:gd name="connsiteY94" fmla="*/ 668030 h 2634942"/>
                <a:gd name="connsiteX95" fmla="*/ 3419475 w 5553075"/>
                <a:gd name="connsiteY95" fmla="*/ 687080 h 2634942"/>
                <a:gd name="connsiteX96" fmla="*/ 3429000 w 5553075"/>
                <a:gd name="connsiteY96" fmla="*/ 715655 h 2634942"/>
                <a:gd name="connsiteX97" fmla="*/ 3429000 w 5553075"/>
                <a:gd name="connsiteY97" fmla="*/ 739467 h 2634942"/>
                <a:gd name="connsiteX98" fmla="*/ 3457575 w 5553075"/>
                <a:gd name="connsiteY98" fmla="*/ 806142 h 2634942"/>
                <a:gd name="connsiteX99" fmla="*/ 3514725 w 5553075"/>
                <a:gd name="connsiteY99" fmla="*/ 763280 h 2634942"/>
                <a:gd name="connsiteX100" fmla="*/ 3557588 w 5553075"/>
                <a:gd name="connsiteY100" fmla="*/ 753755 h 2634942"/>
                <a:gd name="connsiteX101" fmla="*/ 3595688 w 5553075"/>
                <a:gd name="connsiteY101" fmla="*/ 739467 h 2634942"/>
                <a:gd name="connsiteX102" fmla="*/ 3629025 w 5553075"/>
                <a:gd name="connsiteY102" fmla="*/ 701367 h 2634942"/>
                <a:gd name="connsiteX103" fmla="*/ 3648075 w 5553075"/>
                <a:gd name="connsiteY103" fmla="*/ 720417 h 2634942"/>
                <a:gd name="connsiteX104" fmla="*/ 3638550 w 5553075"/>
                <a:gd name="connsiteY104" fmla="*/ 758517 h 2634942"/>
                <a:gd name="connsiteX105" fmla="*/ 3657600 w 5553075"/>
                <a:gd name="connsiteY105" fmla="*/ 806142 h 2634942"/>
                <a:gd name="connsiteX106" fmla="*/ 3705225 w 5553075"/>
                <a:gd name="connsiteY106" fmla="*/ 806142 h 2634942"/>
                <a:gd name="connsiteX107" fmla="*/ 3771900 w 5553075"/>
                <a:gd name="connsiteY107" fmla="*/ 791855 h 2634942"/>
                <a:gd name="connsiteX108" fmla="*/ 3824288 w 5553075"/>
                <a:gd name="connsiteY108" fmla="*/ 768042 h 2634942"/>
                <a:gd name="connsiteX109" fmla="*/ 3814763 w 5553075"/>
                <a:gd name="connsiteY109" fmla="*/ 768042 h 2634942"/>
                <a:gd name="connsiteX110" fmla="*/ 3876675 w 5553075"/>
                <a:gd name="connsiteY110" fmla="*/ 777567 h 2634942"/>
                <a:gd name="connsiteX111" fmla="*/ 3929063 w 5553075"/>
                <a:gd name="connsiteY111" fmla="*/ 758517 h 2634942"/>
                <a:gd name="connsiteX112" fmla="*/ 3905250 w 5553075"/>
                <a:gd name="connsiteY112" fmla="*/ 806142 h 2634942"/>
                <a:gd name="connsiteX113" fmla="*/ 3914775 w 5553075"/>
                <a:gd name="connsiteY113" fmla="*/ 839480 h 2634942"/>
                <a:gd name="connsiteX114" fmla="*/ 3957638 w 5553075"/>
                <a:gd name="connsiteY114" fmla="*/ 806142 h 2634942"/>
                <a:gd name="connsiteX115" fmla="*/ 3986213 w 5553075"/>
                <a:gd name="connsiteY115" fmla="*/ 849005 h 2634942"/>
                <a:gd name="connsiteX116" fmla="*/ 4078288 w 5553075"/>
                <a:gd name="connsiteY116" fmla="*/ 896630 h 2634942"/>
                <a:gd name="connsiteX117" fmla="*/ 4071938 w 5553075"/>
                <a:gd name="connsiteY117" fmla="*/ 963305 h 2634942"/>
                <a:gd name="connsiteX118" fmla="*/ 4116388 w 5553075"/>
                <a:gd name="connsiteY118" fmla="*/ 1026805 h 2634942"/>
                <a:gd name="connsiteX119" fmla="*/ 4144963 w 5553075"/>
                <a:gd name="connsiteY119" fmla="*/ 1069667 h 2634942"/>
                <a:gd name="connsiteX120" fmla="*/ 4137025 w 5553075"/>
                <a:gd name="connsiteY120" fmla="*/ 1098242 h 2634942"/>
                <a:gd name="connsiteX121" fmla="*/ 4157663 w 5553075"/>
                <a:gd name="connsiteY121" fmla="*/ 1125230 h 2634942"/>
                <a:gd name="connsiteX122" fmla="*/ 4162425 w 5553075"/>
                <a:gd name="connsiteY122" fmla="*/ 1201430 h 2634942"/>
                <a:gd name="connsiteX123" fmla="*/ 4195763 w 5553075"/>
                <a:gd name="connsiteY123" fmla="*/ 1230005 h 2634942"/>
                <a:gd name="connsiteX124" fmla="*/ 4176713 w 5553075"/>
                <a:gd name="connsiteY124" fmla="*/ 1263342 h 2634942"/>
                <a:gd name="connsiteX125" fmla="*/ 4191000 w 5553075"/>
                <a:gd name="connsiteY125" fmla="*/ 1287155 h 2634942"/>
                <a:gd name="connsiteX126" fmla="*/ 4286250 w 5553075"/>
                <a:gd name="connsiteY126" fmla="*/ 1357005 h 2634942"/>
                <a:gd name="connsiteX127" fmla="*/ 4275138 w 5553075"/>
                <a:gd name="connsiteY127" fmla="*/ 1396692 h 2634942"/>
                <a:gd name="connsiteX128" fmla="*/ 4229100 w 5553075"/>
                <a:gd name="connsiteY128" fmla="*/ 1396692 h 2634942"/>
                <a:gd name="connsiteX129" fmla="*/ 4271963 w 5553075"/>
                <a:gd name="connsiteY129" fmla="*/ 1482417 h 2634942"/>
                <a:gd name="connsiteX130" fmla="*/ 4329113 w 5553075"/>
                <a:gd name="connsiteY130" fmla="*/ 1471305 h 2634942"/>
                <a:gd name="connsiteX131" fmla="*/ 4384675 w 5553075"/>
                <a:gd name="connsiteY131" fmla="*/ 1501467 h 2634942"/>
                <a:gd name="connsiteX132" fmla="*/ 4445000 w 5553075"/>
                <a:gd name="connsiteY132" fmla="*/ 1536392 h 2634942"/>
                <a:gd name="connsiteX133" fmla="*/ 4438650 w 5553075"/>
                <a:gd name="connsiteY133" fmla="*/ 1563380 h 2634942"/>
                <a:gd name="connsiteX134" fmla="*/ 4432300 w 5553075"/>
                <a:gd name="connsiteY134" fmla="*/ 1633230 h 2634942"/>
                <a:gd name="connsiteX135" fmla="*/ 4500563 w 5553075"/>
                <a:gd name="connsiteY135" fmla="*/ 1672917 h 2634942"/>
                <a:gd name="connsiteX136" fmla="*/ 4565650 w 5553075"/>
                <a:gd name="connsiteY136" fmla="*/ 1653867 h 2634942"/>
                <a:gd name="connsiteX137" fmla="*/ 4605338 w 5553075"/>
                <a:gd name="connsiteY137" fmla="*/ 1639580 h 2634942"/>
                <a:gd name="connsiteX138" fmla="*/ 4619625 w 5553075"/>
                <a:gd name="connsiteY138" fmla="*/ 1687205 h 2634942"/>
                <a:gd name="connsiteX139" fmla="*/ 4657725 w 5553075"/>
                <a:gd name="connsiteY139" fmla="*/ 1711017 h 2634942"/>
                <a:gd name="connsiteX140" fmla="*/ 4629150 w 5553075"/>
                <a:gd name="connsiteY140" fmla="*/ 1758642 h 2634942"/>
                <a:gd name="connsiteX141" fmla="*/ 4652963 w 5553075"/>
                <a:gd name="connsiteY141" fmla="*/ 1815792 h 2634942"/>
                <a:gd name="connsiteX142" fmla="*/ 4681538 w 5553075"/>
                <a:gd name="connsiteY142" fmla="*/ 1849130 h 2634942"/>
                <a:gd name="connsiteX143" fmla="*/ 4767263 w 5553075"/>
                <a:gd name="connsiteY143" fmla="*/ 1891992 h 2634942"/>
                <a:gd name="connsiteX144" fmla="*/ 4776788 w 5553075"/>
                <a:gd name="connsiteY144" fmla="*/ 1968192 h 2634942"/>
                <a:gd name="connsiteX145" fmla="*/ 4705350 w 5553075"/>
                <a:gd name="connsiteY145" fmla="*/ 1939617 h 2634942"/>
                <a:gd name="connsiteX146" fmla="*/ 4695825 w 5553075"/>
                <a:gd name="connsiteY146" fmla="*/ 1972955 h 2634942"/>
                <a:gd name="connsiteX147" fmla="*/ 4743450 w 5553075"/>
                <a:gd name="connsiteY147" fmla="*/ 2015817 h 2634942"/>
                <a:gd name="connsiteX148" fmla="*/ 4776788 w 5553075"/>
                <a:gd name="connsiteY148" fmla="*/ 2034867 h 2634942"/>
                <a:gd name="connsiteX149" fmla="*/ 4810125 w 5553075"/>
                <a:gd name="connsiteY149" fmla="*/ 2011055 h 2634942"/>
                <a:gd name="connsiteX150" fmla="*/ 4843463 w 5553075"/>
                <a:gd name="connsiteY150" fmla="*/ 2025342 h 2634942"/>
                <a:gd name="connsiteX151" fmla="*/ 4838700 w 5553075"/>
                <a:gd name="connsiteY151" fmla="*/ 2096780 h 2634942"/>
                <a:gd name="connsiteX152" fmla="*/ 4972050 w 5553075"/>
                <a:gd name="connsiteY152" fmla="*/ 2192030 h 2634942"/>
                <a:gd name="connsiteX153" fmla="*/ 4995863 w 5553075"/>
                <a:gd name="connsiteY153" fmla="*/ 2168217 h 2634942"/>
                <a:gd name="connsiteX154" fmla="*/ 5081588 w 5553075"/>
                <a:gd name="connsiteY154" fmla="*/ 2187267 h 2634942"/>
                <a:gd name="connsiteX155" fmla="*/ 5124450 w 5553075"/>
                <a:gd name="connsiteY155" fmla="*/ 2253942 h 2634942"/>
                <a:gd name="connsiteX156" fmla="*/ 5248275 w 5553075"/>
                <a:gd name="connsiteY156" fmla="*/ 2296805 h 2634942"/>
                <a:gd name="connsiteX157" fmla="*/ 5281613 w 5553075"/>
                <a:gd name="connsiteY157" fmla="*/ 2363480 h 2634942"/>
                <a:gd name="connsiteX158" fmla="*/ 5276850 w 5553075"/>
                <a:gd name="connsiteY158" fmla="*/ 2444442 h 2634942"/>
                <a:gd name="connsiteX159" fmla="*/ 5353050 w 5553075"/>
                <a:gd name="connsiteY159" fmla="*/ 2515880 h 2634942"/>
                <a:gd name="connsiteX160" fmla="*/ 5438775 w 5553075"/>
                <a:gd name="connsiteY160" fmla="*/ 2534930 h 2634942"/>
                <a:gd name="connsiteX161" fmla="*/ 5486400 w 5553075"/>
                <a:gd name="connsiteY161" fmla="*/ 2596842 h 2634942"/>
                <a:gd name="connsiteX162" fmla="*/ 5553075 w 5553075"/>
                <a:gd name="connsiteY162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19400 w 5553075"/>
                <a:gd name="connsiteY76" fmla="*/ 167967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086100 w 5553075"/>
                <a:gd name="connsiteY84" fmla="*/ 304492 h 2634942"/>
                <a:gd name="connsiteX85" fmla="*/ 3138488 w 5553075"/>
                <a:gd name="connsiteY85" fmla="*/ 372755 h 2634942"/>
                <a:gd name="connsiteX86" fmla="*/ 3190875 w 5553075"/>
                <a:gd name="connsiteY86" fmla="*/ 425142 h 2634942"/>
                <a:gd name="connsiteX87" fmla="*/ 3214688 w 5553075"/>
                <a:gd name="connsiteY87" fmla="*/ 468005 h 2634942"/>
                <a:gd name="connsiteX88" fmla="*/ 3257550 w 5553075"/>
                <a:gd name="connsiteY88" fmla="*/ 472767 h 2634942"/>
                <a:gd name="connsiteX89" fmla="*/ 3319463 w 5553075"/>
                <a:gd name="connsiteY89" fmla="*/ 529917 h 2634942"/>
                <a:gd name="connsiteX90" fmla="*/ 3281363 w 5553075"/>
                <a:gd name="connsiteY90" fmla="*/ 547380 h 2634942"/>
                <a:gd name="connsiteX91" fmla="*/ 3281363 w 5553075"/>
                <a:gd name="connsiteY91" fmla="*/ 568017 h 2634942"/>
                <a:gd name="connsiteX92" fmla="*/ 3319463 w 5553075"/>
                <a:gd name="connsiteY92" fmla="*/ 582305 h 2634942"/>
                <a:gd name="connsiteX93" fmla="*/ 3286125 w 5553075"/>
                <a:gd name="connsiteY93" fmla="*/ 634692 h 2634942"/>
                <a:gd name="connsiteX94" fmla="*/ 3352800 w 5553075"/>
                <a:gd name="connsiteY94" fmla="*/ 629930 h 2634942"/>
                <a:gd name="connsiteX95" fmla="*/ 3381375 w 5553075"/>
                <a:gd name="connsiteY95" fmla="*/ 668030 h 2634942"/>
                <a:gd name="connsiteX96" fmla="*/ 3419475 w 5553075"/>
                <a:gd name="connsiteY96" fmla="*/ 687080 h 2634942"/>
                <a:gd name="connsiteX97" fmla="*/ 3429000 w 5553075"/>
                <a:gd name="connsiteY97" fmla="*/ 715655 h 2634942"/>
                <a:gd name="connsiteX98" fmla="*/ 3429000 w 5553075"/>
                <a:gd name="connsiteY98" fmla="*/ 739467 h 2634942"/>
                <a:gd name="connsiteX99" fmla="*/ 3457575 w 5553075"/>
                <a:gd name="connsiteY99" fmla="*/ 806142 h 2634942"/>
                <a:gd name="connsiteX100" fmla="*/ 3514725 w 5553075"/>
                <a:gd name="connsiteY100" fmla="*/ 763280 h 2634942"/>
                <a:gd name="connsiteX101" fmla="*/ 3557588 w 5553075"/>
                <a:gd name="connsiteY101" fmla="*/ 753755 h 2634942"/>
                <a:gd name="connsiteX102" fmla="*/ 3595688 w 5553075"/>
                <a:gd name="connsiteY102" fmla="*/ 739467 h 2634942"/>
                <a:gd name="connsiteX103" fmla="*/ 3629025 w 5553075"/>
                <a:gd name="connsiteY103" fmla="*/ 701367 h 2634942"/>
                <a:gd name="connsiteX104" fmla="*/ 3648075 w 5553075"/>
                <a:gd name="connsiteY104" fmla="*/ 720417 h 2634942"/>
                <a:gd name="connsiteX105" fmla="*/ 3638550 w 5553075"/>
                <a:gd name="connsiteY105" fmla="*/ 758517 h 2634942"/>
                <a:gd name="connsiteX106" fmla="*/ 3657600 w 5553075"/>
                <a:gd name="connsiteY106" fmla="*/ 806142 h 2634942"/>
                <a:gd name="connsiteX107" fmla="*/ 3705225 w 5553075"/>
                <a:gd name="connsiteY107" fmla="*/ 806142 h 2634942"/>
                <a:gd name="connsiteX108" fmla="*/ 3771900 w 5553075"/>
                <a:gd name="connsiteY108" fmla="*/ 791855 h 2634942"/>
                <a:gd name="connsiteX109" fmla="*/ 3824288 w 5553075"/>
                <a:gd name="connsiteY109" fmla="*/ 768042 h 2634942"/>
                <a:gd name="connsiteX110" fmla="*/ 3814763 w 5553075"/>
                <a:gd name="connsiteY110" fmla="*/ 768042 h 2634942"/>
                <a:gd name="connsiteX111" fmla="*/ 3876675 w 5553075"/>
                <a:gd name="connsiteY111" fmla="*/ 777567 h 2634942"/>
                <a:gd name="connsiteX112" fmla="*/ 3929063 w 5553075"/>
                <a:gd name="connsiteY112" fmla="*/ 758517 h 2634942"/>
                <a:gd name="connsiteX113" fmla="*/ 3905250 w 5553075"/>
                <a:gd name="connsiteY113" fmla="*/ 806142 h 2634942"/>
                <a:gd name="connsiteX114" fmla="*/ 3914775 w 5553075"/>
                <a:gd name="connsiteY114" fmla="*/ 839480 h 2634942"/>
                <a:gd name="connsiteX115" fmla="*/ 3957638 w 5553075"/>
                <a:gd name="connsiteY115" fmla="*/ 806142 h 2634942"/>
                <a:gd name="connsiteX116" fmla="*/ 3986213 w 5553075"/>
                <a:gd name="connsiteY116" fmla="*/ 849005 h 2634942"/>
                <a:gd name="connsiteX117" fmla="*/ 4078288 w 5553075"/>
                <a:gd name="connsiteY117" fmla="*/ 896630 h 2634942"/>
                <a:gd name="connsiteX118" fmla="*/ 4071938 w 5553075"/>
                <a:gd name="connsiteY118" fmla="*/ 963305 h 2634942"/>
                <a:gd name="connsiteX119" fmla="*/ 4116388 w 5553075"/>
                <a:gd name="connsiteY119" fmla="*/ 1026805 h 2634942"/>
                <a:gd name="connsiteX120" fmla="*/ 4144963 w 5553075"/>
                <a:gd name="connsiteY120" fmla="*/ 1069667 h 2634942"/>
                <a:gd name="connsiteX121" fmla="*/ 4137025 w 5553075"/>
                <a:gd name="connsiteY121" fmla="*/ 1098242 h 2634942"/>
                <a:gd name="connsiteX122" fmla="*/ 4157663 w 5553075"/>
                <a:gd name="connsiteY122" fmla="*/ 1125230 h 2634942"/>
                <a:gd name="connsiteX123" fmla="*/ 4162425 w 5553075"/>
                <a:gd name="connsiteY123" fmla="*/ 1201430 h 2634942"/>
                <a:gd name="connsiteX124" fmla="*/ 4195763 w 5553075"/>
                <a:gd name="connsiteY124" fmla="*/ 1230005 h 2634942"/>
                <a:gd name="connsiteX125" fmla="*/ 4176713 w 5553075"/>
                <a:gd name="connsiteY125" fmla="*/ 1263342 h 2634942"/>
                <a:gd name="connsiteX126" fmla="*/ 4191000 w 5553075"/>
                <a:gd name="connsiteY126" fmla="*/ 1287155 h 2634942"/>
                <a:gd name="connsiteX127" fmla="*/ 4286250 w 5553075"/>
                <a:gd name="connsiteY127" fmla="*/ 1357005 h 2634942"/>
                <a:gd name="connsiteX128" fmla="*/ 4275138 w 5553075"/>
                <a:gd name="connsiteY128" fmla="*/ 1396692 h 2634942"/>
                <a:gd name="connsiteX129" fmla="*/ 4229100 w 5553075"/>
                <a:gd name="connsiteY129" fmla="*/ 1396692 h 2634942"/>
                <a:gd name="connsiteX130" fmla="*/ 4271963 w 5553075"/>
                <a:gd name="connsiteY130" fmla="*/ 1482417 h 2634942"/>
                <a:gd name="connsiteX131" fmla="*/ 4329113 w 5553075"/>
                <a:gd name="connsiteY131" fmla="*/ 1471305 h 2634942"/>
                <a:gd name="connsiteX132" fmla="*/ 4384675 w 5553075"/>
                <a:gd name="connsiteY132" fmla="*/ 1501467 h 2634942"/>
                <a:gd name="connsiteX133" fmla="*/ 4445000 w 5553075"/>
                <a:gd name="connsiteY133" fmla="*/ 1536392 h 2634942"/>
                <a:gd name="connsiteX134" fmla="*/ 4438650 w 5553075"/>
                <a:gd name="connsiteY134" fmla="*/ 1563380 h 2634942"/>
                <a:gd name="connsiteX135" fmla="*/ 4432300 w 5553075"/>
                <a:gd name="connsiteY135" fmla="*/ 1633230 h 2634942"/>
                <a:gd name="connsiteX136" fmla="*/ 4500563 w 5553075"/>
                <a:gd name="connsiteY136" fmla="*/ 1672917 h 2634942"/>
                <a:gd name="connsiteX137" fmla="*/ 4565650 w 5553075"/>
                <a:gd name="connsiteY137" fmla="*/ 1653867 h 2634942"/>
                <a:gd name="connsiteX138" fmla="*/ 4605338 w 5553075"/>
                <a:gd name="connsiteY138" fmla="*/ 1639580 h 2634942"/>
                <a:gd name="connsiteX139" fmla="*/ 4619625 w 5553075"/>
                <a:gd name="connsiteY139" fmla="*/ 1687205 h 2634942"/>
                <a:gd name="connsiteX140" fmla="*/ 4657725 w 5553075"/>
                <a:gd name="connsiteY140" fmla="*/ 1711017 h 2634942"/>
                <a:gd name="connsiteX141" fmla="*/ 4629150 w 5553075"/>
                <a:gd name="connsiteY141" fmla="*/ 1758642 h 2634942"/>
                <a:gd name="connsiteX142" fmla="*/ 4652963 w 5553075"/>
                <a:gd name="connsiteY142" fmla="*/ 1815792 h 2634942"/>
                <a:gd name="connsiteX143" fmla="*/ 4681538 w 5553075"/>
                <a:gd name="connsiteY143" fmla="*/ 1849130 h 2634942"/>
                <a:gd name="connsiteX144" fmla="*/ 4767263 w 5553075"/>
                <a:gd name="connsiteY144" fmla="*/ 1891992 h 2634942"/>
                <a:gd name="connsiteX145" fmla="*/ 4776788 w 5553075"/>
                <a:gd name="connsiteY145" fmla="*/ 1968192 h 2634942"/>
                <a:gd name="connsiteX146" fmla="*/ 4705350 w 5553075"/>
                <a:gd name="connsiteY146" fmla="*/ 1939617 h 2634942"/>
                <a:gd name="connsiteX147" fmla="*/ 4695825 w 5553075"/>
                <a:gd name="connsiteY147" fmla="*/ 1972955 h 2634942"/>
                <a:gd name="connsiteX148" fmla="*/ 4743450 w 5553075"/>
                <a:gd name="connsiteY148" fmla="*/ 2015817 h 2634942"/>
                <a:gd name="connsiteX149" fmla="*/ 4776788 w 5553075"/>
                <a:gd name="connsiteY149" fmla="*/ 2034867 h 2634942"/>
                <a:gd name="connsiteX150" fmla="*/ 4810125 w 5553075"/>
                <a:gd name="connsiteY150" fmla="*/ 2011055 h 2634942"/>
                <a:gd name="connsiteX151" fmla="*/ 4843463 w 5553075"/>
                <a:gd name="connsiteY151" fmla="*/ 2025342 h 2634942"/>
                <a:gd name="connsiteX152" fmla="*/ 4838700 w 5553075"/>
                <a:gd name="connsiteY152" fmla="*/ 2096780 h 2634942"/>
                <a:gd name="connsiteX153" fmla="*/ 4972050 w 5553075"/>
                <a:gd name="connsiteY153" fmla="*/ 2192030 h 2634942"/>
                <a:gd name="connsiteX154" fmla="*/ 4995863 w 5553075"/>
                <a:gd name="connsiteY154" fmla="*/ 2168217 h 2634942"/>
                <a:gd name="connsiteX155" fmla="*/ 5081588 w 5553075"/>
                <a:gd name="connsiteY155" fmla="*/ 2187267 h 2634942"/>
                <a:gd name="connsiteX156" fmla="*/ 5124450 w 5553075"/>
                <a:gd name="connsiteY156" fmla="*/ 2253942 h 2634942"/>
                <a:gd name="connsiteX157" fmla="*/ 5248275 w 5553075"/>
                <a:gd name="connsiteY157" fmla="*/ 2296805 h 2634942"/>
                <a:gd name="connsiteX158" fmla="*/ 5281613 w 5553075"/>
                <a:gd name="connsiteY158" fmla="*/ 2363480 h 2634942"/>
                <a:gd name="connsiteX159" fmla="*/ 5276850 w 5553075"/>
                <a:gd name="connsiteY159" fmla="*/ 2444442 h 2634942"/>
                <a:gd name="connsiteX160" fmla="*/ 5353050 w 5553075"/>
                <a:gd name="connsiteY160" fmla="*/ 2515880 h 2634942"/>
                <a:gd name="connsiteX161" fmla="*/ 5438775 w 5553075"/>
                <a:gd name="connsiteY161" fmla="*/ 2534930 h 2634942"/>
                <a:gd name="connsiteX162" fmla="*/ 5486400 w 5553075"/>
                <a:gd name="connsiteY162" fmla="*/ 2596842 h 2634942"/>
                <a:gd name="connsiteX163" fmla="*/ 5553075 w 5553075"/>
                <a:gd name="connsiteY163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24163 w 5553075"/>
                <a:gd name="connsiteY75" fmla="*/ 110817 h 2634942"/>
                <a:gd name="connsiteX76" fmla="*/ 2828925 w 5553075"/>
                <a:gd name="connsiteY76" fmla="*/ 177492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086100 w 5553075"/>
                <a:gd name="connsiteY84" fmla="*/ 304492 h 2634942"/>
                <a:gd name="connsiteX85" fmla="*/ 3138488 w 5553075"/>
                <a:gd name="connsiteY85" fmla="*/ 372755 h 2634942"/>
                <a:gd name="connsiteX86" fmla="*/ 3190875 w 5553075"/>
                <a:gd name="connsiteY86" fmla="*/ 425142 h 2634942"/>
                <a:gd name="connsiteX87" fmla="*/ 3214688 w 5553075"/>
                <a:gd name="connsiteY87" fmla="*/ 468005 h 2634942"/>
                <a:gd name="connsiteX88" fmla="*/ 3257550 w 5553075"/>
                <a:gd name="connsiteY88" fmla="*/ 472767 h 2634942"/>
                <a:gd name="connsiteX89" fmla="*/ 3319463 w 5553075"/>
                <a:gd name="connsiteY89" fmla="*/ 529917 h 2634942"/>
                <a:gd name="connsiteX90" fmla="*/ 3281363 w 5553075"/>
                <a:gd name="connsiteY90" fmla="*/ 547380 h 2634942"/>
                <a:gd name="connsiteX91" fmla="*/ 3281363 w 5553075"/>
                <a:gd name="connsiteY91" fmla="*/ 568017 h 2634942"/>
                <a:gd name="connsiteX92" fmla="*/ 3319463 w 5553075"/>
                <a:gd name="connsiteY92" fmla="*/ 582305 h 2634942"/>
                <a:gd name="connsiteX93" fmla="*/ 3286125 w 5553075"/>
                <a:gd name="connsiteY93" fmla="*/ 634692 h 2634942"/>
                <a:gd name="connsiteX94" fmla="*/ 3352800 w 5553075"/>
                <a:gd name="connsiteY94" fmla="*/ 629930 h 2634942"/>
                <a:gd name="connsiteX95" fmla="*/ 3381375 w 5553075"/>
                <a:gd name="connsiteY95" fmla="*/ 668030 h 2634942"/>
                <a:gd name="connsiteX96" fmla="*/ 3419475 w 5553075"/>
                <a:gd name="connsiteY96" fmla="*/ 687080 h 2634942"/>
                <a:gd name="connsiteX97" fmla="*/ 3429000 w 5553075"/>
                <a:gd name="connsiteY97" fmla="*/ 715655 h 2634942"/>
                <a:gd name="connsiteX98" fmla="*/ 3429000 w 5553075"/>
                <a:gd name="connsiteY98" fmla="*/ 739467 h 2634942"/>
                <a:gd name="connsiteX99" fmla="*/ 3457575 w 5553075"/>
                <a:gd name="connsiteY99" fmla="*/ 806142 h 2634942"/>
                <a:gd name="connsiteX100" fmla="*/ 3514725 w 5553075"/>
                <a:gd name="connsiteY100" fmla="*/ 763280 h 2634942"/>
                <a:gd name="connsiteX101" fmla="*/ 3557588 w 5553075"/>
                <a:gd name="connsiteY101" fmla="*/ 753755 h 2634942"/>
                <a:gd name="connsiteX102" fmla="*/ 3595688 w 5553075"/>
                <a:gd name="connsiteY102" fmla="*/ 739467 h 2634942"/>
                <a:gd name="connsiteX103" fmla="*/ 3629025 w 5553075"/>
                <a:gd name="connsiteY103" fmla="*/ 701367 h 2634942"/>
                <a:gd name="connsiteX104" fmla="*/ 3648075 w 5553075"/>
                <a:gd name="connsiteY104" fmla="*/ 720417 h 2634942"/>
                <a:gd name="connsiteX105" fmla="*/ 3638550 w 5553075"/>
                <a:gd name="connsiteY105" fmla="*/ 758517 h 2634942"/>
                <a:gd name="connsiteX106" fmla="*/ 3657600 w 5553075"/>
                <a:gd name="connsiteY106" fmla="*/ 806142 h 2634942"/>
                <a:gd name="connsiteX107" fmla="*/ 3705225 w 5553075"/>
                <a:gd name="connsiteY107" fmla="*/ 806142 h 2634942"/>
                <a:gd name="connsiteX108" fmla="*/ 3771900 w 5553075"/>
                <a:gd name="connsiteY108" fmla="*/ 791855 h 2634942"/>
                <a:gd name="connsiteX109" fmla="*/ 3824288 w 5553075"/>
                <a:gd name="connsiteY109" fmla="*/ 768042 h 2634942"/>
                <a:gd name="connsiteX110" fmla="*/ 3814763 w 5553075"/>
                <a:gd name="connsiteY110" fmla="*/ 768042 h 2634942"/>
                <a:gd name="connsiteX111" fmla="*/ 3876675 w 5553075"/>
                <a:gd name="connsiteY111" fmla="*/ 777567 h 2634942"/>
                <a:gd name="connsiteX112" fmla="*/ 3929063 w 5553075"/>
                <a:gd name="connsiteY112" fmla="*/ 758517 h 2634942"/>
                <a:gd name="connsiteX113" fmla="*/ 3905250 w 5553075"/>
                <a:gd name="connsiteY113" fmla="*/ 806142 h 2634942"/>
                <a:gd name="connsiteX114" fmla="*/ 3914775 w 5553075"/>
                <a:gd name="connsiteY114" fmla="*/ 839480 h 2634942"/>
                <a:gd name="connsiteX115" fmla="*/ 3957638 w 5553075"/>
                <a:gd name="connsiteY115" fmla="*/ 806142 h 2634942"/>
                <a:gd name="connsiteX116" fmla="*/ 3986213 w 5553075"/>
                <a:gd name="connsiteY116" fmla="*/ 849005 h 2634942"/>
                <a:gd name="connsiteX117" fmla="*/ 4078288 w 5553075"/>
                <a:gd name="connsiteY117" fmla="*/ 896630 h 2634942"/>
                <a:gd name="connsiteX118" fmla="*/ 4071938 w 5553075"/>
                <a:gd name="connsiteY118" fmla="*/ 963305 h 2634942"/>
                <a:gd name="connsiteX119" fmla="*/ 4116388 w 5553075"/>
                <a:gd name="connsiteY119" fmla="*/ 1026805 h 2634942"/>
                <a:gd name="connsiteX120" fmla="*/ 4144963 w 5553075"/>
                <a:gd name="connsiteY120" fmla="*/ 1069667 h 2634942"/>
                <a:gd name="connsiteX121" fmla="*/ 4137025 w 5553075"/>
                <a:gd name="connsiteY121" fmla="*/ 1098242 h 2634942"/>
                <a:gd name="connsiteX122" fmla="*/ 4157663 w 5553075"/>
                <a:gd name="connsiteY122" fmla="*/ 1125230 h 2634942"/>
                <a:gd name="connsiteX123" fmla="*/ 4162425 w 5553075"/>
                <a:gd name="connsiteY123" fmla="*/ 1201430 h 2634942"/>
                <a:gd name="connsiteX124" fmla="*/ 4195763 w 5553075"/>
                <a:gd name="connsiteY124" fmla="*/ 1230005 h 2634942"/>
                <a:gd name="connsiteX125" fmla="*/ 4176713 w 5553075"/>
                <a:gd name="connsiteY125" fmla="*/ 1263342 h 2634942"/>
                <a:gd name="connsiteX126" fmla="*/ 4191000 w 5553075"/>
                <a:gd name="connsiteY126" fmla="*/ 1287155 h 2634942"/>
                <a:gd name="connsiteX127" fmla="*/ 4286250 w 5553075"/>
                <a:gd name="connsiteY127" fmla="*/ 1357005 h 2634942"/>
                <a:gd name="connsiteX128" fmla="*/ 4275138 w 5553075"/>
                <a:gd name="connsiteY128" fmla="*/ 1396692 h 2634942"/>
                <a:gd name="connsiteX129" fmla="*/ 4229100 w 5553075"/>
                <a:gd name="connsiteY129" fmla="*/ 1396692 h 2634942"/>
                <a:gd name="connsiteX130" fmla="*/ 4271963 w 5553075"/>
                <a:gd name="connsiteY130" fmla="*/ 1482417 h 2634942"/>
                <a:gd name="connsiteX131" fmla="*/ 4329113 w 5553075"/>
                <a:gd name="connsiteY131" fmla="*/ 1471305 h 2634942"/>
                <a:gd name="connsiteX132" fmla="*/ 4384675 w 5553075"/>
                <a:gd name="connsiteY132" fmla="*/ 1501467 h 2634942"/>
                <a:gd name="connsiteX133" fmla="*/ 4445000 w 5553075"/>
                <a:gd name="connsiteY133" fmla="*/ 1536392 h 2634942"/>
                <a:gd name="connsiteX134" fmla="*/ 4438650 w 5553075"/>
                <a:gd name="connsiteY134" fmla="*/ 1563380 h 2634942"/>
                <a:gd name="connsiteX135" fmla="*/ 4432300 w 5553075"/>
                <a:gd name="connsiteY135" fmla="*/ 1633230 h 2634942"/>
                <a:gd name="connsiteX136" fmla="*/ 4500563 w 5553075"/>
                <a:gd name="connsiteY136" fmla="*/ 1672917 h 2634942"/>
                <a:gd name="connsiteX137" fmla="*/ 4565650 w 5553075"/>
                <a:gd name="connsiteY137" fmla="*/ 1653867 h 2634942"/>
                <a:gd name="connsiteX138" fmla="*/ 4605338 w 5553075"/>
                <a:gd name="connsiteY138" fmla="*/ 1639580 h 2634942"/>
                <a:gd name="connsiteX139" fmla="*/ 4619625 w 5553075"/>
                <a:gd name="connsiteY139" fmla="*/ 1687205 h 2634942"/>
                <a:gd name="connsiteX140" fmla="*/ 4657725 w 5553075"/>
                <a:gd name="connsiteY140" fmla="*/ 1711017 h 2634942"/>
                <a:gd name="connsiteX141" fmla="*/ 4629150 w 5553075"/>
                <a:gd name="connsiteY141" fmla="*/ 1758642 h 2634942"/>
                <a:gd name="connsiteX142" fmla="*/ 4652963 w 5553075"/>
                <a:gd name="connsiteY142" fmla="*/ 1815792 h 2634942"/>
                <a:gd name="connsiteX143" fmla="*/ 4681538 w 5553075"/>
                <a:gd name="connsiteY143" fmla="*/ 1849130 h 2634942"/>
                <a:gd name="connsiteX144" fmla="*/ 4767263 w 5553075"/>
                <a:gd name="connsiteY144" fmla="*/ 1891992 h 2634942"/>
                <a:gd name="connsiteX145" fmla="*/ 4776788 w 5553075"/>
                <a:gd name="connsiteY145" fmla="*/ 1968192 h 2634942"/>
                <a:gd name="connsiteX146" fmla="*/ 4705350 w 5553075"/>
                <a:gd name="connsiteY146" fmla="*/ 1939617 h 2634942"/>
                <a:gd name="connsiteX147" fmla="*/ 4695825 w 5553075"/>
                <a:gd name="connsiteY147" fmla="*/ 1972955 h 2634942"/>
                <a:gd name="connsiteX148" fmla="*/ 4743450 w 5553075"/>
                <a:gd name="connsiteY148" fmla="*/ 2015817 h 2634942"/>
                <a:gd name="connsiteX149" fmla="*/ 4776788 w 5553075"/>
                <a:gd name="connsiteY149" fmla="*/ 2034867 h 2634942"/>
                <a:gd name="connsiteX150" fmla="*/ 4810125 w 5553075"/>
                <a:gd name="connsiteY150" fmla="*/ 2011055 h 2634942"/>
                <a:gd name="connsiteX151" fmla="*/ 4843463 w 5553075"/>
                <a:gd name="connsiteY151" fmla="*/ 2025342 h 2634942"/>
                <a:gd name="connsiteX152" fmla="*/ 4838700 w 5553075"/>
                <a:gd name="connsiteY152" fmla="*/ 2096780 h 2634942"/>
                <a:gd name="connsiteX153" fmla="*/ 4972050 w 5553075"/>
                <a:gd name="connsiteY153" fmla="*/ 2192030 h 2634942"/>
                <a:gd name="connsiteX154" fmla="*/ 4995863 w 5553075"/>
                <a:gd name="connsiteY154" fmla="*/ 2168217 h 2634942"/>
                <a:gd name="connsiteX155" fmla="*/ 5081588 w 5553075"/>
                <a:gd name="connsiteY155" fmla="*/ 2187267 h 2634942"/>
                <a:gd name="connsiteX156" fmla="*/ 5124450 w 5553075"/>
                <a:gd name="connsiteY156" fmla="*/ 2253942 h 2634942"/>
                <a:gd name="connsiteX157" fmla="*/ 5248275 w 5553075"/>
                <a:gd name="connsiteY157" fmla="*/ 2296805 h 2634942"/>
                <a:gd name="connsiteX158" fmla="*/ 5281613 w 5553075"/>
                <a:gd name="connsiteY158" fmla="*/ 2363480 h 2634942"/>
                <a:gd name="connsiteX159" fmla="*/ 5276850 w 5553075"/>
                <a:gd name="connsiteY159" fmla="*/ 2444442 h 2634942"/>
                <a:gd name="connsiteX160" fmla="*/ 5353050 w 5553075"/>
                <a:gd name="connsiteY160" fmla="*/ 2515880 h 2634942"/>
                <a:gd name="connsiteX161" fmla="*/ 5438775 w 5553075"/>
                <a:gd name="connsiteY161" fmla="*/ 2534930 h 2634942"/>
                <a:gd name="connsiteX162" fmla="*/ 5486400 w 5553075"/>
                <a:gd name="connsiteY162" fmla="*/ 2596842 h 2634942"/>
                <a:gd name="connsiteX163" fmla="*/ 5553075 w 5553075"/>
                <a:gd name="connsiteY163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57475 w 5553075"/>
                <a:gd name="connsiteY71" fmla="*/ 917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36863 w 5553075"/>
                <a:gd name="connsiteY75" fmla="*/ 136217 h 2634942"/>
                <a:gd name="connsiteX76" fmla="*/ 2828925 w 5553075"/>
                <a:gd name="connsiteY76" fmla="*/ 177492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086100 w 5553075"/>
                <a:gd name="connsiteY84" fmla="*/ 304492 h 2634942"/>
                <a:gd name="connsiteX85" fmla="*/ 3138488 w 5553075"/>
                <a:gd name="connsiteY85" fmla="*/ 372755 h 2634942"/>
                <a:gd name="connsiteX86" fmla="*/ 3190875 w 5553075"/>
                <a:gd name="connsiteY86" fmla="*/ 425142 h 2634942"/>
                <a:gd name="connsiteX87" fmla="*/ 3214688 w 5553075"/>
                <a:gd name="connsiteY87" fmla="*/ 468005 h 2634942"/>
                <a:gd name="connsiteX88" fmla="*/ 3257550 w 5553075"/>
                <a:gd name="connsiteY88" fmla="*/ 472767 h 2634942"/>
                <a:gd name="connsiteX89" fmla="*/ 3319463 w 5553075"/>
                <a:gd name="connsiteY89" fmla="*/ 529917 h 2634942"/>
                <a:gd name="connsiteX90" fmla="*/ 3281363 w 5553075"/>
                <a:gd name="connsiteY90" fmla="*/ 547380 h 2634942"/>
                <a:gd name="connsiteX91" fmla="*/ 3281363 w 5553075"/>
                <a:gd name="connsiteY91" fmla="*/ 568017 h 2634942"/>
                <a:gd name="connsiteX92" fmla="*/ 3319463 w 5553075"/>
                <a:gd name="connsiteY92" fmla="*/ 582305 h 2634942"/>
                <a:gd name="connsiteX93" fmla="*/ 3286125 w 5553075"/>
                <a:gd name="connsiteY93" fmla="*/ 634692 h 2634942"/>
                <a:gd name="connsiteX94" fmla="*/ 3352800 w 5553075"/>
                <a:gd name="connsiteY94" fmla="*/ 629930 h 2634942"/>
                <a:gd name="connsiteX95" fmla="*/ 3381375 w 5553075"/>
                <a:gd name="connsiteY95" fmla="*/ 668030 h 2634942"/>
                <a:gd name="connsiteX96" fmla="*/ 3419475 w 5553075"/>
                <a:gd name="connsiteY96" fmla="*/ 687080 h 2634942"/>
                <a:gd name="connsiteX97" fmla="*/ 3429000 w 5553075"/>
                <a:gd name="connsiteY97" fmla="*/ 715655 h 2634942"/>
                <a:gd name="connsiteX98" fmla="*/ 3429000 w 5553075"/>
                <a:gd name="connsiteY98" fmla="*/ 739467 h 2634942"/>
                <a:gd name="connsiteX99" fmla="*/ 3457575 w 5553075"/>
                <a:gd name="connsiteY99" fmla="*/ 806142 h 2634942"/>
                <a:gd name="connsiteX100" fmla="*/ 3514725 w 5553075"/>
                <a:gd name="connsiteY100" fmla="*/ 763280 h 2634942"/>
                <a:gd name="connsiteX101" fmla="*/ 3557588 w 5553075"/>
                <a:gd name="connsiteY101" fmla="*/ 753755 h 2634942"/>
                <a:gd name="connsiteX102" fmla="*/ 3595688 w 5553075"/>
                <a:gd name="connsiteY102" fmla="*/ 739467 h 2634942"/>
                <a:gd name="connsiteX103" fmla="*/ 3629025 w 5553075"/>
                <a:gd name="connsiteY103" fmla="*/ 701367 h 2634942"/>
                <a:gd name="connsiteX104" fmla="*/ 3648075 w 5553075"/>
                <a:gd name="connsiteY104" fmla="*/ 720417 h 2634942"/>
                <a:gd name="connsiteX105" fmla="*/ 3638550 w 5553075"/>
                <a:gd name="connsiteY105" fmla="*/ 758517 h 2634942"/>
                <a:gd name="connsiteX106" fmla="*/ 3657600 w 5553075"/>
                <a:gd name="connsiteY106" fmla="*/ 806142 h 2634942"/>
                <a:gd name="connsiteX107" fmla="*/ 3705225 w 5553075"/>
                <a:gd name="connsiteY107" fmla="*/ 806142 h 2634942"/>
                <a:gd name="connsiteX108" fmla="*/ 3771900 w 5553075"/>
                <a:gd name="connsiteY108" fmla="*/ 791855 h 2634942"/>
                <a:gd name="connsiteX109" fmla="*/ 3824288 w 5553075"/>
                <a:gd name="connsiteY109" fmla="*/ 768042 h 2634942"/>
                <a:gd name="connsiteX110" fmla="*/ 3814763 w 5553075"/>
                <a:gd name="connsiteY110" fmla="*/ 768042 h 2634942"/>
                <a:gd name="connsiteX111" fmla="*/ 3876675 w 5553075"/>
                <a:gd name="connsiteY111" fmla="*/ 777567 h 2634942"/>
                <a:gd name="connsiteX112" fmla="*/ 3929063 w 5553075"/>
                <a:gd name="connsiteY112" fmla="*/ 758517 h 2634942"/>
                <a:gd name="connsiteX113" fmla="*/ 3905250 w 5553075"/>
                <a:gd name="connsiteY113" fmla="*/ 806142 h 2634942"/>
                <a:gd name="connsiteX114" fmla="*/ 3914775 w 5553075"/>
                <a:gd name="connsiteY114" fmla="*/ 839480 h 2634942"/>
                <a:gd name="connsiteX115" fmla="*/ 3957638 w 5553075"/>
                <a:gd name="connsiteY115" fmla="*/ 806142 h 2634942"/>
                <a:gd name="connsiteX116" fmla="*/ 3986213 w 5553075"/>
                <a:gd name="connsiteY116" fmla="*/ 849005 h 2634942"/>
                <a:gd name="connsiteX117" fmla="*/ 4078288 w 5553075"/>
                <a:gd name="connsiteY117" fmla="*/ 896630 h 2634942"/>
                <a:gd name="connsiteX118" fmla="*/ 4071938 w 5553075"/>
                <a:gd name="connsiteY118" fmla="*/ 963305 h 2634942"/>
                <a:gd name="connsiteX119" fmla="*/ 4116388 w 5553075"/>
                <a:gd name="connsiteY119" fmla="*/ 1026805 h 2634942"/>
                <a:gd name="connsiteX120" fmla="*/ 4144963 w 5553075"/>
                <a:gd name="connsiteY120" fmla="*/ 1069667 h 2634942"/>
                <a:gd name="connsiteX121" fmla="*/ 4137025 w 5553075"/>
                <a:gd name="connsiteY121" fmla="*/ 1098242 h 2634942"/>
                <a:gd name="connsiteX122" fmla="*/ 4157663 w 5553075"/>
                <a:gd name="connsiteY122" fmla="*/ 1125230 h 2634942"/>
                <a:gd name="connsiteX123" fmla="*/ 4162425 w 5553075"/>
                <a:gd name="connsiteY123" fmla="*/ 1201430 h 2634942"/>
                <a:gd name="connsiteX124" fmla="*/ 4195763 w 5553075"/>
                <a:gd name="connsiteY124" fmla="*/ 1230005 h 2634942"/>
                <a:gd name="connsiteX125" fmla="*/ 4176713 w 5553075"/>
                <a:gd name="connsiteY125" fmla="*/ 1263342 h 2634942"/>
                <a:gd name="connsiteX126" fmla="*/ 4191000 w 5553075"/>
                <a:gd name="connsiteY126" fmla="*/ 1287155 h 2634942"/>
                <a:gd name="connsiteX127" fmla="*/ 4286250 w 5553075"/>
                <a:gd name="connsiteY127" fmla="*/ 1357005 h 2634942"/>
                <a:gd name="connsiteX128" fmla="*/ 4275138 w 5553075"/>
                <a:gd name="connsiteY128" fmla="*/ 1396692 h 2634942"/>
                <a:gd name="connsiteX129" fmla="*/ 4229100 w 5553075"/>
                <a:gd name="connsiteY129" fmla="*/ 1396692 h 2634942"/>
                <a:gd name="connsiteX130" fmla="*/ 4271963 w 5553075"/>
                <a:gd name="connsiteY130" fmla="*/ 1482417 h 2634942"/>
                <a:gd name="connsiteX131" fmla="*/ 4329113 w 5553075"/>
                <a:gd name="connsiteY131" fmla="*/ 1471305 h 2634942"/>
                <a:gd name="connsiteX132" fmla="*/ 4384675 w 5553075"/>
                <a:gd name="connsiteY132" fmla="*/ 1501467 h 2634942"/>
                <a:gd name="connsiteX133" fmla="*/ 4445000 w 5553075"/>
                <a:gd name="connsiteY133" fmla="*/ 1536392 h 2634942"/>
                <a:gd name="connsiteX134" fmla="*/ 4438650 w 5553075"/>
                <a:gd name="connsiteY134" fmla="*/ 1563380 h 2634942"/>
                <a:gd name="connsiteX135" fmla="*/ 4432300 w 5553075"/>
                <a:gd name="connsiteY135" fmla="*/ 1633230 h 2634942"/>
                <a:gd name="connsiteX136" fmla="*/ 4500563 w 5553075"/>
                <a:gd name="connsiteY136" fmla="*/ 1672917 h 2634942"/>
                <a:gd name="connsiteX137" fmla="*/ 4565650 w 5553075"/>
                <a:gd name="connsiteY137" fmla="*/ 1653867 h 2634942"/>
                <a:gd name="connsiteX138" fmla="*/ 4605338 w 5553075"/>
                <a:gd name="connsiteY138" fmla="*/ 1639580 h 2634942"/>
                <a:gd name="connsiteX139" fmla="*/ 4619625 w 5553075"/>
                <a:gd name="connsiteY139" fmla="*/ 1687205 h 2634942"/>
                <a:gd name="connsiteX140" fmla="*/ 4657725 w 5553075"/>
                <a:gd name="connsiteY140" fmla="*/ 1711017 h 2634942"/>
                <a:gd name="connsiteX141" fmla="*/ 4629150 w 5553075"/>
                <a:gd name="connsiteY141" fmla="*/ 1758642 h 2634942"/>
                <a:gd name="connsiteX142" fmla="*/ 4652963 w 5553075"/>
                <a:gd name="connsiteY142" fmla="*/ 1815792 h 2634942"/>
                <a:gd name="connsiteX143" fmla="*/ 4681538 w 5553075"/>
                <a:gd name="connsiteY143" fmla="*/ 1849130 h 2634942"/>
                <a:gd name="connsiteX144" fmla="*/ 4767263 w 5553075"/>
                <a:gd name="connsiteY144" fmla="*/ 1891992 h 2634942"/>
                <a:gd name="connsiteX145" fmla="*/ 4776788 w 5553075"/>
                <a:gd name="connsiteY145" fmla="*/ 1968192 h 2634942"/>
                <a:gd name="connsiteX146" fmla="*/ 4705350 w 5553075"/>
                <a:gd name="connsiteY146" fmla="*/ 1939617 h 2634942"/>
                <a:gd name="connsiteX147" fmla="*/ 4695825 w 5553075"/>
                <a:gd name="connsiteY147" fmla="*/ 1972955 h 2634942"/>
                <a:gd name="connsiteX148" fmla="*/ 4743450 w 5553075"/>
                <a:gd name="connsiteY148" fmla="*/ 2015817 h 2634942"/>
                <a:gd name="connsiteX149" fmla="*/ 4776788 w 5553075"/>
                <a:gd name="connsiteY149" fmla="*/ 2034867 h 2634942"/>
                <a:gd name="connsiteX150" fmla="*/ 4810125 w 5553075"/>
                <a:gd name="connsiteY150" fmla="*/ 2011055 h 2634942"/>
                <a:gd name="connsiteX151" fmla="*/ 4843463 w 5553075"/>
                <a:gd name="connsiteY151" fmla="*/ 2025342 h 2634942"/>
                <a:gd name="connsiteX152" fmla="*/ 4838700 w 5553075"/>
                <a:gd name="connsiteY152" fmla="*/ 2096780 h 2634942"/>
                <a:gd name="connsiteX153" fmla="*/ 4972050 w 5553075"/>
                <a:gd name="connsiteY153" fmla="*/ 2192030 h 2634942"/>
                <a:gd name="connsiteX154" fmla="*/ 4995863 w 5553075"/>
                <a:gd name="connsiteY154" fmla="*/ 2168217 h 2634942"/>
                <a:gd name="connsiteX155" fmla="*/ 5081588 w 5553075"/>
                <a:gd name="connsiteY155" fmla="*/ 2187267 h 2634942"/>
                <a:gd name="connsiteX156" fmla="*/ 5124450 w 5553075"/>
                <a:gd name="connsiteY156" fmla="*/ 2253942 h 2634942"/>
                <a:gd name="connsiteX157" fmla="*/ 5248275 w 5553075"/>
                <a:gd name="connsiteY157" fmla="*/ 2296805 h 2634942"/>
                <a:gd name="connsiteX158" fmla="*/ 5281613 w 5553075"/>
                <a:gd name="connsiteY158" fmla="*/ 2363480 h 2634942"/>
                <a:gd name="connsiteX159" fmla="*/ 5276850 w 5553075"/>
                <a:gd name="connsiteY159" fmla="*/ 2444442 h 2634942"/>
                <a:gd name="connsiteX160" fmla="*/ 5353050 w 5553075"/>
                <a:gd name="connsiteY160" fmla="*/ 2515880 h 2634942"/>
                <a:gd name="connsiteX161" fmla="*/ 5438775 w 5553075"/>
                <a:gd name="connsiteY161" fmla="*/ 2534930 h 2634942"/>
                <a:gd name="connsiteX162" fmla="*/ 5486400 w 5553075"/>
                <a:gd name="connsiteY162" fmla="*/ 2596842 h 2634942"/>
                <a:gd name="connsiteX163" fmla="*/ 5553075 w 5553075"/>
                <a:gd name="connsiteY163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419350 w 5553075"/>
                <a:gd name="connsiteY65" fmla="*/ 58430 h 2634942"/>
                <a:gd name="connsiteX66" fmla="*/ 2419350 w 5553075"/>
                <a:gd name="connsiteY66" fmla="*/ 106055 h 2634942"/>
                <a:gd name="connsiteX67" fmla="*/ 2462213 w 5553075"/>
                <a:gd name="connsiteY67" fmla="*/ 91767 h 2634942"/>
                <a:gd name="connsiteX68" fmla="*/ 2524125 w 5553075"/>
                <a:gd name="connsiteY68" fmla="*/ 96530 h 2634942"/>
                <a:gd name="connsiteX69" fmla="*/ 2543175 w 5553075"/>
                <a:gd name="connsiteY69" fmla="*/ 72717 h 2634942"/>
                <a:gd name="connsiteX70" fmla="*/ 2609850 w 5553075"/>
                <a:gd name="connsiteY70" fmla="*/ 106055 h 2634942"/>
                <a:gd name="connsiteX71" fmla="*/ 2692400 w 5553075"/>
                <a:gd name="connsiteY71" fmla="*/ 79067 h 2634942"/>
                <a:gd name="connsiteX72" fmla="*/ 2700338 w 5553075"/>
                <a:gd name="connsiteY72" fmla="*/ 53667 h 2634942"/>
                <a:gd name="connsiteX73" fmla="*/ 2724150 w 5553075"/>
                <a:gd name="connsiteY73" fmla="*/ 87005 h 2634942"/>
                <a:gd name="connsiteX74" fmla="*/ 2814638 w 5553075"/>
                <a:gd name="connsiteY74" fmla="*/ 72717 h 2634942"/>
                <a:gd name="connsiteX75" fmla="*/ 2836863 w 5553075"/>
                <a:gd name="connsiteY75" fmla="*/ 136217 h 2634942"/>
                <a:gd name="connsiteX76" fmla="*/ 2828925 w 5553075"/>
                <a:gd name="connsiteY76" fmla="*/ 177492 h 2634942"/>
                <a:gd name="connsiteX77" fmla="*/ 2895600 w 5553075"/>
                <a:gd name="connsiteY77" fmla="*/ 153680 h 2634942"/>
                <a:gd name="connsiteX78" fmla="*/ 2895600 w 5553075"/>
                <a:gd name="connsiteY78" fmla="*/ 196542 h 2634942"/>
                <a:gd name="connsiteX79" fmla="*/ 2933700 w 5553075"/>
                <a:gd name="connsiteY79" fmla="*/ 239405 h 2634942"/>
                <a:gd name="connsiteX80" fmla="*/ 2933700 w 5553075"/>
                <a:gd name="connsiteY80" fmla="*/ 196542 h 2634942"/>
                <a:gd name="connsiteX81" fmla="*/ 2986088 w 5553075"/>
                <a:gd name="connsiteY81" fmla="*/ 225117 h 2634942"/>
                <a:gd name="connsiteX82" fmla="*/ 3000375 w 5553075"/>
                <a:gd name="connsiteY82" fmla="*/ 248930 h 2634942"/>
                <a:gd name="connsiteX83" fmla="*/ 3057525 w 5553075"/>
                <a:gd name="connsiteY83" fmla="*/ 296555 h 2634942"/>
                <a:gd name="connsiteX84" fmla="*/ 3086100 w 5553075"/>
                <a:gd name="connsiteY84" fmla="*/ 304492 h 2634942"/>
                <a:gd name="connsiteX85" fmla="*/ 3138488 w 5553075"/>
                <a:gd name="connsiteY85" fmla="*/ 372755 h 2634942"/>
                <a:gd name="connsiteX86" fmla="*/ 3190875 w 5553075"/>
                <a:gd name="connsiteY86" fmla="*/ 425142 h 2634942"/>
                <a:gd name="connsiteX87" fmla="*/ 3214688 w 5553075"/>
                <a:gd name="connsiteY87" fmla="*/ 468005 h 2634942"/>
                <a:gd name="connsiteX88" fmla="*/ 3257550 w 5553075"/>
                <a:gd name="connsiteY88" fmla="*/ 472767 h 2634942"/>
                <a:gd name="connsiteX89" fmla="*/ 3319463 w 5553075"/>
                <a:gd name="connsiteY89" fmla="*/ 529917 h 2634942"/>
                <a:gd name="connsiteX90" fmla="*/ 3281363 w 5553075"/>
                <a:gd name="connsiteY90" fmla="*/ 547380 h 2634942"/>
                <a:gd name="connsiteX91" fmla="*/ 3281363 w 5553075"/>
                <a:gd name="connsiteY91" fmla="*/ 568017 h 2634942"/>
                <a:gd name="connsiteX92" fmla="*/ 3319463 w 5553075"/>
                <a:gd name="connsiteY92" fmla="*/ 582305 h 2634942"/>
                <a:gd name="connsiteX93" fmla="*/ 3286125 w 5553075"/>
                <a:gd name="connsiteY93" fmla="*/ 634692 h 2634942"/>
                <a:gd name="connsiteX94" fmla="*/ 3352800 w 5553075"/>
                <a:gd name="connsiteY94" fmla="*/ 629930 h 2634942"/>
                <a:gd name="connsiteX95" fmla="*/ 3381375 w 5553075"/>
                <a:gd name="connsiteY95" fmla="*/ 668030 h 2634942"/>
                <a:gd name="connsiteX96" fmla="*/ 3419475 w 5553075"/>
                <a:gd name="connsiteY96" fmla="*/ 687080 h 2634942"/>
                <a:gd name="connsiteX97" fmla="*/ 3429000 w 5553075"/>
                <a:gd name="connsiteY97" fmla="*/ 715655 h 2634942"/>
                <a:gd name="connsiteX98" fmla="*/ 3429000 w 5553075"/>
                <a:gd name="connsiteY98" fmla="*/ 739467 h 2634942"/>
                <a:gd name="connsiteX99" fmla="*/ 3457575 w 5553075"/>
                <a:gd name="connsiteY99" fmla="*/ 806142 h 2634942"/>
                <a:gd name="connsiteX100" fmla="*/ 3514725 w 5553075"/>
                <a:gd name="connsiteY100" fmla="*/ 763280 h 2634942"/>
                <a:gd name="connsiteX101" fmla="*/ 3557588 w 5553075"/>
                <a:gd name="connsiteY101" fmla="*/ 753755 h 2634942"/>
                <a:gd name="connsiteX102" fmla="*/ 3595688 w 5553075"/>
                <a:gd name="connsiteY102" fmla="*/ 739467 h 2634942"/>
                <a:gd name="connsiteX103" fmla="*/ 3629025 w 5553075"/>
                <a:gd name="connsiteY103" fmla="*/ 701367 h 2634942"/>
                <a:gd name="connsiteX104" fmla="*/ 3648075 w 5553075"/>
                <a:gd name="connsiteY104" fmla="*/ 720417 h 2634942"/>
                <a:gd name="connsiteX105" fmla="*/ 3638550 w 5553075"/>
                <a:gd name="connsiteY105" fmla="*/ 758517 h 2634942"/>
                <a:gd name="connsiteX106" fmla="*/ 3657600 w 5553075"/>
                <a:gd name="connsiteY106" fmla="*/ 806142 h 2634942"/>
                <a:gd name="connsiteX107" fmla="*/ 3705225 w 5553075"/>
                <a:gd name="connsiteY107" fmla="*/ 806142 h 2634942"/>
                <a:gd name="connsiteX108" fmla="*/ 3771900 w 5553075"/>
                <a:gd name="connsiteY108" fmla="*/ 791855 h 2634942"/>
                <a:gd name="connsiteX109" fmla="*/ 3824288 w 5553075"/>
                <a:gd name="connsiteY109" fmla="*/ 768042 h 2634942"/>
                <a:gd name="connsiteX110" fmla="*/ 3814763 w 5553075"/>
                <a:gd name="connsiteY110" fmla="*/ 768042 h 2634942"/>
                <a:gd name="connsiteX111" fmla="*/ 3876675 w 5553075"/>
                <a:gd name="connsiteY111" fmla="*/ 777567 h 2634942"/>
                <a:gd name="connsiteX112" fmla="*/ 3929063 w 5553075"/>
                <a:gd name="connsiteY112" fmla="*/ 758517 h 2634942"/>
                <a:gd name="connsiteX113" fmla="*/ 3905250 w 5553075"/>
                <a:gd name="connsiteY113" fmla="*/ 806142 h 2634942"/>
                <a:gd name="connsiteX114" fmla="*/ 3914775 w 5553075"/>
                <a:gd name="connsiteY114" fmla="*/ 839480 h 2634942"/>
                <a:gd name="connsiteX115" fmla="*/ 3957638 w 5553075"/>
                <a:gd name="connsiteY115" fmla="*/ 806142 h 2634942"/>
                <a:gd name="connsiteX116" fmla="*/ 3986213 w 5553075"/>
                <a:gd name="connsiteY116" fmla="*/ 849005 h 2634942"/>
                <a:gd name="connsiteX117" fmla="*/ 4078288 w 5553075"/>
                <a:gd name="connsiteY117" fmla="*/ 896630 h 2634942"/>
                <a:gd name="connsiteX118" fmla="*/ 4071938 w 5553075"/>
                <a:gd name="connsiteY118" fmla="*/ 963305 h 2634942"/>
                <a:gd name="connsiteX119" fmla="*/ 4116388 w 5553075"/>
                <a:gd name="connsiteY119" fmla="*/ 1026805 h 2634942"/>
                <a:gd name="connsiteX120" fmla="*/ 4144963 w 5553075"/>
                <a:gd name="connsiteY120" fmla="*/ 1069667 h 2634942"/>
                <a:gd name="connsiteX121" fmla="*/ 4137025 w 5553075"/>
                <a:gd name="connsiteY121" fmla="*/ 1098242 h 2634942"/>
                <a:gd name="connsiteX122" fmla="*/ 4157663 w 5553075"/>
                <a:gd name="connsiteY122" fmla="*/ 1125230 h 2634942"/>
                <a:gd name="connsiteX123" fmla="*/ 4162425 w 5553075"/>
                <a:gd name="connsiteY123" fmla="*/ 1201430 h 2634942"/>
                <a:gd name="connsiteX124" fmla="*/ 4195763 w 5553075"/>
                <a:gd name="connsiteY124" fmla="*/ 1230005 h 2634942"/>
                <a:gd name="connsiteX125" fmla="*/ 4176713 w 5553075"/>
                <a:gd name="connsiteY125" fmla="*/ 1263342 h 2634942"/>
                <a:gd name="connsiteX126" fmla="*/ 4191000 w 5553075"/>
                <a:gd name="connsiteY126" fmla="*/ 1287155 h 2634942"/>
                <a:gd name="connsiteX127" fmla="*/ 4286250 w 5553075"/>
                <a:gd name="connsiteY127" fmla="*/ 1357005 h 2634942"/>
                <a:gd name="connsiteX128" fmla="*/ 4275138 w 5553075"/>
                <a:gd name="connsiteY128" fmla="*/ 1396692 h 2634942"/>
                <a:gd name="connsiteX129" fmla="*/ 4229100 w 5553075"/>
                <a:gd name="connsiteY129" fmla="*/ 1396692 h 2634942"/>
                <a:gd name="connsiteX130" fmla="*/ 4271963 w 5553075"/>
                <a:gd name="connsiteY130" fmla="*/ 1482417 h 2634942"/>
                <a:gd name="connsiteX131" fmla="*/ 4329113 w 5553075"/>
                <a:gd name="connsiteY131" fmla="*/ 1471305 h 2634942"/>
                <a:gd name="connsiteX132" fmla="*/ 4384675 w 5553075"/>
                <a:gd name="connsiteY132" fmla="*/ 1501467 h 2634942"/>
                <a:gd name="connsiteX133" fmla="*/ 4445000 w 5553075"/>
                <a:gd name="connsiteY133" fmla="*/ 1536392 h 2634942"/>
                <a:gd name="connsiteX134" fmla="*/ 4438650 w 5553075"/>
                <a:gd name="connsiteY134" fmla="*/ 1563380 h 2634942"/>
                <a:gd name="connsiteX135" fmla="*/ 4432300 w 5553075"/>
                <a:gd name="connsiteY135" fmla="*/ 1633230 h 2634942"/>
                <a:gd name="connsiteX136" fmla="*/ 4500563 w 5553075"/>
                <a:gd name="connsiteY136" fmla="*/ 1672917 h 2634942"/>
                <a:gd name="connsiteX137" fmla="*/ 4565650 w 5553075"/>
                <a:gd name="connsiteY137" fmla="*/ 1653867 h 2634942"/>
                <a:gd name="connsiteX138" fmla="*/ 4605338 w 5553075"/>
                <a:gd name="connsiteY138" fmla="*/ 1639580 h 2634942"/>
                <a:gd name="connsiteX139" fmla="*/ 4619625 w 5553075"/>
                <a:gd name="connsiteY139" fmla="*/ 1687205 h 2634942"/>
                <a:gd name="connsiteX140" fmla="*/ 4657725 w 5553075"/>
                <a:gd name="connsiteY140" fmla="*/ 1711017 h 2634942"/>
                <a:gd name="connsiteX141" fmla="*/ 4629150 w 5553075"/>
                <a:gd name="connsiteY141" fmla="*/ 1758642 h 2634942"/>
                <a:gd name="connsiteX142" fmla="*/ 4652963 w 5553075"/>
                <a:gd name="connsiteY142" fmla="*/ 1815792 h 2634942"/>
                <a:gd name="connsiteX143" fmla="*/ 4681538 w 5553075"/>
                <a:gd name="connsiteY143" fmla="*/ 1849130 h 2634942"/>
                <a:gd name="connsiteX144" fmla="*/ 4767263 w 5553075"/>
                <a:gd name="connsiteY144" fmla="*/ 1891992 h 2634942"/>
                <a:gd name="connsiteX145" fmla="*/ 4776788 w 5553075"/>
                <a:gd name="connsiteY145" fmla="*/ 1968192 h 2634942"/>
                <a:gd name="connsiteX146" fmla="*/ 4705350 w 5553075"/>
                <a:gd name="connsiteY146" fmla="*/ 1939617 h 2634942"/>
                <a:gd name="connsiteX147" fmla="*/ 4695825 w 5553075"/>
                <a:gd name="connsiteY147" fmla="*/ 1972955 h 2634942"/>
                <a:gd name="connsiteX148" fmla="*/ 4743450 w 5553075"/>
                <a:gd name="connsiteY148" fmla="*/ 2015817 h 2634942"/>
                <a:gd name="connsiteX149" fmla="*/ 4776788 w 5553075"/>
                <a:gd name="connsiteY149" fmla="*/ 2034867 h 2634942"/>
                <a:gd name="connsiteX150" fmla="*/ 4810125 w 5553075"/>
                <a:gd name="connsiteY150" fmla="*/ 2011055 h 2634942"/>
                <a:gd name="connsiteX151" fmla="*/ 4843463 w 5553075"/>
                <a:gd name="connsiteY151" fmla="*/ 2025342 h 2634942"/>
                <a:gd name="connsiteX152" fmla="*/ 4838700 w 5553075"/>
                <a:gd name="connsiteY152" fmla="*/ 2096780 h 2634942"/>
                <a:gd name="connsiteX153" fmla="*/ 4972050 w 5553075"/>
                <a:gd name="connsiteY153" fmla="*/ 2192030 h 2634942"/>
                <a:gd name="connsiteX154" fmla="*/ 4995863 w 5553075"/>
                <a:gd name="connsiteY154" fmla="*/ 2168217 h 2634942"/>
                <a:gd name="connsiteX155" fmla="*/ 5081588 w 5553075"/>
                <a:gd name="connsiteY155" fmla="*/ 2187267 h 2634942"/>
                <a:gd name="connsiteX156" fmla="*/ 5124450 w 5553075"/>
                <a:gd name="connsiteY156" fmla="*/ 2253942 h 2634942"/>
                <a:gd name="connsiteX157" fmla="*/ 5248275 w 5553075"/>
                <a:gd name="connsiteY157" fmla="*/ 2296805 h 2634942"/>
                <a:gd name="connsiteX158" fmla="*/ 5281613 w 5553075"/>
                <a:gd name="connsiteY158" fmla="*/ 2363480 h 2634942"/>
                <a:gd name="connsiteX159" fmla="*/ 5276850 w 5553075"/>
                <a:gd name="connsiteY159" fmla="*/ 2444442 h 2634942"/>
                <a:gd name="connsiteX160" fmla="*/ 5353050 w 5553075"/>
                <a:gd name="connsiteY160" fmla="*/ 2515880 h 2634942"/>
                <a:gd name="connsiteX161" fmla="*/ 5438775 w 5553075"/>
                <a:gd name="connsiteY161" fmla="*/ 2534930 h 2634942"/>
                <a:gd name="connsiteX162" fmla="*/ 5486400 w 5553075"/>
                <a:gd name="connsiteY162" fmla="*/ 2596842 h 2634942"/>
                <a:gd name="connsiteX163" fmla="*/ 5553075 w 5553075"/>
                <a:gd name="connsiteY163" fmla="*/ 2634942 h 2634942"/>
                <a:gd name="connsiteX0" fmla="*/ 0 w 5553075"/>
                <a:gd name="connsiteY0" fmla="*/ 863292 h 2634942"/>
                <a:gd name="connsiteX1" fmla="*/ 57150 w 5553075"/>
                <a:gd name="connsiteY1" fmla="*/ 820430 h 2634942"/>
                <a:gd name="connsiteX2" fmla="*/ 57150 w 5553075"/>
                <a:gd name="connsiteY2" fmla="*/ 772805 h 2634942"/>
                <a:gd name="connsiteX3" fmla="*/ 47625 w 5553075"/>
                <a:gd name="connsiteY3" fmla="*/ 701367 h 2634942"/>
                <a:gd name="connsiteX4" fmla="*/ 95250 w 5553075"/>
                <a:gd name="connsiteY4" fmla="*/ 658505 h 2634942"/>
                <a:gd name="connsiteX5" fmla="*/ 142875 w 5553075"/>
                <a:gd name="connsiteY5" fmla="*/ 658505 h 2634942"/>
                <a:gd name="connsiteX6" fmla="*/ 157163 w 5553075"/>
                <a:gd name="connsiteY6" fmla="*/ 606117 h 2634942"/>
                <a:gd name="connsiteX7" fmla="*/ 176213 w 5553075"/>
                <a:gd name="connsiteY7" fmla="*/ 568017 h 2634942"/>
                <a:gd name="connsiteX8" fmla="*/ 214313 w 5553075"/>
                <a:gd name="connsiteY8" fmla="*/ 534680 h 2634942"/>
                <a:gd name="connsiteX9" fmla="*/ 195263 w 5553075"/>
                <a:gd name="connsiteY9" fmla="*/ 496580 h 2634942"/>
                <a:gd name="connsiteX10" fmla="*/ 209550 w 5553075"/>
                <a:gd name="connsiteY10" fmla="*/ 468005 h 2634942"/>
                <a:gd name="connsiteX11" fmla="*/ 209550 w 5553075"/>
                <a:gd name="connsiteY11" fmla="*/ 391805 h 2634942"/>
                <a:gd name="connsiteX12" fmla="*/ 242888 w 5553075"/>
                <a:gd name="connsiteY12" fmla="*/ 391805 h 2634942"/>
                <a:gd name="connsiteX13" fmla="*/ 242888 w 5553075"/>
                <a:gd name="connsiteY13" fmla="*/ 320367 h 2634942"/>
                <a:gd name="connsiteX14" fmla="*/ 271463 w 5553075"/>
                <a:gd name="connsiteY14" fmla="*/ 306080 h 2634942"/>
                <a:gd name="connsiteX15" fmla="*/ 280988 w 5553075"/>
                <a:gd name="connsiteY15" fmla="*/ 239405 h 2634942"/>
                <a:gd name="connsiteX16" fmla="*/ 361950 w 5553075"/>
                <a:gd name="connsiteY16" fmla="*/ 248930 h 2634942"/>
                <a:gd name="connsiteX17" fmla="*/ 395288 w 5553075"/>
                <a:gd name="connsiteY17" fmla="*/ 244167 h 2634942"/>
                <a:gd name="connsiteX18" fmla="*/ 433388 w 5553075"/>
                <a:gd name="connsiteY18" fmla="*/ 210830 h 2634942"/>
                <a:gd name="connsiteX19" fmla="*/ 495300 w 5553075"/>
                <a:gd name="connsiteY19" fmla="*/ 196542 h 2634942"/>
                <a:gd name="connsiteX20" fmla="*/ 509588 w 5553075"/>
                <a:gd name="connsiteY20" fmla="*/ 239405 h 2634942"/>
                <a:gd name="connsiteX21" fmla="*/ 552450 w 5553075"/>
                <a:gd name="connsiteY21" fmla="*/ 272742 h 2634942"/>
                <a:gd name="connsiteX22" fmla="*/ 576263 w 5553075"/>
                <a:gd name="connsiteY22" fmla="*/ 301317 h 2634942"/>
                <a:gd name="connsiteX23" fmla="*/ 633413 w 5553075"/>
                <a:gd name="connsiteY23" fmla="*/ 267980 h 2634942"/>
                <a:gd name="connsiteX24" fmla="*/ 690563 w 5553075"/>
                <a:gd name="connsiteY24" fmla="*/ 282267 h 2634942"/>
                <a:gd name="connsiteX25" fmla="*/ 733425 w 5553075"/>
                <a:gd name="connsiteY25" fmla="*/ 253692 h 2634942"/>
                <a:gd name="connsiteX26" fmla="*/ 795338 w 5553075"/>
                <a:gd name="connsiteY26" fmla="*/ 234642 h 2634942"/>
                <a:gd name="connsiteX27" fmla="*/ 814388 w 5553075"/>
                <a:gd name="connsiteY27" fmla="*/ 272742 h 2634942"/>
                <a:gd name="connsiteX28" fmla="*/ 890588 w 5553075"/>
                <a:gd name="connsiteY28" fmla="*/ 258455 h 2634942"/>
                <a:gd name="connsiteX29" fmla="*/ 928688 w 5553075"/>
                <a:gd name="connsiteY29" fmla="*/ 272742 h 2634942"/>
                <a:gd name="connsiteX30" fmla="*/ 976313 w 5553075"/>
                <a:gd name="connsiteY30" fmla="*/ 287030 h 2634942"/>
                <a:gd name="connsiteX31" fmla="*/ 1019175 w 5553075"/>
                <a:gd name="connsiteY31" fmla="*/ 306080 h 2634942"/>
                <a:gd name="connsiteX32" fmla="*/ 1123950 w 5553075"/>
                <a:gd name="connsiteY32" fmla="*/ 277505 h 2634942"/>
                <a:gd name="connsiteX33" fmla="*/ 1128713 w 5553075"/>
                <a:gd name="connsiteY33" fmla="*/ 215592 h 2634942"/>
                <a:gd name="connsiteX34" fmla="*/ 1190625 w 5553075"/>
                <a:gd name="connsiteY34" fmla="*/ 244167 h 2634942"/>
                <a:gd name="connsiteX35" fmla="*/ 1252538 w 5553075"/>
                <a:gd name="connsiteY35" fmla="*/ 244167 h 2634942"/>
                <a:gd name="connsiteX36" fmla="*/ 1281113 w 5553075"/>
                <a:gd name="connsiteY36" fmla="*/ 210830 h 2634942"/>
                <a:gd name="connsiteX37" fmla="*/ 1276350 w 5553075"/>
                <a:gd name="connsiteY37" fmla="*/ 182255 h 2634942"/>
                <a:gd name="connsiteX38" fmla="*/ 1309688 w 5553075"/>
                <a:gd name="connsiteY38" fmla="*/ 163205 h 2634942"/>
                <a:gd name="connsiteX39" fmla="*/ 1328738 w 5553075"/>
                <a:gd name="connsiteY39" fmla="*/ 139392 h 2634942"/>
                <a:gd name="connsiteX40" fmla="*/ 1366838 w 5553075"/>
                <a:gd name="connsiteY40" fmla="*/ 153680 h 2634942"/>
                <a:gd name="connsiteX41" fmla="*/ 1400175 w 5553075"/>
                <a:gd name="connsiteY41" fmla="*/ 210830 h 2634942"/>
                <a:gd name="connsiteX42" fmla="*/ 1466850 w 5553075"/>
                <a:gd name="connsiteY42" fmla="*/ 182255 h 2634942"/>
                <a:gd name="connsiteX43" fmla="*/ 1543050 w 5553075"/>
                <a:gd name="connsiteY43" fmla="*/ 158442 h 2634942"/>
                <a:gd name="connsiteX44" fmla="*/ 1624013 w 5553075"/>
                <a:gd name="connsiteY44" fmla="*/ 177492 h 2634942"/>
                <a:gd name="connsiteX45" fmla="*/ 1724025 w 5553075"/>
                <a:gd name="connsiteY45" fmla="*/ 134630 h 2634942"/>
                <a:gd name="connsiteX46" fmla="*/ 1776413 w 5553075"/>
                <a:gd name="connsiteY46" fmla="*/ 153680 h 2634942"/>
                <a:gd name="connsiteX47" fmla="*/ 1824038 w 5553075"/>
                <a:gd name="connsiteY47" fmla="*/ 125105 h 2634942"/>
                <a:gd name="connsiteX48" fmla="*/ 1795463 w 5553075"/>
                <a:gd name="connsiteY48" fmla="*/ 72717 h 2634942"/>
                <a:gd name="connsiteX49" fmla="*/ 1819275 w 5553075"/>
                <a:gd name="connsiteY49" fmla="*/ 29855 h 2634942"/>
                <a:gd name="connsiteX50" fmla="*/ 1881188 w 5553075"/>
                <a:gd name="connsiteY50" fmla="*/ 72717 h 2634942"/>
                <a:gd name="connsiteX51" fmla="*/ 1919288 w 5553075"/>
                <a:gd name="connsiteY51" fmla="*/ 87005 h 2634942"/>
                <a:gd name="connsiteX52" fmla="*/ 1952625 w 5553075"/>
                <a:gd name="connsiteY52" fmla="*/ 1280 h 2634942"/>
                <a:gd name="connsiteX53" fmla="*/ 2000250 w 5553075"/>
                <a:gd name="connsiteY53" fmla="*/ 39380 h 2634942"/>
                <a:gd name="connsiteX54" fmla="*/ 2019300 w 5553075"/>
                <a:gd name="connsiteY54" fmla="*/ 91767 h 2634942"/>
                <a:gd name="connsiteX55" fmla="*/ 2057400 w 5553075"/>
                <a:gd name="connsiteY55" fmla="*/ 58430 h 2634942"/>
                <a:gd name="connsiteX56" fmla="*/ 2081213 w 5553075"/>
                <a:gd name="connsiteY56" fmla="*/ 82242 h 2634942"/>
                <a:gd name="connsiteX57" fmla="*/ 2109788 w 5553075"/>
                <a:gd name="connsiteY57" fmla="*/ 48905 h 2634942"/>
                <a:gd name="connsiteX58" fmla="*/ 2138363 w 5553075"/>
                <a:gd name="connsiteY58" fmla="*/ 77480 h 2634942"/>
                <a:gd name="connsiteX59" fmla="*/ 2181225 w 5553075"/>
                <a:gd name="connsiteY59" fmla="*/ 82242 h 2634942"/>
                <a:gd name="connsiteX60" fmla="*/ 2195513 w 5553075"/>
                <a:gd name="connsiteY60" fmla="*/ 58430 h 2634942"/>
                <a:gd name="connsiteX61" fmla="*/ 2219325 w 5553075"/>
                <a:gd name="connsiteY61" fmla="*/ 87005 h 2634942"/>
                <a:gd name="connsiteX62" fmla="*/ 2252663 w 5553075"/>
                <a:gd name="connsiteY62" fmla="*/ 53667 h 2634942"/>
                <a:gd name="connsiteX63" fmla="*/ 2286000 w 5553075"/>
                <a:gd name="connsiteY63" fmla="*/ 101292 h 2634942"/>
                <a:gd name="connsiteX64" fmla="*/ 2333625 w 5553075"/>
                <a:gd name="connsiteY64" fmla="*/ 63192 h 2634942"/>
                <a:gd name="connsiteX65" fmla="*/ 2393950 w 5553075"/>
                <a:gd name="connsiteY65" fmla="*/ 66367 h 2634942"/>
                <a:gd name="connsiteX66" fmla="*/ 2419350 w 5553075"/>
                <a:gd name="connsiteY66" fmla="*/ 58430 h 2634942"/>
                <a:gd name="connsiteX67" fmla="*/ 2419350 w 5553075"/>
                <a:gd name="connsiteY67" fmla="*/ 106055 h 2634942"/>
                <a:gd name="connsiteX68" fmla="*/ 2462213 w 5553075"/>
                <a:gd name="connsiteY68" fmla="*/ 91767 h 2634942"/>
                <a:gd name="connsiteX69" fmla="*/ 2524125 w 5553075"/>
                <a:gd name="connsiteY69" fmla="*/ 96530 h 2634942"/>
                <a:gd name="connsiteX70" fmla="*/ 2543175 w 5553075"/>
                <a:gd name="connsiteY70" fmla="*/ 72717 h 2634942"/>
                <a:gd name="connsiteX71" fmla="*/ 2609850 w 5553075"/>
                <a:gd name="connsiteY71" fmla="*/ 106055 h 2634942"/>
                <a:gd name="connsiteX72" fmla="*/ 2692400 w 5553075"/>
                <a:gd name="connsiteY72" fmla="*/ 79067 h 2634942"/>
                <a:gd name="connsiteX73" fmla="*/ 2700338 w 5553075"/>
                <a:gd name="connsiteY73" fmla="*/ 53667 h 2634942"/>
                <a:gd name="connsiteX74" fmla="*/ 2724150 w 5553075"/>
                <a:gd name="connsiteY74" fmla="*/ 87005 h 2634942"/>
                <a:gd name="connsiteX75" fmla="*/ 2814638 w 5553075"/>
                <a:gd name="connsiteY75" fmla="*/ 72717 h 2634942"/>
                <a:gd name="connsiteX76" fmla="*/ 2836863 w 5553075"/>
                <a:gd name="connsiteY76" fmla="*/ 136217 h 2634942"/>
                <a:gd name="connsiteX77" fmla="*/ 2828925 w 5553075"/>
                <a:gd name="connsiteY77" fmla="*/ 177492 h 2634942"/>
                <a:gd name="connsiteX78" fmla="*/ 2895600 w 5553075"/>
                <a:gd name="connsiteY78" fmla="*/ 153680 h 2634942"/>
                <a:gd name="connsiteX79" fmla="*/ 2895600 w 5553075"/>
                <a:gd name="connsiteY79" fmla="*/ 196542 h 2634942"/>
                <a:gd name="connsiteX80" fmla="*/ 2933700 w 5553075"/>
                <a:gd name="connsiteY80" fmla="*/ 239405 h 2634942"/>
                <a:gd name="connsiteX81" fmla="*/ 2933700 w 5553075"/>
                <a:gd name="connsiteY81" fmla="*/ 196542 h 2634942"/>
                <a:gd name="connsiteX82" fmla="*/ 2986088 w 5553075"/>
                <a:gd name="connsiteY82" fmla="*/ 225117 h 2634942"/>
                <a:gd name="connsiteX83" fmla="*/ 3000375 w 5553075"/>
                <a:gd name="connsiteY83" fmla="*/ 248930 h 2634942"/>
                <a:gd name="connsiteX84" fmla="*/ 3057525 w 5553075"/>
                <a:gd name="connsiteY84" fmla="*/ 296555 h 2634942"/>
                <a:gd name="connsiteX85" fmla="*/ 3086100 w 5553075"/>
                <a:gd name="connsiteY85" fmla="*/ 304492 h 2634942"/>
                <a:gd name="connsiteX86" fmla="*/ 3138488 w 5553075"/>
                <a:gd name="connsiteY86" fmla="*/ 372755 h 2634942"/>
                <a:gd name="connsiteX87" fmla="*/ 3190875 w 5553075"/>
                <a:gd name="connsiteY87" fmla="*/ 425142 h 2634942"/>
                <a:gd name="connsiteX88" fmla="*/ 3214688 w 5553075"/>
                <a:gd name="connsiteY88" fmla="*/ 468005 h 2634942"/>
                <a:gd name="connsiteX89" fmla="*/ 3257550 w 5553075"/>
                <a:gd name="connsiteY89" fmla="*/ 472767 h 2634942"/>
                <a:gd name="connsiteX90" fmla="*/ 3319463 w 5553075"/>
                <a:gd name="connsiteY90" fmla="*/ 529917 h 2634942"/>
                <a:gd name="connsiteX91" fmla="*/ 3281363 w 5553075"/>
                <a:gd name="connsiteY91" fmla="*/ 547380 h 2634942"/>
                <a:gd name="connsiteX92" fmla="*/ 3281363 w 5553075"/>
                <a:gd name="connsiteY92" fmla="*/ 568017 h 2634942"/>
                <a:gd name="connsiteX93" fmla="*/ 3319463 w 5553075"/>
                <a:gd name="connsiteY93" fmla="*/ 582305 h 2634942"/>
                <a:gd name="connsiteX94" fmla="*/ 3286125 w 5553075"/>
                <a:gd name="connsiteY94" fmla="*/ 634692 h 2634942"/>
                <a:gd name="connsiteX95" fmla="*/ 3352800 w 5553075"/>
                <a:gd name="connsiteY95" fmla="*/ 629930 h 2634942"/>
                <a:gd name="connsiteX96" fmla="*/ 3381375 w 5553075"/>
                <a:gd name="connsiteY96" fmla="*/ 668030 h 2634942"/>
                <a:gd name="connsiteX97" fmla="*/ 3419475 w 5553075"/>
                <a:gd name="connsiteY97" fmla="*/ 687080 h 2634942"/>
                <a:gd name="connsiteX98" fmla="*/ 3429000 w 5553075"/>
                <a:gd name="connsiteY98" fmla="*/ 715655 h 2634942"/>
                <a:gd name="connsiteX99" fmla="*/ 3429000 w 5553075"/>
                <a:gd name="connsiteY99" fmla="*/ 739467 h 2634942"/>
                <a:gd name="connsiteX100" fmla="*/ 3457575 w 5553075"/>
                <a:gd name="connsiteY100" fmla="*/ 806142 h 2634942"/>
                <a:gd name="connsiteX101" fmla="*/ 3514725 w 5553075"/>
                <a:gd name="connsiteY101" fmla="*/ 763280 h 2634942"/>
                <a:gd name="connsiteX102" fmla="*/ 3557588 w 5553075"/>
                <a:gd name="connsiteY102" fmla="*/ 753755 h 2634942"/>
                <a:gd name="connsiteX103" fmla="*/ 3595688 w 5553075"/>
                <a:gd name="connsiteY103" fmla="*/ 739467 h 2634942"/>
                <a:gd name="connsiteX104" fmla="*/ 3629025 w 5553075"/>
                <a:gd name="connsiteY104" fmla="*/ 701367 h 2634942"/>
                <a:gd name="connsiteX105" fmla="*/ 3648075 w 5553075"/>
                <a:gd name="connsiteY105" fmla="*/ 720417 h 2634942"/>
                <a:gd name="connsiteX106" fmla="*/ 3638550 w 5553075"/>
                <a:gd name="connsiteY106" fmla="*/ 758517 h 2634942"/>
                <a:gd name="connsiteX107" fmla="*/ 3657600 w 5553075"/>
                <a:gd name="connsiteY107" fmla="*/ 806142 h 2634942"/>
                <a:gd name="connsiteX108" fmla="*/ 3705225 w 5553075"/>
                <a:gd name="connsiteY108" fmla="*/ 806142 h 2634942"/>
                <a:gd name="connsiteX109" fmla="*/ 3771900 w 5553075"/>
                <a:gd name="connsiteY109" fmla="*/ 791855 h 2634942"/>
                <a:gd name="connsiteX110" fmla="*/ 3824288 w 5553075"/>
                <a:gd name="connsiteY110" fmla="*/ 768042 h 2634942"/>
                <a:gd name="connsiteX111" fmla="*/ 3814763 w 5553075"/>
                <a:gd name="connsiteY111" fmla="*/ 768042 h 2634942"/>
                <a:gd name="connsiteX112" fmla="*/ 3876675 w 5553075"/>
                <a:gd name="connsiteY112" fmla="*/ 777567 h 2634942"/>
                <a:gd name="connsiteX113" fmla="*/ 3929063 w 5553075"/>
                <a:gd name="connsiteY113" fmla="*/ 758517 h 2634942"/>
                <a:gd name="connsiteX114" fmla="*/ 3905250 w 5553075"/>
                <a:gd name="connsiteY114" fmla="*/ 806142 h 2634942"/>
                <a:gd name="connsiteX115" fmla="*/ 3914775 w 5553075"/>
                <a:gd name="connsiteY115" fmla="*/ 839480 h 2634942"/>
                <a:gd name="connsiteX116" fmla="*/ 3957638 w 5553075"/>
                <a:gd name="connsiteY116" fmla="*/ 806142 h 2634942"/>
                <a:gd name="connsiteX117" fmla="*/ 3986213 w 5553075"/>
                <a:gd name="connsiteY117" fmla="*/ 849005 h 2634942"/>
                <a:gd name="connsiteX118" fmla="*/ 4078288 w 5553075"/>
                <a:gd name="connsiteY118" fmla="*/ 896630 h 2634942"/>
                <a:gd name="connsiteX119" fmla="*/ 4071938 w 5553075"/>
                <a:gd name="connsiteY119" fmla="*/ 963305 h 2634942"/>
                <a:gd name="connsiteX120" fmla="*/ 4116388 w 5553075"/>
                <a:gd name="connsiteY120" fmla="*/ 1026805 h 2634942"/>
                <a:gd name="connsiteX121" fmla="*/ 4144963 w 5553075"/>
                <a:gd name="connsiteY121" fmla="*/ 1069667 h 2634942"/>
                <a:gd name="connsiteX122" fmla="*/ 4137025 w 5553075"/>
                <a:gd name="connsiteY122" fmla="*/ 1098242 h 2634942"/>
                <a:gd name="connsiteX123" fmla="*/ 4157663 w 5553075"/>
                <a:gd name="connsiteY123" fmla="*/ 1125230 h 2634942"/>
                <a:gd name="connsiteX124" fmla="*/ 4162425 w 5553075"/>
                <a:gd name="connsiteY124" fmla="*/ 1201430 h 2634942"/>
                <a:gd name="connsiteX125" fmla="*/ 4195763 w 5553075"/>
                <a:gd name="connsiteY125" fmla="*/ 1230005 h 2634942"/>
                <a:gd name="connsiteX126" fmla="*/ 4176713 w 5553075"/>
                <a:gd name="connsiteY126" fmla="*/ 1263342 h 2634942"/>
                <a:gd name="connsiteX127" fmla="*/ 4191000 w 5553075"/>
                <a:gd name="connsiteY127" fmla="*/ 1287155 h 2634942"/>
                <a:gd name="connsiteX128" fmla="*/ 4286250 w 5553075"/>
                <a:gd name="connsiteY128" fmla="*/ 1357005 h 2634942"/>
                <a:gd name="connsiteX129" fmla="*/ 4275138 w 5553075"/>
                <a:gd name="connsiteY129" fmla="*/ 1396692 h 2634942"/>
                <a:gd name="connsiteX130" fmla="*/ 4229100 w 5553075"/>
                <a:gd name="connsiteY130" fmla="*/ 1396692 h 2634942"/>
                <a:gd name="connsiteX131" fmla="*/ 4271963 w 5553075"/>
                <a:gd name="connsiteY131" fmla="*/ 1482417 h 2634942"/>
                <a:gd name="connsiteX132" fmla="*/ 4329113 w 5553075"/>
                <a:gd name="connsiteY132" fmla="*/ 1471305 h 2634942"/>
                <a:gd name="connsiteX133" fmla="*/ 4384675 w 5553075"/>
                <a:gd name="connsiteY133" fmla="*/ 1501467 h 2634942"/>
                <a:gd name="connsiteX134" fmla="*/ 4445000 w 5553075"/>
                <a:gd name="connsiteY134" fmla="*/ 1536392 h 2634942"/>
                <a:gd name="connsiteX135" fmla="*/ 4438650 w 5553075"/>
                <a:gd name="connsiteY135" fmla="*/ 1563380 h 2634942"/>
                <a:gd name="connsiteX136" fmla="*/ 4432300 w 5553075"/>
                <a:gd name="connsiteY136" fmla="*/ 1633230 h 2634942"/>
                <a:gd name="connsiteX137" fmla="*/ 4500563 w 5553075"/>
                <a:gd name="connsiteY137" fmla="*/ 1672917 h 2634942"/>
                <a:gd name="connsiteX138" fmla="*/ 4565650 w 5553075"/>
                <a:gd name="connsiteY138" fmla="*/ 1653867 h 2634942"/>
                <a:gd name="connsiteX139" fmla="*/ 4605338 w 5553075"/>
                <a:gd name="connsiteY139" fmla="*/ 1639580 h 2634942"/>
                <a:gd name="connsiteX140" fmla="*/ 4619625 w 5553075"/>
                <a:gd name="connsiteY140" fmla="*/ 1687205 h 2634942"/>
                <a:gd name="connsiteX141" fmla="*/ 4657725 w 5553075"/>
                <a:gd name="connsiteY141" fmla="*/ 1711017 h 2634942"/>
                <a:gd name="connsiteX142" fmla="*/ 4629150 w 5553075"/>
                <a:gd name="connsiteY142" fmla="*/ 1758642 h 2634942"/>
                <a:gd name="connsiteX143" fmla="*/ 4652963 w 5553075"/>
                <a:gd name="connsiteY143" fmla="*/ 1815792 h 2634942"/>
                <a:gd name="connsiteX144" fmla="*/ 4681538 w 5553075"/>
                <a:gd name="connsiteY144" fmla="*/ 1849130 h 2634942"/>
                <a:gd name="connsiteX145" fmla="*/ 4767263 w 5553075"/>
                <a:gd name="connsiteY145" fmla="*/ 1891992 h 2634942"/>
                <a:gd name="connsiteX146" fmla="*/ 4776788 w 5553075"/>
                <a:gd name="connsiteY146" fmla="*/ 1968192 h 2634942"/>
                <a:gd name="connsiteX147" fmla="*/ 4705350 w 5553075"/>
                <a:gd name="connsiteY147" fmla="*/ 1939617 h 2634942"/>
                <a:gd name="connsiteX148" fmla="*/ 4695825 w 5553075"/>
                <a:gd name="connsiteY148" fmla="*/ 1972955 h 2634942"/>
                <a:gd name="connsiteX149" fmla="*/ 4743450 w 5553075"/>
                <a:gd name="connsiteY149" fmla="*/ 2015817 h 2634942"/>
                <a:gd name="connsiteX150" fmla="*/ 4776788 w 5553075"/>
                <a:gd name="connsiteY150" fmla="*/ 2034867 h 2634942"/>
                <a:gd name="connsiteX151" fmla="*/ 4810125 w 5553075"/>
                <a:gd name="connsiteY151" fmla="*/ 2011055 h 2634942"/>
                <a:gd name="connsiteX152" fmla="*/ 4843463 w 5553075"/>
                <a:gd name="connsiteY152" fmla="*/ 2025342 h 2634942"/>
                <a:gd name="connsiteX153" fmla="*/ 4838700 w 5553075"/>
                <a:gd name="connsiteY153" fmla="*/ 2096780 h 2634942"/>
                <a:gd name="connsiteX154" fmla="*/ 4972050 w 5553075"/>
                <a:gd name="connsiteY154" fmla="*/ 2192030 h 2634942"/>
                <a:gd name="connsiteX155" fmla="*/ 4995863 w 5553075"/>
                <a:gd name="connsiteY155" fmla="*/ 2168217 h 2634942"/>
                <a:gd name="connsiteX156" fmla="*/ 5081588 w 5553075"/>
                <a:gd name="connsiteY156" fmla="*/ 2187267 h 2634942"/>
                <a:gd name="connsiteX157" fmla="*/ 5124450 w 5553075"/>
                <a:gd name="connsiteY157" fmla="*/ 2253942 h 2634942"/>
                <a:gd name="connsiteX158" fmla="*/ 5248275 w 5553075"/>
                <a:gd name="connsiteY158" fmla="*/ 2296805 h 2634942"/>
                <a:gd name="connsiteX159" fmla="*/ 5281613 w 5553075"/>
                <a:gd name="connsiteY159" fmla="*/ 2363480 h 2634942"/>
                <a:gd name="connsiteX160" fmla="*/ 5276850 w 5553075"/>
                <a:gd name="connsiteY160" fmla="*/ 2444442 h 2634942"/>
                <a:gd name="connsiteX161" fmla="*/ 5353050 w 5553075"/>
                <a:gd name="connsiteY161" fmla="*/ 2515880 h 2634942"/>
                <a:gd name="connsiteX162" fmla="*/ 5438775 w 5553075"/>
                <a:gd name="connsiteY162" fmla="*/ 2534930 h 2634942"/>
                <a:gd name="connsiteX163" fmla="*/ 5486400 w 5553075"/>
                <a:gd name="connsiteY163" fmla="*/ 2596842 h 2634942"/>
                <a:gd name="connsiteX164" fmla="*/ 5553075 w 5553075"/>
                <a:gd name="connsiteY164" fmla="*/ 2634942 h 2634942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57163 w 5553075"/>
                <a:gd name="connsiteY6" fmla="*/ 605231 h 2634056"/>
                <a:gd name="connsiteX7" fmla="*/ 176213 w 5553075"/>
                <a:gd name="connsiteY7" fmla="*/ 567131 h 2634056"/>
                <a:gd name="connsiteX8" fmla="*/ 214313 w 5553075"/>
                <a:gd name="connsiteY8" fmla="*/ 533794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795338 w 5553075"/>
                <a:gd name="connsiteY26" fmla="*/ 233756 h 2634056"/>
                <a:gd name="connsiteX27" fmla="*/ 814388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43050 w 5553075"/>
                <a:gd name="connsiteY43" fmla="*/ 157556 h 2634056"/>
                <a:gd name="connsiteX44" fmla="*/ 1624013 w 5553075"/>
                <a:gd name="connsiteY44" fmla="*/ 176606 h 2634056"/>
                <a:gd name="connsiteX45" fmla="*/ 1724025 w 5553075"/>
                <a:gd name="connsiteY45" fmla="*/ 133744 h 2634056"/>
                <a:gd name="connsiteX46" fmla="*/ 1776413 w 5553075"/>
                <a:gd name="connsiteY46" fmla="*/ 152794 h 2634056"/>
                <a:gd name="connsiteX47" fmla="*/ 1824038 w 5553075"/>
                <a:gd name="connsiteY47" fmla="*/ 124219 h 2634056"/>
                <a:gd name="connsiteX48" fmla="*/ 1795463 w 5553075"/>
                <a:gd name="connsiteY48" fmla="*/ 71831 h 2634056"/>
                <a:gd name="connsiteX49" fmla="*/ 1819275 w 5553075"/>
                <a:gd name="connsiteY49" fmla="*/ 28969 h 2634056"/>
                <a:gd name="connsiteX50" fmla="*/ 1881188 w 5553075"/>
                <a:gd name="connsiteY50" fmla="*/ 71831 h 2634056"/>
                <a:gd name="connsiteX51" fmla="*/ 1919288 w 5553075"/>
                <a:gd name="connsiteY51" fmla="*/ 86119 h 2634056"/>
                <a:gd name="connsiteX52" fmla="*/ 1949450 w 5553075"/>
                <a:gd name="connsiteY52" fmla="*/ 62306 h 2634056"/>
                <a:gd name="connsiteX53" fmla="*/ 1952625 w 5553075"/>
                <a:gd name="connsiteY53" fmla="*/ 394 h 2634056"/>
                <a:gd name="connsiteX54" fmla="*/ 2000250 w 5553075"/>
                <a:gd name="connsiteY54" fmla="*/ 38494 h 2634056"/>
                <a:gd name="connsiteX55" fmla="*/ 2019300 w 5553075"/>
                <a:gd name="connsiteY55" fmla="*/ 90881 h 2634056"/>
                <a:gd name="connsiteX56" fmla="*/ 2057400 w 5553075"/>
                <a:gd name="connsiteY56" fmla="*/ 57544 h 2634056"/>
                <a:gd name="connsiteX57" fmla="*/ 2081213 w 5553075"/>
                <a:gd name="connsiteY57" fmla="*/ 81356 h 2634056"/>
                <a:gd name="connsiteX58" fmla="*/ 2109788 w 5553075"/>
                <a:gd name="connsiteY58" fmla="*/ 48019 h 2634056"/>
                <a:gd name="connsiteX59" fmla="*/ 2138363 w 5553075"/>
                <a:gd name="connsiteY59" fmla="*/ 76594 h 2634056"/>
                <a:gd name="connsiteX60" fmla="*/ 2181225 w 5553075"/>
                <a:gd name="connsiteY60" fmla="*/ 81356 h 2634056"/>
                <a:gd name="connsiteX61" fmla="*/ 2195513 w 5553075"/>
                <a:gd name="connsiteY61" fmla="*/ 57544 h 2634056"/>
                <a:gd name="connsiteX62" fmla="*/ 2219325 w 5553075"/>
                <a:gd name="connsiteY62" fmla="*/ 86119 h 2634056"/>
                <a:gd name="connsiteX63" fmla="*/ 2252663 w 5553075"/>
                <a:gd name="connsiteY63" fmla="*/ 52781 h 2634056"/>
                <a:gd name="connsiteX64" fmla="*/ 2286000 w 5553075"/>
                <a:gd name="connsiteY64" fmla="*/ 100406 h 2634056"/>
                <a:gd name="connsiteX65" fmla="*/ 2333625 w 5553075"/>
                <a:gd name="connsiteY65" fmla="*/ 62306 h 2634056"/>
                <a:gd name="connsiteX66" fmla="*/ 2393950 w 5553075"/>
                <a:gd name="connsiteY66" fmla="*/ 65481 h 2634056"/>
                <a:gd name="connsiteX67" fmla="*/ 2419350 w 5553075"/>
                <a:gd name="connsiteY67" fmla="*/ 57544 h 2634056"/>
                <a:gd name="connsiteX68" fmla="*/ 2419350 w 5553075"/>
                <a:gd name="connsiteY68" fmla="*/ 105169 h 2634056"/>
                <a:gd name="connsiteX69" fmla="*/ 2462213 w 5553075"/>
                <a:gd name="connsiteY69" fmla="*/ 90881 h 2634056"/>
                <a:gd name="connsiteX70" fmla="*/ 2524125 w 5553075"/>
                <a:gd name="connsiteY70" fmla="*/ 95644 h 2634056"/>
                <a:gd name="connsiteX71" fmla="*/ 2543175 w 5553075"/>
                <a:gd name="connsiteY71" fmla="*/ 71831 h 2634056"/>
                <a:gd name="connsiteX72" fmla="*/ 2609850 w 5553075"/>
                <a:gd name="connsiteY72" fmla="*/ 105169 h 2634056"/>
                <a:gd name="connsiteX73" fmla="*/ 2692400 w 5553075"/>
                <a:gd name="connsiteY73" fmla="*/ 78181 h 2634056"/>
                <a:gd name="connsiteX74" fmla="*/ 2700338 w 5553075"/>
                <a:gd name="connsiteY74" fmla="*/ 52781 h 2634056"/>
                <a:gd name="connsiteX75" fmla="*/ 2724150 w 5553075"/>
                <a:gd name="connsiteY75" fmla="*/ 86119 h 2634056"/>
                <a:gd name="connsiteX76" fmla="*/ 2814638 w 5553075"/>
                <a:gd name="connsiteY76" fmla="*/ 71831 h 2634056"/>
                <a:gd name="connsiteX77" fmla="*/ 2836863 w 5553075"/>
                <a:gd name="connsiteY77" fmla="*/ 135331 h 2634056"/>
                <a:gd name="connsiteX78" fmla="*/ 2828925 w 5553075"/>
                <a:gd name="connsiteY78" fmla="*/ 176606 h 2634056"/>
                <a:gd name="connsiteX79" fmla="*/ 2895600 w 5553075"/>
                <a:gd name="connsiteY79" fmla="*/ 152794 h 2634056"/>
                <a:gd name="connsiteX80" fmla="*/ 2895600 w 5553075"/>
                <a:gd name="connsiteY80" fmla="*/ 195656 h 2634056"/>
                <a:gd name="connsiteX81" fmla="*/ 2933700 w 5553075"/>
                <a:gd name="connsiteY81" fmla="*/ 238519 h 2634056"/>
                <a:gd name="connsiteX82" fmla="*/ 2933700 w 5553075"/>
                <a:gd name="connsiteY82" fmla="*/ 195656 h 2634056"/>
                <a:gd name="connsiteX83" fmla="*/ 2986088 w 5553075"/>
                <a:gd name="connsiteY83" fmla="*/ 224231 h 2634056"/>
                <a:gd name="connsiteX84" fmla="*/ 3000375 w 5553075"/>
                <a:gd name="connsiteY84" fmla="*/ 248044 h 2634056"/>
                <a:gd name="connsiteX85" fmla="*/ 3057525 w 5553075"/>
                <a:gd name="connsiteY85" fmla="*/ 295669 h 2634056"/>
                <a:gd name="connsiteX86" fmla="*/ 3086100 w 5553075"/>
                <a:gd name="connsiteY86" fmla="*/ 303606 h 2634056"/>
                <a:gd name="connsiteX87" fmla="*/ 3138488 w 5553075"/>
                <a:gd name="connsiteY87" fmla="*/ 371869 h 2634056"/>
                <a:gd name="connsiteX88" fmla="*/ 3190875 w 5553075"/>
                <a:gd name="connsiteY88" fmla="*/ 424256 h 2634056"/>
                <a:gd name="connsiteX89" fmla="*/ 3214688 w 5553075"/>
                <a:gd name="connsiteY89" fmla="*/ 467119 h 2634056"/>
                <a:gd name="connsiteX90" fmla="*/ 3257550 w 5553075"/>
                <a:gd name="connsiteY90" fmla="*/ 471881 h 2634056"/>
                <a:gd name="connsiteX91" fmla="*/ 3319463 w 5553075"/>
                <a:gd name="connsiteY91" fmla="*/ 529031 h 2634056"/>
                <a:gd name="connsiteX92" fmla="*/ 3281363 w 5553075"/>
                <a:gd name="connsiteY92" fmla="*/ 546494 h 2634056"/>
                <a:gd name="connsiteX93" fmla="*/ 3281363 w 5553075"/>
                <a:gd name="connsiteY93" fmla="*/ 567131 h 2634056"/>
                <a:gd name="connsiteX94" fmla="*/ 3319463 w 5553075"/>
                <a:gd name="connsiteY94" fmla="*/ 581419 h 2634056"/>
                <a:gd name="connsiteX95" fmla="*/ 3286125 w 5553075"/>
                <a:gd name="connsiteY95" fmla="*/ 633806 h 2634056"/>
                <a:gd name="connsiteX96" fmla="*/ 3352800 w 5553075"/>
                <a:gd name="connsiteY96" fmla="*/ 629044 h 2634056"/>
                <a:gd name="connsiteX97" fmla="*/ 3381375 w 5553075"/>
                <a:gd name="connsiteY97" fmla="*/ 667144 h 2634056"/>
                <a:gd name="connsiteX98" fmla="*/ 3419475 w 5553075"/>
                <a:gd name="connsiteY98" fmla="*/ 686194 h 2634056"/>
                <a:gd name="connsiteX99" fmla="*/ 3429000 w 5553075"/>
                <a:gd name="connsiteY99" fmla="*/ 714769 h 2634056"/>
                <a:gd name="connsiteX100" fmla="*/ 3429000 w 5553075"/>
                <a:gd name="connsiteY100" fmla="*/ 738581 h 2634056"/>
                <a:gd name="connsiteX101" fmla="*/ 3457575 w 5553075"/>
                <a:gd name="connsiteY101" fmla="*/ 805256 h 2634056"/>
                <a:gd name="connsiteX102" fmla="*/ 3514725 w 5553075"/>
                <a:gd name="connsiteY102" fmla="*/ 762394 h 2634056"/>
                <a:gd name="connsiteX103" fmla="*/ 3557588 w 5553075"/>
                <a:gd name="connsiteY103" fmla="*/ 752869 h 2634056"/>
                <a:gd name="connsiteX104" fmla="*/ 3595688 w 5553075"/>
                <a:gd name="connsiteY104" fmla="*/ 738581 h 2634056"/>
                <a:gd name="connsiteX105" fmla="*/ 3629025 w 5553075"/>
                <a:gd name="connsiteY105" fmla="*/ 700481 h 2634056"/>
                <a:gd name="connsiteX106" fmla="*/ 3648075 w 5553075"/>
                <a:gd name="connsiteY106" fmla="*/ 719531 h 2634056"/>
                <a:gd name="connsiteX107" fmla="*/ 3638550 w 5553075"/>
                <a:gd name="connsiteY107" fmla="*/ 757631 h 2634056"/>
                <a:gd name="connsiteX108" fmla="*/ 3657600 w 5553075"/>
                <a:gd name="connsiteY108" fmla="*/ 805256 h 2634056"/>
                <a:gd name="connsiteX109" fmla="*/ 3705225 w 5553075"/>
                <a:gd name="connsiteY109" fmla="*/ 805256 h 2634056"/>
                <a:gd name="connsiteX110" fmla="*/ 3771900 w 5553075"/>
                <a:gd name="connsiteY110" fmla="*/ 790969 h 2634056"/>
                <a:gd name="connsiteX111" fmla="*/ 3824288 w 5553075"/>
                <a:gd name="connsiteY111" fmla="*/ 767156 h 2634056"/>
                <a:gd name="connsiteX112" fmla="*/ 3814763 w 5553075"/>
                <a:gd name="connsiteY112" fmla="*/ 767156 h 2634056"/>
                <a:gd name="connsiteX113" fmla="*/ 3876675 w 5553075"/>
                <a:gd name="connsiteY113" fmla="*/ 776681 h 2634056"/>
                <a:gd name="connsiteX114" fmla="*/ 3929063 w 5553075"/>
                <a:gd name="connsiteY114" fmla="*/ 757631 h 2634056"/>
                <a:gd name="connsiteX115" fmla="*/ 3905250 w 5553075"/>
                <a:gd name="connsiteY115" fmla="*/ 805256 h 2634056"/>
                <a:gd name="connsiteX116" fmla="*/ 3914775 w 5553075"/>
                <a:gd name="connsiteY116" fmla="*/ 838594 h 2634056"/>
                <a:gd name="connsiteX117" fmla="*/ 3957638 w 5553075"/>
                <a:gd name="connsiteY117" fmla="*/ 805256 h 2634056"/>
                <a:gd name="connsiteX118" fmla="*/ 3986213 w 5553075"/>
                <a:gd name="connsiteY118" fmla="*/ 848119 h 2634056"/>
                <a:gd name="connsiteX119" fmla="*/ 4078288 w 5553075"/>
                <a:gd name="connsiteY119" fmla="*/ 895744 h 2634056"/>
                <a:gd name="connsiteX120" fmla="*/ 4071938 w 5553075"/>
                <a:gd name="connsiteY120" fmla="*/ 962419 h 2634056"/>
                <a:gd name="connsiteX121" fmla="*/ 4116388 w 5553075"/>
                <a:gd name="connsiteY121" fmla="*/ 1025919 h 2634056"/>
                <a:gd name="connsiteX122" fmla="*/ 4144963 w 5553075"/>
                <a:gd name="connsiteY122" fmla="*/ 1068781 h 2634056"/>
                <a:gd name="connsiteX123" fmla="*/ 4137025 w 5553075"/>
                <a:gd name="connsiteY123" fmla="*/ 1097356 h 2634056"/>
                <a:gd name="connsiteX124" fmla="*/ 4157663 w 5553075"/>
                <a:gd name="connsiteY124" fmla="*/ 1124344 h 2634056"/>
                <a:gd name="connsiteX125" fmla="*/ 4162425 w 5553075"/>
                <a:gd name="connsiteY125" fmla="*/ 1200544 h 2634056"/>
                <a:gd name="connsiteX126" fmla="*/ 4195763 w 5553075"/>
                <a:gd name="connsiteY126" fmla="*/ 1229119 h 2634056"/>
                <a:gd name="connsiteX127" fmla="*/ 4176713 w 5553075"/>
                <a:gd name="connsiteY127" fmla="*/ 1262456 h 2634056"/>
                <a:gd name="connsiteX128" fmla="*/ 4191000 w 5553075"/>
                <a:gd name="connsiteY128" fmla="*/ 1286269 h 2634056"/>
                <a:gd name="connsiteX129" fmla="*/ 4286250 w 5553075"/>
                <a:gd name="connsiteY129" fmla="*/ 1356119 h 2634056"/>
                <a:gd name="connsiteX130" fmla="*/ 4275138 w 5553075"/>
                <a:gd name="connsiteY130" fmla="*/ 1395806 h 2634056"/>
                <a:gd name="connsiteX131" fmla="*/ 4229100 w 5553075"/>
                <a:gd name="connsiteY131" fmla="*/ 1395806 h 2634056"/>
                <a:gd name="connsiteX132" fmla="*/ 4271963 w 5553075"/>
                <a:gd name="connsiteY132" fmla="*/ 1481531 h 2634056"/>
                <a:gd name="connsiteX133" fmla="*/ 4329113 w 5553075"/>
                <a:gd name="connsiteY133" fmla="*/ 1470419 h 2634056"/>
                <a:gd name="connsiteX134" fmla="*/ 4384675 w 5553075"/>
                <a:gd name="connsiteY134" fmla="*/ 1500581 h 2634056"/>
                <a:gd name="connsiteX135" fmla="*/ 4445000 w 5553075"/>
                <a:gd name="connsiteY135" fmla="*/ 1535506 h 2634056"/>
                <a:gd name="connsiteX136" fmla="*/ 4438650 w 5553075"/>
                <a:gd name="connsiteY136" fmla="*/ 1562494 h 2634056"/>
                <a:gd name="connsiteX137" fmla="*/ 4432300 w 5553075"/>
                <a:gd name="connsiteY137" fmla="*/ 1632344 h 2634056"/>
                <a:gd name="connsiteX138" fmla="*/ 4500563 w 5553075"/>
                <a:gd name="connsiteY138" fmla="*/ 1672031 h 2634056"/>
                <a:gd name="connsiteX139" fmla="*/ 4565650 w 5553075"/>
                <a:gd name="connsiteY139" fmla="*/ 1652981 h 2634056"/>
                <a:gd name="connsiteX140" fmla="*/ 4605338 w 5553075"/>
                <a:gd name="connsiteY140" fmla="*/ 1638694 h 2634056"/>
                <a:gd name="connsiteX141" fmla="*/ 4619625 w 5553075"/>
                <a:gd name="connsiteY141" fmla="*/ 1686319 h 2634056"/>
                <a:gd name="connsiteX142" fmla="*/ 4657725 w 5553075"/>
                <a:gd name="connsiteY142" fmla="*/ 1710131 h 2634056"/>
                <a:gd name="connsiteX143" fmla="*/ 4629150 w 5553075"/>
                <a:gd name="connsiteY143" fmla="*/ 1757756 h 2634056"/>
                <a:gd name="connsiteX144" fmla="*/ 4652963 w 5553075"/>
                <a:gd name="connsiteY144" fmla="*/ 1814906 h 2634056"/>
                <a:gd name="connsiteX145" fmla="*/ 4681538 w 5553075"/>
                <a:gd name="connsiteY145" fmla="*/ 1848244 h 2634056"/>
                <a:gd name="connsiteX146" fmla="*/ 4767263 w 5553075"/>
                <a:gd name="connsiteY146" fmla="*/ 1891106 h 2634056"/>
                <a:gd name="connsiteX147" fmla="*/ 4776788 w 5553075"/>
                <a:gd name="connsiteY147" fmla="*/ 1967306 h 2634056"/>
                <a:gd name="connsiteX148" fmla="*/ 4705350 w 5553075"/>
                <a:gd name="connsiteY148" fmla="*/ 1938731 h 2634056"/>
                <a:gd name="connsiteX149" fmla="*/ 4695825 w 5553075"/>
                <a:gd name="connsiteY149" fmla="*/ 1972069 h 2634056"/>
                <a:gd name="connsiteX150" fmla="*/ 4743450 w 5553075"/>
                <a:gd name="connsiteY150" fmla="*/ 2014931 h 2634056"/>
                <a:gd name="connsiteX151" fmla="*/ 4776788 w 5553075"/>
                <a:gd name="connsiteY151" fmla="*/ 2033981 h 2634056"/>
                <a:gd name="connsiteX152" fmla="*/ 4810125 w 5553075"/>
                <a:gd name="connsiteY152" fmla="*/ 2010169 h 2634056"/>
                <a:gd name="connsiteX153" fmla="*/ 4843463 w 5553075"/>
                <a:gd name="connsiteY153" fmla="*/ 2024456 h 2634056"/>
                <a:gd name="connsiteX154" fmla="*/ 4838700 w 5553075"/>
                <a:gd name="connsiteY154" fmla="*/ 2095894 h 2634056"/>
                <a:gd name="connsiteX155" fmla="*/ 4972050 w 5553075"/>
                <a:gd name="connsiteY155" fmla="*/ 2191144 h 2634056"/>
                <a:gd name="connsiteX156" fmla="*/ 4995863 w 5553075"/>
                <a:gd name="connsiteY156" fmla="*/ 2167331 h 2634056"/>
                <a:gd name="connsiteX157" fmla="*/ 5081588 w 5553075"/>
                <a:gd name="connsiteY157" fmla="*/ 2186381 h 2634056"/>
                <a:gd name="connsiteX158" fmla="*/ 5124450 w 5553075"/>
                <a:gd name="connsiteY158" fmla="*/ 2253056 h 2634056"/>
                <a:gd name="connsiteX159" fmla="*/ 5248275 w 5553075"/>
                <a:gd name="connsiteY159" fmla="*/ 2295919 h 2634056"/>
                <a:gd name="connsiteX160" fmla="*/ 5281613 w 5553075"/>
                <a:gd name="connsiteY160" fmla="*/ 2362594 h 2634056"/>
                <a:gd name="connsiteX161" fmla="*/ 5276850 w 5553075"/>
                <a:gd name="connsiteY161" fmla="*/ 2443556 h 2634056"/>
                <a:gd name="connsiteX162" fmla="*/ 5353050 w 5553075"/>
                <a:gd name="connsiteY162" fmla="*/ 2514994 h 2634056"/>
                <a:gd name="connsiteX163" fmla="*/ 5438775 w 5553075"/>
                <a:gd name="connsiteY163" fmla="*/ 2534044 h 2634056"/>
                <a:gd name="connsiteX164" fmla="*/ 5486400 w 5553075"/>
                <a:gd name="connsiteY164" fmla="*/ 2595956 h 2634056"/>
                <a:gd name="connsiteX165" fmla="*/ 5553075 w 5553075"/>
                <a:gd name="connsiteY165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57163 w 5553075"/>
                <a:gd name="connsiteY6" fmla="*/ 605231 h 2634056"/>
                <a:gd name="connsiteX7" fmla="*/ 176213 w 5553075"/>
                <a:gd name="connsiteY7" fmla="*/ 567131 h 2634056"/>
                <a:gd name="connsiteX8" fmla="*/ 214313 w 5553075"/>
                <a:gd name="connsiteY8" fmla="*/ 533794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795338 w 5553075"/>
                <a:gd name="connsiteY26" fmla="*/ 233756 h 2634056"/>
                <a:gd name="connsiteX27" fmla="*/ 814388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43050 w 5553075"/>
                <a:gd name="connsiteY43" fmla="*/ 157556 h 2634056"/>
                <a:gd name="connsiteX44" fmla="*/ 1649413 w 5553075"/>
                <a:gd name="connsiteY44" fmla="*/ 182956 h 2634056"/>
                <a:gd name="connsiteX45" fmla="*/ 1724025 w 5553075"/>
                <a:gd name="connsiteY45" fmla="*/ 133744 h 2634056"/>
                <a:gd name="connsiteX46" fmla="*/ 1776413 w 5553075"/>
                <a:gd name="connsiteY46" fmla="*/ 152794 h 2634056"/>
                <a:gd name="connsiteX47" fmla="*/ 1824038 w 5553075"/>
                <a:gd name="connsiteY47" fmla="*/ 124219 h 2634056"/>
                <a:gd name="connsiteX48" fmla="*/ 1795463 w 5553075"/>
                <a:gd name="connsiteY48" fmla="*/ 71831 h 2634056"/>
                <a:gd name="connsiteX49" fmla="*/ 1819275 w 5553075"/>
                <a:gd name="connsiteY49" fmla="*/ 28969 h 2634056"/>
                <a:gd name="connsiteX50" fmla="*/ 1881188 w 5553075"/>
                <a:gd name="connsiteY50" fmla="*/ 71831 h 2634056"/>
                <a:gd name="connsiteX51" fmla="*/ 1919288 w 5553075"/>
                <a:gd name="connsiteY51" fmla="*/ 86119 h 2634056"/>
                <a:gd name="connsiteX52" fmla="*/ 1949450 w 5553075"/>
                <a:gd name="connsiteY52" fmla="*/ 62306 h 2634056"/>
                <a:gd name="connsiteX53" fmla="*/ 1952625 w 5553075"/>
                <a:gd name="connsiteY53" fmla="*/ 394 h 2634056"/>
                <a:gd name="connsiteX54" fmla="*/ 2000250 w 5553075"/>
                <a:gd name="connsiteY54" fmla="*/ 38494 h 2634056"/>
                <a:gd name="connsiteX55" fmla="*/ 2019300 w 5553075"/>
                <a:gd name="connsiteY55" fmla="*/ 90881 h 2634056"/>
                <a:gd name="connsiteX56" fmla="*/ 2057400 w 5553075"/>
                <a:gd name="connsiteY56" fmla="*/ 57544 h 2634056"/>
                <a:gd name="connsiteX57" fmla="*/ 2081213 w 5553075"/>
                <a:gd name="connsiteY57" fmla="*/ 81356 h 2634056"/>
                <a:gd name="connsiteX58" fmla="*/ 2109788 w 5553075"/>
                <a:gd name="connsiteY58" fmla="*/ 48019 h 2634056"/>
                <a:gd name="connsiteX59" fmla="*/ 2138363 w 5553075"/>
                <a:gd name="connsiteY59" fmla="*/ 76594 h 2634056"/>
                <a:gd name="connsiteX60" fmla="*/ 2181225 w 5553075"/>
                <a:gd name="connsiteY60" fmla="*/ 81356 h 2634056"/>
                <a:gd name="connsiteX61" fmla="*/ 2195513 w 5553075"/>
                <a:gd name="connsiteY61" fmla="*/ 57544 h 2634056"/>
                <a:gd name="connsiteX62" fmla="*/ 2219325 w 5553075"/>
                <a:gd name="connsiteY62" fmla="*/ 86119 h 2634056"/>
                <a:gd name="connsiteX63" fmla="*/ 2252663 w 5553075"/>
                <a:gd name="connsiteY63" fmla="*/ 52781 h 2634056"/>
                <a:gd name="connsiteX64" fmla="*/ 2286000 w 5553075"/>
                <a:gd name="connsiteY64" fmla="*/ 100406 h 2634056"/>
                <a:gd name="connsiteX65" fmla="*/ 2333625 w 5553075"/>
                <a:gd name="connsiteY65" fmla="*/ 62306 h 2634056"/>
                <a:gd name="connsiteX66" fmla="*/ 2393950 w 5553075"/>
                <a:gd name="connsiteY66" fmla="*/ 65481 h 2634056"/>
                <a:gd name="connsiteX67" fmla="*/ 2419350 w 5553075"/>
                <a:gd name="connsiteY67" fmla="*/ 57544 h 2634056"/>
                <a:gd name="connsiteX68" fmla="*/ 2419350 w 5553075"/>
                <a:gd name="connsiteY68" fmla="*/ 105169 h 2634056"/>
                <a:gd name="connsiteX69" fmla="*/ 2462213 w 5553075"/>
                <a:gd name="connsiteY69" fmla="*/ 90881 h 2634056"/>
                <a:gd name="connsiteX70" fmla="*/ 2524125 w 5553075"/>
                <a:gd name="connsiteY70" fmla="*/ 95644 h 2634056"/>
                <a:gd name="connsiteX71" fmla="*/ 2543175 w 5553075"/>
                <a:gd name="connsiteY71" fmla="*/ 71831 h 2634056"/>
                <a:gd name="connsiteX72" fmla="*/ 2609850 w 5553075"/>
                <a:gd name="connsiteY72" fmla="*/ 105169 h 2634056"/>
                <a:gd name="connsiteX73" fmla="*/ 2692400 w 5553075"/>
                <a:gd name="connsiteY73" fmla="*/ 78181 h 2634056"/>
                <a:gd name="connsiteX74" fmla="*/ 2700338 w 5553075"/>
                <a:gd name="connsiteY74" fmla="*/ 52781 h 2634056"/>
                <a:gd name="connsiteX75" fmla="*/ 2724150 w 5553075"/>
                <a:gd name="connsiteY75" fmla="*/ 86119 h 2634056"/>
                <a:gd name="connsiteX76" fmla="*/ 2814638 w 5553075"/>
                <a:gd name="connsiteY76" fmla="*/ 71831 h 2634056"/>
                <a:gd name="connsiteX77" fmla="*/ 2836863 w 5553075"/>
                <a:gd name="connsiteY77" fmla="*/ 135331 h 2634056"/>
                <a:gd name="connsiteX78" fmla="*/ 2828925 w 5553075"/>
                <a:gd name="connsiteY78" fmla="*/ 176606 h 2634056"/>
                <a:gd name="connsiteX79" fmla="*/ 2895600 w 5553075"/>
                <a:gd name="connsiteY79" fmla="*/ 152794 h 2634056"/>
                <a:gd name="connsiteX80" fmla="*/ 2895600 w 5553075"/>
                <a:gd name="connsiteY80" fmla="*/ 195656 h 2634056"/>
                <a:gd name="connsiteX81" fmla="*/ 2933700 w 5553075"/>
                <a:gd name="connsiteY81" fmla="*/ 238519 h 2634056"/>
                <a:gd name="connsiteX82" fmla="*/ 2933700 w 5553075"/>
                <a:gd name="connsiteY82" fmla="*/ 195656 h 2634056"/>
                <a:gd name="connsiteX83" fmla="*/ 2986088 w 5553075"/>
                <a:gd name="connsiteY83" fmla="*/ 224231 h 2634056"/>
                <a:gd name="connsiteX84" fmla="*/ 3000375 w 5553075"/>
                <a:gd name="connsiteY84" fmla="*/ 248044 h 2634056"/>
                <a:gd name="connsiteX85" fmla="*/ 3057525 w 5553075"/>
                <a:gd name="connsiteY85" fmla="*/ 295669 h 2634056"/>
                <a:gd name="connsiteX86" fmla="*/ 3086100 w 5553075"/>
                <a:gd name="connsiteY86" fmla="*/ 303606 h 2634056"/>
                <a:gd name="connsiteX87" fmla="*/ 3138488 w 5553075"/>
                <a:gd name="connsiteY87" fmla="*/ 371869 h 2634056"/>
                <a:gd name="connsiteX88" fmla="*/ 3190875 w 5553075"/>
                <a:gd name="connsiteY88" fmla="*/ 424256 h 2634056"/>
                <a:gd name="connsiteX89" fmla="*/ 3214688 w 5553075"/>
                <a:gd name="connsiteY89" fmla="*/ 467119 h 2634056"/>
                <a:gd name="connsiteX90" fmla="*/ 3257550 w 5553075"/>
                <a:gd name="connsiteY90" fmla="*/ 471881 h 2634056"/>
                <a:gd name="connsiteX91" fmla="*/ 3319463 w 5553075"/>
                <a:gd name="connsiteY91" fmla="*/ 529031 h 2634056"/>
                <a:gd name="connsiteX92" fmla="*/ 3281363 w 5553075"/>
                <a:gd name="connsiteY92" fmla="*/ 546494 h 2634056"/>
                <a:gd name="connsiteX93" fmla="*/ 3281363 w 5553075"/>
                <a:gd name="connsiteY93" fmla="*/ 567131 h 2634056"/>
                <a:gd name="connsiteX94" fmla="*/ 3319463 w 5553075"/>
                <a:gd name="connsiteY94" fmla="*/ 581419 h 2634056"/>
                <a:gd name="connsiteX95" fmla="*/ 3286125 w 5553075"/>
                <a:gd name="connsiteY95" fmla="*/ 633806 h 2634056"/>
                <a:gd name="connsiteX96" fmla="*/ 3352800 w 5553075"/>
                <a:gd name="connsiteY96" fmla="*/ 629044 h 2634056"/>
                <a:gd name="connsiteX97" fmla="*/ 3381375 w 5553075"/>
                <a:gd name="connsiteY97" fmla="*/ 667144 h 2634056"/>
                <a:gd name="connsiteX98" fmla="*/ 3419475 w 5553075"/>
                <a:gd name="connsiteY98" fmla="*/ 686194 h 2634056"/>
                <a:gd name="connsiteX99" fmla="*/ 3429000 w 5553075"/>
                <a:gd name="connsiteY99" fmla="*/ 714769 h 2634056"/>
                <a:gd name="connsiteX100" fmla="*/ 3429000 w 5553075"/>
                <a:gd name="connsiteY100" fmla="*/ 738581 h 2634056"/>
                <a:gd name="connsiteX101" fmla="*/ 3457575 w 5553075"/>
                <a:gd name="connsiteY101" fmla="*/ 805256 h 2634056"/>
                <a:gd name="connsiteX102" fmla="*/ 3514725 w 5553075"/>
                <a:gd name="connsiteY102" fmla="*/ 762394 h 2634056"/>
                <a:gd name="connsiteX103" fmla="*/ 3557588 w 5553075"/>
                <a:gd name="connsiteY103" fmla="*/ 752869 h 2634056"/>
                <a:gd name="connsiteX104" fmla="*/ 3595688 w 5553075"/>
                <a:gd name="connsiteY104" fmla="*/ 738581 h 2634056"/>
                <a:gd name="connsiteX105" fmla="*/ 3629025 w 5553075"/>
                <a:gd name="connsiteY105" fmla="*/ 700481 h 2634056"/>
                <a:gd name="connsiteX106" fmla="*/ 3648075 w 5553075"/>
                <a:gd name="connsiteY106" fmla="*/ 719531 h 2634056"/>
                <a:gd name="connsiteX107" fmla="*/ 3638550 w 5553075"/>
                <a:gd name="connsiteY107" fmla="*/ 757631 h 2634056"/>
                <a:gd name="connsiteX108" fmla="*/ 3657600 w 5553075"/>
                <a:gd name="connsiteY108" fmla="*/ 805256 h 2634056"/>
                <a:gd name="connsiteX109" fmla="*/ 3705225 w 5553075"/>
                <a:gd name="connsiteY109" fmla="*/ 805256 h 2634056"/>
                <a:gd name="connsiteX110" fmla="*/ 3771900 w 5553075"/>
                <a:gd name="connsiteY110" fmla="*/ 790969 h 2634056"/>
                <a:gd name="connsiteX111" fmla="*/ 3824288 w 5553075"/>
                <a:gd name="connsiteY111" fmla="*/ 767156 h 2634056"/>
                <a:gd name="connsiteX112" fmla="*/ 3814763 w 5553075"/>
                <a:gd name="connsiteY112" fmla="*/ 767156 h 2634056"/>
                <a:gd name="connsiteX113" fmla="*/ 3876675 w 5553075"/>
                <a:gd name="connsiteY113" fmla="*/ 776681 h 2634056"/>
                <a:gd name="connsiteX114" fmla="*/ 3929063 w 5553075"/>
                <a:gd name="connsiteY114" fmla="*/ 757631 h 2634056"/>
                <a:gd name="connsiteX115" fmla="*/ 3905250 w 5553075"/>
                <a:gd name="connsiteY115" fmla="*/ 805256 h 2634056"/>
                <a:gd name="connsiteX116" fmla="*/ 3914775 w 5553075"/>
                <a:gd name="connsiteY116" fmla="*/ 838594 h 2634056"/>
                <a:gd name="connsiteX117" fmla="*/ 3957638 w 5553075"/>
                <a:gd name="connsiteY117" fmla="*/ 805256 h 2634056"/>
                <a:gd name="connsiteX118" fmla="*/ 3986213 w 5553075"/>
                <a:gd name="connsiteY118" fmla="*/ 848119 h 2634056"/>
                <a:gd name="connsiteX119" fmla="*/ 4078288 w 5553075"/>
                <a:gd name="connsiteY119" fmla="*/ 895744 h 2634056"/>
                <a:gd name="connsiteX120" fmla="*/ 4071938 w 5553075"/>
                <a:gd name="connsiteY120" fmla="*/ 962419 h 2634056"/>
                <a:gd name="connsiteX121" fmla="*/ 4116388 w 5553075"/>
                <a:gd name="connsiteY121" fmla="*/ 1025919 h 2634056"/>
                <a:gd name="connsiteX122" fmla="*/ 4144963 w 5553075"/>
                <a:gd name="connsiteY122" fmla="*/ 1068781 h 2634056"/>
                <a:gd name="connsiteX123" fmla="*/ 4137025 w 5553075"/>
                <a:gd name="connsiteY123" fmla="*/ 1097356 h 2634056"/>
                <a:gd name="connsiteX124" fmla="*/ 4157663 w 5553075"/>
                <a:gd name="connsiteY124" fmla="*/ 1124344 h 2634056"/>
                <a:gd name="connsiteX125" fmla="*/ 4162425 w 5553075"/>
                <a:gd name="connsiteY125" fmla="*/ 1200544 h 2634056"/>
                <a:gd name="connsiteX126" fmla="*/ 4195763 w 5553075"/>
                <a:gd name="connsiteY126" fmla="*/ 1229119 h 2634056"/>
                <a:gd name="connsiteX127" fmla="*/ 4176713 w 5553075"/>
                <a:gd name="connsiteY127" fmla="*/ 1262456 h 2634056"/>
                <a:gd name="connsiteX128" fmla="*/ 4191000 w 5553075"/>
                <a:gd name="connsiteY128" fmla="*/ 1286269 h 2634056"/>
                <a:gd name="connsiteX129" fmla="*/ 4286250 w 5553075"/>
                <a:gd name="connsiteY129" fmla="*/ 1356119 h 2634056"/>
                <a:gd name="connsiteX130" fmla="*/ 4275138 w 5553075"/>
                <a:gd name="connsiteY130" fmla="*/ 1395806 h 2634056"/>
                <a:gd name="connsiteX131" fmla="*/ 4229100 w 5553075"/>
                <a:gd name="connsiteY131" fmla="*/ 1395806 h 2634056"/>
                <a:gd name="connsiteX132" fmla="*/ 4271963 w 5553075"/>
                <a:gd name="connsiteY132" fmla="*/ 1481531 h 2634056"/>
                <a:gd name="connsiteX133" fmla="*/ 4329113 w 5553075"/>
                <a:gd name="connsiteY133" fmla="*/ 1470419 h 2634056"/>
                <a:gd name="connsiteX134" fmla="*/ 4384675 w 5553075"/>
                <a:gd name="connsiteY134" fmla="*/ 1500581 h 2634056"/>
                <a:gd name="connsiteX135" fmla="*/ 4445000 w 5553075"/>
                <a:gd name="connsiteY135" fmla="*/ 1535506 h 2634056"/>
                <a:gd name="connsiteX136" fmla="*/ 4438650 w 5553075"/>
                <a:gd name="connsiteY136" fmla="*/ 1562494 h 2634056"/>
                <a:gd name="connsiteX137" fmla="*/ 4432300 w 5553075"/>
                <a:gd name="connsiteY137" fmla="*/ 1632344 h 2634056"/>
                <a:gd name="connsiteX138" fmla="*/ 4500563 w 5553075"/>
                <a:gd name="connsiteY138" fmla="*/ 1672031 h 2634056"/>
                <a:gd name="connsiteX139" fmla="*/ 4565650 w 5553075"/>
                <a:gd name="connsiteY139" fmla="*/ 1652981 h 2634056"/>
                <a:gd name="connsiteX140" fmla="*/ 4605338 w 5553075"/>
                <a:gd name="connsiteY140" fmla="*/ 1638694 h 2634056"/>
                <a:gd name="connsiteX141" fmla="*/ 4619625 w 5553075"/>
                <a:gd name="connsiteY141" fmla="*/ 1686319 h 2634056"/>
                <a:gd name="connsiteX142" fmla="*/ 4657725 w 5553075"/>
                <a:gd name="connsiteY142" fmla="*/ 1710131 h 2634056"/>
                <a:gd name="connsiteX143" fmla="*/ 4629150 w 5553075"/>
                <a:gd name="connsiteY143" fmla="*/ 1757756 h 2634056"/>
                <a:gd name="connsiteX144" fmla="*/ 4652963 w 5553075"/>
                <a:gd name="connsiteY144" fmla="*/ 1814906 h 2634056"/>
                <a:gd name="connsiteX145" fmla="*/ 4681538 w 5553075"/>
                <a:gd name="connsiteY145" fmla="*/ 1848244 h 2634056"/>
                <a:gd name="connsiteX146" fmla="*/ 4767263 w 5553075"/>
                <a:gd name="connsiteY146" fmla="*/ 1891106 h 2634056"/>
                <a:gd name="connsiteX147" fmla="*/ 4776788 w 5553075"/>
                <a:gd name="connsiteY147" fmla="*/ 1967306 h 2634056"/>
                <a:gd name="connsiteX148" fmla="*/ 4705350 w 5553075"/>
                <a:gd name="connsiteY148" fmla="*/ 1938731 h 2634056"/>
                <a:gd name="connsiteX149" fmla="*/ 4695825 w 5553075"/>
                <a:gd name="connsiteY149" fmla="*/ 1972069 h 2634056"/>
                <a:gd name="connsiteX150" fmla="*/ 4743450 w 5553075"/>
                <a:gd name="connsiteY150" fmla="*/ 2014931 h 2634056"/>
                <a:gd name="connsiteX151" fmla="*/ 4776788 w 5553075"/>
                <a:gd name="connsiteY151" fmla="*/ 2033981 h 2634056"/>
                <a:gd name="connsiteX152" fmla="*/ 4810125 w 5553075"/>
                <a:gd name="connsiteY152" fmla="*/ 2010169 h 2634056"/>
                <a:gd name="connsiteX153" fmla="*/ 4843463 w 5553075"/>
                <a:gd name="connsiteY153" fmla="*/ 2024456 h 2634056"/>
                <a:gd name="connsiteX154" fmla="*/ 4838700 w 5553075"/>
                <a:gd name="connsiteY154" fmla="*/ 2095894 h 2634056"/>
                <a:gd name="connsiteX155" fmla="*/ 4972050 w 5553075"/>
                <a:gd name="connsiteY155" fmla="*/ 2191144 h 2634056"/>
                <a:gd name="connsiteX156" fmla="*/ 4995863 w 5553075"/>
                <a:gd name="connsiteY156" fmla="*/ 2167331 h 2634056"/>
                <a:gd name="connsiteX157" fmla="*/ 5081588 w 5553075"/>
                <a:gd name="connsiteY157" fmla="*/ 2186381 h 2634056"/>
                <a:gd name="connsiteX158" fmla="*/ 5124450 w 5553075"/>
                <a:gd name="connsiteY158" fmla="*/ 2253056 h 2634056"/>
                <a:gd name="connsiteX159" fmla="*/ 5248275 w 5553075"/>
                <a:gd name="connsiteY159" fmla="*/ 2295919 h 2634056"/>
                <a:gd name="connsiteX160" fmla="*/ 5281613 w 5553075"/>
                <a:gd name="connsiteY160" fmla="*/ 2362594 h 2634056"/>
                <a:gd name="connsiteX161" fmla="*/ 5276850 w 5553075"/>
                <a:gd name="connsiteY161" fmla="*/ 2443556 h 2634056"/>
                <a:gd name="connsiteX162" fmla="*/ 5353050 w 5553075"/>
                <a:gd name="connsiteY162" fmla="*/ 2514994 h 2634056"/>
                <a:gd name="connsiteX163" fmla="*/ 5438775 w 5553075"/>
                <a:gd name="connsiteY163" fmla="*/ 2534044 h 2634056"/>
                <a:gd name="connsiteX164" fmla="*/ 5486400 w 5553075"/>
                <a:gd name="connsiteY164" fmla="*/ 2595956 h 2634056"/>
                <a:gd name="connsiteX165" fmla="*/ 5553075 w 5553075"/>
                <a:gd name="connsiteY165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57163 w 5553075"/>
                <a:gd name="connsiteY6" fmla="*/ 605231 h 2634056"/>
                <a:gd name="connsiteX7" fmla="*/ 176213 w 5553075"/>
                <a:gd name="connsiteY7" fmla="*/ 567131 h 2634056"/>
                <a:gd name="connsiteX8" fmla="*/ 214313 w 5553075"/>
                <a:gd name="connsiteY8" fmla="*/ 533794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795338 w 5553075"/>
                <a:gd name="connsiteY26" fmla="*/ 233756 h 2634056"/>
                <a:gd name="connsiteX27" fmla="*/ 814388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919288 w 5553075"/>
                <a:gd name="connsiteY52" fmla="*/ 86119 h 2634056"/>
                <a:gd name="connsiteX53" fmla="*/ 1949450 w 5553075"/>
                <a:gd name="connsiteY53" fmla="*/ 62306 h 2634056"/>
                <a:gd name="connsiteX54" fmla="*/ 1952625 w 5553075"/>
                <a:gd name="connsiteY54" fmla="*/ 394 h 2634056"/>
                <a:gd name="connsiteX55" fmla="*/ 2000250 w 5553075"/>
                <a:gd name="connsiteY55" fmla="*/ 38494 h 2634056"/>
                <a:gd name="connsiteX56" fmla="*/ 2019300 w 5553075"/>
                <a:gd name="connsiteY56" fmla="*/ 90881 h 2634056"/>
                <a:gd name="connsiteX57" fmla="*/ 2057400 w 5553075"/>
                <a:gd name="connsiteY57" fmla="*/ 57544 h 2634056"/>
                <a:gd name="connsiteX58" fmla="*/ 2081213 w 5553075"/>
                <a:gd name="connsiteY58" fmla="*/ 81356 h 2634056"/>
                <a:gd name="connsiteX59" fmla="*/ 2109788 w 5553075"/>
                <a:gd name="connsiteY59" fmla="*/ 48019 h 2634056"/>
                <a:gd name="connsiteX60" fmla="*/ 2138363 w 5553075"/>
                <a:gd name="connsiteY60" fmla="*/ 76594 h 2634056"/>
                <a:gd name="connsiteX61" fmla="*/ 2181225 w 5553075"/>
                <a:gd name="connsiteY61" fmla="*/ 81356 h 2634056"/>
                <a:gd name="connsiteX62" fmla="*/ 2195513 w 5553075"/>
                <a:gd name="connsiteY62" fmla="*/ 57544 h 2634056"/>
                <a:gd name="connsiteX63" fmla="*/ 2219325 w 5553075"/>
                <a:gd name="connsiteY63" fmla="*/ 86119 h 2634056"/>
                <a:gd name="connsiteX64" fmla="*/ 2252663 w 5553075"/>
                <a:gd name="connsiteY64" fmla="*/ 52781 h 2634056"/>
                <a:gd name="connsiteX65" fmla="*/ 2286000 w 5553075"/>
                <a:gd name="connsiteY65" fmla="*/ 100406 h 2634056"/>
                <a:gd name="connsiteX66" fmla="*/ 2333625 w 5553075"/>
                <a:gd name="connsiteY66" fmla="*/ 62306 h 2634056"/>
                <a:gd name="connsiteX67" fmla="*/ 2393950 w 5553075"/>
                <a:gd name="connsiteY67" fmla="*/ 65481 h 2634056"/>
                <a:gd name="connsiteX68" fmla="*/ 2419350 w 5553075"/>
                <a:gd name="connsiteY68" fmla="*/ 57544 h 2634056"/>
                <a:gd name="connsiteX69" fmla="*/ 2419350 w 5553075"/>
                <a:gd name="connsiteY69" fmla="*/ 105169 h 2634056"/>
                <a:gd name="connsiteX70" fmla="*/ 2462213 w 5553075"/>
                <a:gd name="connsiteY70" fmla="*/ 90881 h 2634056"/>
                <a:gd name="connsiteX71" fmla="*/ 2524125 w 5553075"/>
                <a:gd name="connsiteY71" fmla="*/ 95644 h 2634056"/>
                <a:gd name="connsiteX72" fmla="*/ 2543175 w 5553075"/>
                <a:gd name="connsiteY72" fmla="*/ 71831 h 2634056"/>
                <a:gd name="connsiteX73" fmla="*/ 2609850 w 5553075"/>
                <a:gd name="connsiteY73" fmla="*/ 105169 h 2634056"/>
                <a:gd name="connsiteX74" fmla="*/ 2692400 w 5553075"/>
                <a:gd name="connsiteY74" fmla="*/ 78181 h 2634056"/>
                <a:gd name="connsiteX75" fmla="*/ 2700338 w 5553075"/>
                <a:gd name="connsiteY75" fmla="*/ 52781 h 2634056"/>
                <a:gd name="connsiteX76" fmla="*/ 2724150 w 5553075"/>
                <a:gd name="connsiteY76" fmla="*/ 86119 h 2634056"/>
                <a:gd name="connsiteX77" fmla="*/ 2814638 w 5553075"/>
                <a:gd name="connsiteY77" fmla="*/ 71831 h 2634056"/>
                <a:gd name="connsiteX78" fmla="*/ 2836863 w 5553075"/>
                <a:gd name="connsiteY78" fmla="*/ 135331 h 2634056"/>
                <a:gd name="connsiteX79" fmla="*/ 2828925 w 5553075"/>
                <a:gd name="connsiteY79" fmla="*/ 176606 h 2634056"/>
                <a:gd name="connsiteX80" fmla="*/ 2895600 w 5553075"/>
                <a:gd name="connsiteY80" fmla="*/ 152794 h 2634056"/>
                <a:gd name="connsiteX81" fmla="*/ 2895600 w 5553075"/>
                <a:gd name="connsiteY81" fmla="*/ 195656 h 2634056"/>
                <a:gd name="connsiteX82" fmla="*/ 2933700 w 5553075"/>
                <a:gd name="connsiteY82" fmla="*/ 238519 h 2634056"/>
                <a:gd name="connsiteX83" fmla="*/ 2933700 w 5553075"/>
                <a:gd name="connsiteY83" fmla="*/ 195656 h 2634056"/>
                <a:gd name="connsiteX84" fmla="*/ 2986088 w 5553075"/>
                <a:gd name="connsiteY84" fmla="*/ 224231 h 2634056"/>
                <a:gd name="connsiteX85" fmla="*/ 3000375 w 5553075"/>
                <a:gd name="connsiteY85" fmla="*/ 248044 h 2634056"/>
                <a:gd name="connsiteX86" fmla="*/ 3057525 w 5553075"/>
                <a:gd name="connsiteY86" fmla="*/ 295669 h 2634056"/>
                <a:gd name="connsiteX87" fmla="*/ 3086100 w 5553075"/>
                <a:gd name="connsiteY87" fmla="*/ 303606 h 2634056"/>
                <a:gd name="connsiteX88" fmla="*/ 3138488 w 5553075"/>
                <a:gd name="connsiteY88" fmla="*/ 371869 h 2634056"/>
                <a:gd name="connsiteX89" fmla="*/ 3190875 w 5553075"/>
                <a:gd name="connsiteY89" fmla="*/ 424256 h 2634056"/>
                <a:gd name="connsiteX90" fmla="*/ 3214688 w 5553075"/>
                <a:gd name="connsiteY90" fmla="*/ 467119 h 2634056"/>
                <a:gd name="connsiteX91" fmla="*/ 3257550 w 5553075"/>
                <a:gd name="connsiteY91" fmla="*/ 471881 h 2634056"/>
                <a:gd name="connsiteX92" fmla="*/ 3319463 w 5553075"/>
                <a:gd name="connsiteY92" fmla="*/ 529031 h 2634056"/>
                <a:gd name="connsiteX93" fmla="*/ 3281363 w 5553075"/>
                <a:gd name="connsiteY93" fmla="*/ 546494 h 2634056"/>
                <a:gd name="connsiteX94" fmla="*/ 3281363 w 5553075"/>
                <a:gd name="connsiteY94" fmla="*/ 567131 h 2634056"/>
                <a:gd name="connsiteX95" fmla="*/ 3319463 w 5553075"/>
                <a:gd name="connsiteY95" fmla="*/ 581419 h 2634056"/>
                <a:gd name="connsiteX96" fmla="*/ 3286125 w 5553075"/>
                <a:gd name="connsiteY96" fmla="*/ 633806 h 2634056"/>
                <a:gd name="connsiteX97" fmla="*/ 3352800 w 5553075"/>
                <a:gd name="connsiteY97" fmla="*/ 629044 h 2634056"/>
                <a:gd name="connsiteX98" fmla="*/ 3381375 w 5553075"/>
                <a:gd name="connsiteY98" fmla="*/ 667144 h 2634056"/>
                <a:gd name="connsiteX99" fmla="*/ 3419475 w 5553075"/>
                <a:gd name="connsiteY99" fmla="*/ 686194 h 2634056"/>
                <a:gd name="connsiteX100" fmla="*/ 3429000 w 5553075"/>
                <a:gd name="connsiteY100" fmla="*/ 714769 h 2634056"/>
                <a:gd name="connsiteX101" fmla="*/ 3429000 w 5553075"/>
                <a:gd name="connsiteY101" fmla="*/ 738581 h 2634056"/>
                <a:gd name="connsiteX102" fmla="*/ 3457575 w 5553075"/>
                <a:gd name="connsiteY102" fmla="*/ 805256 h 2634056"/>
                <a:gd name="connsiteX103" fmla="*/ 3514725 w 5553075"/>
                <a:gd name="connsiteY103" fmla="*/ 762394 h 2634056"/>
                <a:gd name="connsiteX104" fmla="*/ 3557588 w 5553075"/>
                <a:gd name="connsiteY104" fmla="*/ 752869 h 2634056"/>
                <a:gd name="connsiteX105" fmla="*/ 3595688 w 5553075"/>
                <a:gd name="connsiteY105" fmla="*/ 738581 h 2634056"/>
                <a:gd name="connsiteX106" fmla="*/ 3629025 w 5553075"/>
                <a:gd name="connsiteY106" fmla="*/ 700481 h 2634056"/>
                <a:gd name="connsiteX107" fmla="*/ 3648075 w 5553075"/>
                <a:gd name="connsiteY107" fmla="*/ 719531 h 2634056"/>
                <a:gd name="connsiteX108" fmla="*/ 3638550 w 5553075"/>
                <a:gd name="connsiteY108" fmla="*/ 757631 h 2634056"/>
                <a:gd name="connsiteX109" fmla="*/ 3657600 w 5553075"/>
                <a:gd name="connsiteY109" fmla="*/ 805256 h 2634056"/>
                <a:gd name="connsiteX110" fmla="*/ 3705225 w 5553075"/>
                <a:gd name="connsiteY110" fmla="*/ 805256 h 2634056"/>
                <a:gd name="connsiteX111" fmla="*/ 3771900 w 5553075"/>
                <a:gd name="connsiteY111" fmla="*/ 790969 h 2634056"/>
                <a:gd name="connsiteX112" fmla="*/ 3824288 w 5553075"/>
                <a:gd name="connsiteY112" fmla="*/ 767156 h 2634056"/>
                <a:gd name="connsiteX113" fmla="*/ 3814763 w 5553075"/>
                <a:gd name="connsiteY113" fmla="*/ 767156 h 2634056"/>
                <a:gd name="connsiteX114" fmla="*/ 3876675 w 5553075"/>
                <a:gd name="connsiteY114" fmla="*/ 776681 h 2634056"/>
                <a:gd name="connsiteX115" fmla="*/ 3929063 w 5553075"/>
                <a:gd name="connsiteY115" fmla="*/ 757631 h 2634056"/>
                <a:gd name="connsiteX116" fmla="*/ 3905250 w 5553075"/>
                <a:gd name="connsiteY116" fmla="*/ 805256 h 2634056"/>
                <a:gd name="connsiteX117" fmla="*/ 3914775 w 5553075"/>
                <a:gd name="connsiteY117" fmla="*/ 838594 h 2634056"/>
                <a:gd name="connsiteX118" fmla="*/ 3957638 w 5553075"/>
                <a:gd name="connsiteY118" fmla="*/ 805256 h 2634056"/>
                <a:gd name="connsiteX119" fmla="*/ 3986213 w 5553075"/>
                <a:gd name="connsiteY119" fmla="*/ 848119 h 2634056"/>
                <a:gd name="connsiteX120" fmla="*/ 4078288 w 5553075"/>
                <a:gd name="connsiteY120" fmla="*/ 895744 h 2634056"/>
                <a:gd name="connsiteX121" fmla="*/ 4071938 w 5553075"/>
                <a:gd name="connsiteY121" fmla="*/ 962419 h 2634056"/>
                <a:gd name="connsiteX122" fmla="*/ 4116388 w 5553075"/>
                <a:gd name="connsiteY122" fmla="*/ 1025919 h 2634056"/>
                <a:gd name="connsiteX123" fmla="*/ 4144963 w 5553075"/>
                <a:gd name="connsiteY123" fmla="*/ 1068781 h 2634056"/>
                <a:gd name="connsiteX124" fmla="*/ 4137025 w 5553075"/>
                <a:gd name="connsiteY124" fmla="*/ 1097356 h 2634056"/>
                <a:gd name="connsiteX125" fmla="*/ 4157663 w 5553075"/>
                <a:gd name="connsiteY125" fmla="*/ 1124344 h 2634056"/>
                <a:gd name="connsiteX126" fmla="*/ 4162425 w 5553075"/>
                <a:gd name="connsiteY126" fmla="*/ 1200544 h 2634056"/>
                <a:gd name="connsiteX127" fmla="*/ 4195763 w 5553075"/>
                <a:gd name="connsiteY127" fmla="*/ 1229119 h 2634056"/>
                <a:gd name="connsiteX128" fmla="*/ 4176713 w 5553075"/>
                <a:gd name="connsiteY128" fmla="*/ 1262456 h 2634056"/>
                <a:gd name="connsiteX129" fmla="*/ 4191000 w 5553075"/>
                <a:gd name="connsiteY129" fmla="*/ 1286269 h 2634056"/>
                <a:gd name="connsiteX130" fmla="*/ 4286250 w 5553075"/>
                <a:gd name="connsiteY130" fmla="*/ 1356119 h 2634056"/>
                <a:gd name="connsiteX131" fmla="*/ 4275138 w 5553075"/>
                <a:gd name="connsiteY131" fmla="*/ 1395806 h 2634056"/>
                <a:gd name="connsiteX132" fmla="*/ 4229100 w 5553075"/>
                <a:gd name="connsiteY132" fmla="*/ 1395806 h 2634056"/>
                <a:gd name="connsiteX133" fmla="*/ 4271963 w 5553075"/>
                <a:gd name="connsiteY133" fmla="*/ 1481531 h 2634056"/>
                <a:gd name="connsiteX134" fmla="*/ 4329113 w 5553075"/>
                <a:gd name="connsiteY134" fmla="*/ 1470419 h 2634056"/>
                <a:gd name="connsiteX135" fmla="*/ 4384675 w 5553075"/>
                <a:gd name="connsiteY135" fmla="*/ 1500581 h 2634056"/>
                <a:gd name="connsiteX136" fmla="*/ 4445000 w 5553075"/>
                <a:gd name="connsiteY136" fmla="*/ 1535506 h 2634056"/>
                <a:gd name="connsiteX137" fmla="*/ 4438650 w 5553075"/>
                <a:gd name="connsiteY137" fmla="*/ 1562494 h 2634056"/>
                <a:gd name="connsiteX138" fmla="*/ 4432300 w 5553075"/>
                <a:gd name="connsiteY138" fmla="*/ 1632344 h 2634056"/>
                <a:gd name="connsiteX139" fmla="*/ 4500563 w 5553075"/>
                <a:gd name="connsiteY139" fmla="*/ 1672031 h 2634056"/>
                <a:gd name="connsiteX140" fmla="*/ 4565650 w 5553075"/>
                <a:gd name="connsiteY140" fmla="*/ 1652981 h 2634056"/>
                <a:gd name="connsiteX141" fmla="*/ 4605338 w 5553075"/>
                <a:gd name="connsiteY141" fmla="*/ 1638694 h 2634056"/>
                <a:gd name="connsiteX142" fmla="*/ 4619625 w 5553075"/>
                <a:gd name="connsiteY142" fmla="*/ 1686319 h 2634056"/>
                <a:gd name="connsiteX143" fmla="*/ 4657725 w 5553075"/>
                <a:gd name="connsiteY143" fmla="*/ 1710131 h 2634056"/>
                <a:gd name="connsiteX144" fmla="*/ 4629150 w 5553075"/>
                <a:gd name="connsiteY144" fmla="*/ 1757756 h 2634056"/>
                <a:gd name="connsiteX145" fmla="*/ 4652963 w 5553075"/>
                <a:gd name="connsiteY145" fmla="*/ 1814906 h 2634056"/>
                <a:gd name="connsiteX146" fmla="*/ 4681538 w 5553075"/>
                <a:gd name="connsiteY146" fmla="*/ 1848244 h 2634056"/>
                <a:gd name="connsiteX147" fmla="*/ 4767263 w 5553075"/>
                <a:gd name="connsiteY147" fmla="*/ 1891106 h 2634056"/>
                <a:gd name="connsiteX148" fmla="*/ 4776788 w 5553075"/>
                <a:gd name="connsiteY148" fmla="*/ 1967306 h 2634056"/>
                <a:gd name="connsiteX149" fmla="*/ 4705350 w 5553075"/>
                <a:gd name="connsiteY149" fmla="*/ 1938731 h 2634056"/>
                <a:gd name="connsiteX150" fmla="*/ 4695825 w 5553075"/>
                <a:gd name="connsiteY150" fmla="*/ 1972069 h 2634056"/>
                <a:gd name="connsiteX151" fmla="*/ 4743450 w 5553075"/>
                <a:gd name="connsiteY151" fmla="*/ 2014931 h 2634056"/>
                <a:gd name="connsiteX152" fmla="*/ 4776788 w 5553075"/>
                <a:gd name="connsiteY152" fmla="*/ 2033981 h 2634056"/>
                <a:gd name="connsiteX153" fmla="*/ 4810125 w 5553075"/>
                <a:gd name="connsiteY153" fmla="*/ 2010169 h 2634056"/>
                <a:gd name="connsiteX154" fmla="*/ 4843463 w 5553075"/>
                <a:gd name="connsiteY154" fmla="*/ 2024456 h 2634056"/>
                <a:gd name="connsiteX155" fmla="*/ 4838700 w 5553075"/>
                <a:gd name="connsiteY155" fmla="*/ 2095894 h 2634056"/>
                <a:gd name="connsiteX156" fmla="*/ 4972050 w 5553075"/>
                <a:gd name="connsiteY156" fmla="*/ 2191144 h 2634056"/>
                <a:gd name="connsiteX157" fmla="*/ 4995863 w 5553075"/>
                <a:gd name="connsiteY157" fmla="*/ 2167331 h 2634056"/>
                <a:gd name="connsiteX158" fmla="*/ 5081588 w 5553075"/>
                <a:gd name="connsiteY158" fmla="*/ 2186381 h 2634056"/>
                <a:gd name="connsiteX159" fmla="*/ 5124450 w 5553075"/>
                <a:gd name="connsiteY159" fmla="*/ 2253056 h 2634056"/>
                <a:gd name="connsiteX160" fmla="*/ 5248275 w 5553075"/>
                <a:gd name="connsiteY160" fmla="*/ 2295919 h 2634056"/>
                <a:gd name="connsiteX161" fmla="*/ 5281613 w 5553075"/>
                <a:gd name="connsiteY161" fmla="*/ 2362594 h 2634056"/>
                <a:gd name="connsiteX162" fmla="*/ 5276850 w 5553075"/>
                <a:gd name="connsiteY162" fmla="*/ 2443556 h 2634056"/>
                <a:gd name="connsiteX163" fmla="*/ 5353050 w 5553075"/>
                <a:gd name="connsiteY163" fmla="*/ 2514994 h 2634056"/>
                <a:gd name="connsiteX164" fmla="*/ 5438775 w 5553075"/>
                <a:gd name="connsiteY164" fmla="*/ 2534044 h 2634056"/>
                <a:gd name="connsiteX165" fmla="*/ 5486400 w 5553075"/>
                <a:gd name="connsiteY165" fmla="*/ 2595956 h 2634056"/>
                <a:gd name="connsiteX166" fmla="*/ 5553075 w 5553075"/>
                <a:gd name="connsiteY166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57163 w 5553075"/>
                <a:gd name="connsiteY6" fmla="*/ 605231 h 2634056"/>
                <a:gd name="connsiteX7" fmla="*/ 176213 w 5553075"/>
                <a:gd name="connsiteY7" fmla="*/ 567131 h 2634056"/>
                <a:gd name="connsiteX8" fmla="*/ 214313 w 5553075"/>
                <a:gd name="connsiteY8" fmla="*/ 533794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4388 w 5553075"/>
                <a:gd name="connsiteY26" fmla="*/ 271856 h 2634056"/>
                <a:gd name="connsiteX27" fmla="*/ 890588 w 5553075"/>
                <a:gd name="connsiteY27" fmla="*/ 257569 h 2634056"/>
                <a:gd name="connsiteX28" fmla="*/ 928688 w 5553075"/>
                <a:gd name="connsiteY28" fmla="*/ 271856 h 2634056"/>
                <a:gd name="connsiteX29" fmla="*/ 976313 w 5553075"/>
                <a:gd name="connsiteY29" fmla="*/ 286144 h 2634056"/>
                <a:gd name="connsiteX30" fmla="*/ 1019175 w 5553075"/>
                <a:gd name="connsiteY30" fmla="*/ 305194 h 2634056"/>
                <a:gd name="connsiteX31" fmla="*/ 1123950 w 5553075"/>
                <a:gd name="connsiteY31" fmla="*/ 276619 h 2634056"/>
                <a:gd name="connsiteX32" fmla="*/ 1128713 w 5553075"/>
                <a:gd name="connsiteY32" fmla="*/ 214706 h 2634056"/>
                <a:gd name="connsiteX33" fmla="*/ 1190625 w 5553075"/>
                <a:gd name="connsiteY33" fmla="*/ 243281 h 2634056"/>
                <a:gd name="connsiteX34" fmla="*/ 1252538 w 5553075"/>
                <a:gd name="connsiteY34" fmla="*/ 243281 h 2634056"/>
                <a:gd name="connsiteX35" fmla="*/ 1281113 w 5553075"/>
                <a:gd name="connsiteY35" fmla="*/ 209944 h 2634056"/>
                <a:gd name="connsiteX36" fmla="*/ 1276350 w 5553075"/>
                <a:gd name="connsiteY36" fmla="*/ 181369 h 2634056"/>
                <a:gd name="connsiteX37" fmla="*/ 1309688 w 5553075"/>
                <a:gd name="connsiteY37" fmla="*/ 162319 h 2634056"/>
                <a:gd name="connsiteX38" fmla="*/ 1328738 w 5553075"/>
                <a:gd name="connsiteY38" fmla="*/ 138506 h 2634056"/>
                <a:gd name="connsiteX39" fmla="*/ 1366838 w 5553075"/>
                <a:gd name="connsiteY39" fmla="*/ 152794 h 2634056"/>
                <a:gd name="connsiteX40" fmla="*/ 1400175 w 5553075"/>
                <a:gd name="connsiteY40" fmla="*/ 209944 h 2634056"/>
                <a:gd name="connsiteX41" fmla="*/ 1466850 w 5553075"/>
                <a:gd name="connsiteY41" fmla="*/ 181369 h 2634056"/>
                <a:gd name="connsiteX42" fmla="*/ 1511300 w 5553075"/>
                <a:gd name="connsiteY42" fmla="*/ 182956 h 2634056"/>
                <a:gd name="connsiteX43" fmla="*/ 1543050 w 5553075"/>
                <a:gd name="connsiteY43" fmla="*/ 157556 h 2634056"/>
                <a:gd name="connsiteX44" fmla="*/ 1649413 w 5553075"/>
                <a:gd name="connsiteY44" fmla="*/ 182956 h 2634056"/>
                <a:gd name="connsiteX45" fmla="*/ 1724025 w 5553075"/>
                <a:gd name="connsiteY45" fmla="*/ 133744 h 2634056"/>
                <a:gd name="connsiteX46" fmla="*/ 1776413 w 5553075"/>
                <a:gd name="connsiteY46" fmla="*/ 152794 h 2634056"/>
                <a:gd name="connsiteX47" fmla="*/ 1824038 w 5553075"/>
                <a:gd name="connsiteY47" fmla="*/ 124219 h 2634056"/>
                <a:gd name="connsiteX48" fmla="*/ 1795463 w 5553075"/>
                <a:gd name="connsiteY48" fmla="*/ 71831 h 2634056"/>
                <a:gd name="connsiteX49" fmla="*/ 1819275 w 5553075"/>
                <a:gd name="connsiteY49" fmla="*/ 28969 h 2634056"/>
                <a:gd name="connsiteX50" fmla="*/ 1881188 w 5553075"/>
                <a:gd name="connsiteY50" fmla="*/ 71831 h 2634056"/>
                <a:gd name="connsiteX51" fmla="*/ 1919288 w 5553075"/>
                <a:gd name="connsiteY51" fmla="*/ 86119 h 2634056"/>
                <a:gd name="connsiteX52" fmla="*/ 1949450 w 5553075"/>
                <a:gd name="connsiteY52" fmla="*/ 62306 h 2634056"/>
                <a:gd name="connsiteX53" fmla="*/ 1952625 w 5553075"/>
                <a:gd name="connsiteY53" fmla="*/ 394 h 2634056"/>
                <a:gd name="connsiteX54" fmla="*/ 2000250 w 5553075"/>
                <a:gd name="connsiteY54" fmla="*/ 38494 h 2634056"/>
                <a:gd name="connsiteX55" fmla="*/ 2019300 w 5553075"/>
                <a:gd name="connsiteY55" fmla="*/ 90881 h 2634056"/>
                <a:gd name="connsiteX56" fmla="*/ 2057400 w 5553075"/>
                <a:gd name="connsiteY56" fmla="*/ 57544 h 2634056"/>
                <a:gd name="connsiteX57" fmla="*/ 2081213 w 5553075"/>
                <a:gd name="connsiteY57" fmla="*/ 81356 h 2634056"/>
                <a:gd name="connsiteX58" fmla="*/ 2109788 w 5553075"/>
                <a:gd name="connsiteY58" fmla="*/ 48019 h 2634056"/>
                <a:gd name="connsiteX59" fmla="*/ 2138363 w 5553075"/>
                <a:gd name="connsiteY59" fmla="*/ 76594 h 2634056"/>
                <a:gd name="connsiteX60" fmla="*/ 2181225 w 5553075"/>
                <a:gd name="connsiteY60" fmla="*/ 81356 h 2634056"/>
                <a:gd name="connsiteX61" fmla="*/ 2195513 w 5553075"/>
                <a:gd name="connsiteY61" fmla="*/ 57544 h 2634056"/>
                <a:gd name="connsiteX62" fmla="*/ 2219325 w 5553075"/>
                <a:gd name="connsiteY62" fmla="*/ 86119 h 2634056"/>
                <a:gd name="connsiteX63" fmla="*/ 2252663 w 5553075"/>
                <a:gd name="connsiteY63" fmla="*/ 52781 h 2634056"/>
                <a:gd name="connsiteX64" fmla="*/ 2286000 w 5553075"/>
                <a:gd name="connsiteY64" fmla="*/ 100406 h 2634056"/>
                <a:gd name="connsiteX65" fmla="*/ 2333625 w 5553075"/>
                <a:gd name="connsiteY65" fmla="*/ 62306 h 2634056"/>
                <a:gd name="connsiteX66" fmla="*/ 2393950 w 5553075"/>
                <a:gd name="connsiteY66" fmla="*/ 65481 h 2634056"/>
                <a:gd name="connsiteX67" fmla="*/ 2419350 w 5553075"/>
                <a:gd name="connsiteY67" fmla="*/ 57544 h 2634056"/>
                <a:gd name="connsiteX68" fmla="*/ 2419350 w 5553075"/>
                <a:gd name="connsiteY68" fmla="*/ 105169 h 2634056"/>
                <a:gd name="connsiteX69" fmla="*/ 2462213 w 5553075"/>
                <a:gd name="connsiteY69" fmla="*/ 90881 h 2634056"/>
                <a:gd name="connsiteX70" fmla="*/ 2524125 w 5553075"/>
                <a:gd name="connsiteY70" fmla="*/ 95644 h 2634056"/>
                <a:gd name="connsiteX71" fmla="*/ 2543175 w 5553075"/>
                <a:gd name="connsiteY71" fmla="*/ 71831 h 2634056"/>
                <a:gd name="connsiteX72" fmla="*/ 2609850 w 5553075"/>
                <a:gd name="connsiteY72" fmla="*/ 105169 h 2634056"/>
                <a:gd name="connsiteX73" fmla="*/ 2692400 w 5553075"/>
                <a:gd name="connsiteY73" fmla="*/ 78181 h 2634056"/>
                <a:gd name="connsiteX74" fmla="*/ 2700338 w 5553075"/>
                <a:gd name="connsiteY74" fmla="*/ 52781 h 2634056"/>
                <a:gd name="connsiteX75" fmla="*/ 2724150 w 5553075"/>
                <a:gd name="connsiteY75" fmla="*/ 86119 h 2634056"/>
                <a:gd name="connsiteX76" fmla="*/ 2814638 w 5553075"/>
                <a:gd name="connsiteY76" fmla="*/ 71831 h 2634056"/>
                <a:gd name="connsiteX77" fmla="*/ 2836863 w 5553075"/>
                <a:gd name="connsiteY77" fmla="*/ 135331 h 2634056"/>
                <a:gd name="connsiteX78" fmla="*/ 2828925 w 5553075"/>
                <a:gd name="connsiteY78" fmla="*/ 176606 h 2634056"/>
                <a:gd name="connsiteX79" fmla="*/ 2895600 w 5553075"/>
                <a:gd name="connsiteY79" fmla="*/ 152794 h 2634056"/>
                <a:gd name="connsiteX80" fmla="*/ 2895600 w 5553075"/>
                <a:gd name="connsiteY80" fmla="*/ 195656 h 2634056"/>
                <a:gd name="connsiteX81" fmla="*/ 2933700 w 5553075"/>
                <a:gd name="connsiteY81" fmla="*/ 238519 h 2634056"/>
                <a:gd name="connsiteX82" fmla="*/ 2933700 w 5553075"/>
                <a:gd name="connsiteY82" fmla="*/ 195656 h 2634056"/>
                <a:gd name="connsiteX83" fmla="*/ 2986088 w 5553075"/>
                <a:gd name="connsiteY83" fmla="*/ 224231 h 2634056"/>
                <a:gd name="connsiteX84" fmla="*/ 3000375 w 5553075"/>
                <a:gd name="connsiteY84" fmla="*/ 248044 h 2634056"/>
                <a:gd name="connsiteX85" fmla="*/ 3057525 w 5553075"/>
                <a:gd name="connsiteY85" fmla="*/ 295669 h 2634056"/>
                <a:gd name="connsiteX86" fmla="*/ 3086100 w 5553075"/>
                <a:gd name="connsiteY86" fmla="*/ 303606 h 2634056"/>
                <a:gd name="connsiteX87" fmla="*/ 3138488 w 5553075"/>
                <a:gd name="connsiteY87" fmla="*/ 371869 h 2634056"/>
                <a:gd name="connsiteX88" fmla="*/ 3190875 w 5553075"/>
                <a:gd name="connsiteY88" fmla="*/ 424256 h 2634056"/>
                <a:gd name="connsiteX89" fmla="*/ 3214688 w 5553075"/>
                <a:gd name="connsiteY89" fmla="*/ 467119 h 2634056"/>
                <a:gd name="connsiteX90" fmla="*/ 3257550 w 5553075"/>
                <a:gd name="connsiteY90" fmla="*/ 471881 h 2634056"/>
                <a:gd name="connsiteX91" fmla="*/ 3319463 w 5553075"/>
                <a:gd name="connsiteY91" fmla="*/ 529031 h 2634056"/>
                <a:gd name="connsiteX92" fmla="*/ 3281363 w 5553075"/>
                <a:gd name="connsiteY92" fmla="*/ 546494 h 2634056"/>
                <a:gd name="connsiteX93" fmla="*/ 3281363 w 5553075"/>
                <a:gd name="connsiteY93" fmla="*/ 567131 h 2634056"/>
                <a:gd name="connsiteX94" fmla="*/ 3319463 w 5553075"/>
                <a:gd name="connsiteY94" fmla="*/ 581419 h 2634056"/>
                <a:gd name="connsiteX95" fmla="*/ 3286125 w 5553075"/>
                <a:gd name="connsiteY95" fmla="*/ 633806 h 2634056"/>
                <a:gd name="connsiteX96" fmla="*/ 3352800 w 5553075"/>
                <a:gd name="connsiteY96" fmla="*/ 629044 h 2634056"/>
                <a:gd name="connsiteX97" fmla="*/ 3381375 w 5553075"/>
                <a:gd name="connsiteY97" fmla="*/ 667144 h 2634056"/>
                <a:gd name="connsiteX98" fmla="*/ 3419475 w 5553075"/>
                <a:gd name="connsiteY98" fmla="*/ 686194 h 2634056"/>
                <a:gd name="connsiteX99" fmla="*/ 3429000 w 5553075"/>
                <a:gd name="connsiteY99" fmla="*/ 714769 h 2634056"/>
                <a:gd name="connsiteX100" fmla="*/ 3429000 w 5553075"/>
                <a:gd name="connsiteY100" fmla="*/ 738581 h 2634056"/>
                <a:gd name="connsiteX101" fmla="*/ 3457575 w 5553075"/>
                <a:gd name="connsiteY101" fmla="*/ 805256 h 2634056"/>
                <a:gd name="connsiteX102" fmla="*/ 3514725 w 5553075"/>
                <a:gd name="connsiteY102" fmla="*/ 762394 h 2634056"/>
                <a:gd name="connsiteX103" fmla="*/ 3557588 w 5553075"/>
                <a:gd name="connsiteY103" fmla="*/ 752869 h 2634056"/>
                <a:gd name="connsiteX104" fmla="*/ 3595688 w 5553075"/>
                <a:gd name="connsiteY104" fmla="*/ 738581 h 2634056"/>
                <a:gd name="connsiteX105" fmla="*/ 3629025 w 5553075"/>
                <a:gd name="connsiteY105" fmla="*/ 700481 h 2634056"/>
                <a:gd name="connsiteX106" fmla="*/ 3648075 w 5553075"/>
                <a:gd name="connsiteY106" fmla="*/ 719531 h 2634056"/>
                <a:gd name="connsiteX107" fmla="*/ 3638550 w 5553075"/>
                <a:gd name="connsiteY107" fmla="*/ 757631 h 2634056"/>
                <a:gd name="connsiteX108" fmla="*/ 3657600 w 5553075"/>
                <a:gd name="connsiteY108" fmla="*/ 805256 h 2634056"/>
                <a:gd name="connsiteX109" fmla="*/ 3705225 w 5553075"/>
                <a:gd name="connsiteY109" fmla="*/ 805256 h 2634056"/>
                <a:gd name="connsiteX110" fmla="*/ 3771900 w 5553075"/>
                <a:gd name="connsiteY110" fmla="*/ 790969 h 2634056"/>
                <a:gd name="connsiteX111" fmla="*/ 3824288 w 5553075"/>
                <a:gd name="connsiteY111" fmla="*/ 767156 h 2634056"/>
                <a:gd name="connsiteX112" fmla="*/ 3814763 w 5553075"/>
                <a:gd name="connsiteY112" fmla="*/ 767156 h 2634056"/>
                <a:gd name="connsiteX113" fmla="*/ 3876675 w 5553075"/>
                <a:gd name="connsiteY113" fmla="*/ 776681 h 2634056"/>
                <a:gd name="connsiteX114" fmla="*/ 3929063 w 5553075"/>
                <a:gd name="connsiteY114" fmla="*/ 757631 h 2634056"/>
                <a:gd name="connsiteX115" fmla="*/ 3905250 w 5553075"/>
                <a:gd name="connsiteY115" fmla="*/ 805256 h 2634056"/>
                <a:gd name="connsiteX116" fmla="*/ 3914775 w 5553075"/>
                <a:gd name="connsiteY116" fmla="*/ 838594 h 2634056"/>
                <a:gd name="connsiteX117" fmla="*/ 3957638 w 5553075"/>
                <a:gd name="connsiteY117" fmla="*/ 805256 h 2634056"/>
                <a:gd name="connsiteX118" fmla="*/ 3986213 w 5553075"/>
                <a:gd name="connsiteY118" fmla="*/ 848119 h 2634056"/>
                <a:gd name="connsiteX119" fmla="*/ 4078288 w 5553075"/>
                <a:gd name="connsiteY119" fmla="*/ 895744 h 2634056"/>
                <a:gd name="connsiteX120" fmla="*/ 4071938 w 5553075"/>
                <a:gd name="connsiteY120" fmla="*/ 962419 h 2634056"/>
                <a:gd name="connsiteX121" fmla="*/ 4116388 w 5553075"/>
                <a:gd name="connsiteY121" fmla="*/ 1025919 h 2634056"/>
                <a:gd name="connsiteX122" fmla="*/ 4144963 w 5553075"/>
                <a:gd name="connsiteY122" fmla="*/ 1068781 h 2634056"/>
                <a:gd name="connsiteX123" fmla="*/ 4137025 w 5553075"/>
                <a:gd name="connsiteY123" fmla="*/ 1097356 h 2634056"/>
                <a:gd name="connsiteX124" fmla="*/ 4157663 w 5553075"/>
                <a:gd name="connsiteY124" fmla="*/ 1124344 h 2634056"/>
                <a:gd name="connsiteX125" fmla="*/ 4162425 w 5553075"/>
                <a:gd name="connsiteY125" fmla="*/ 1200544 h 2634056"/>
                <a:gd name="connsiteX126" fmla="*/ 4195763 w 5553075"/>
                <a:gd name="connsiteY126" fmla="*/ 1229119 h 2634056"/>
                <a:gd name="connsiteX127" fmla="*/ 4176713 w 5553075"/>
                <a:gd name="connsiteY127" fmla="*/ 1262456 h 2634056"/>
                <a:gd name="connsiteX128" fmla="*/ 4191000 w 5553075"/>
                <a:gd name="connsiteY128" fmla="*/ 1286269 h 2634056"/>
                <a:gd name="connsiteX129" fmla="*/ 4286250 w 5553075"/>
                <a:gd name="connsiteY129" fmla="*/ 1356119 h 2634056"/>
                <a:gd name="connsiteX130" fmla="*/ 4275138 w 5553075"/>
                <a:gd name="connsiteY130" fmla="*/ 1395806 h 2634056"/>
                <a:gd name="connsiteX131" fmla="*/ 4229100 w 5553075"/>
                <a:gd name="connsiteY131" fmla="*/ 1395806 h 2634056"/>
                <a:gd name="connsiteX132" fmla="*/ 4271963 w 5553075"/>
                <a:gd name="connsiteY132" fmla="*/ 1481531 h 2634056"/>
                <a:gd name="connsiteX133" fmla="*/ 4329113 w 5553075"/>
                <a:gd name="connsiteY133" fmla="*/ 1470419 h 2634056"/>
                <a:gd name="connsiteX134" fmla="*/ 4384675 w 5553075"/>
                <a:gd name="connsiteY134" fmla="*/ 1500581 h 2634056"/>
                <a:gd name="connsiteX135" fmla="*/ 4445000 w 5553075"/>
                <a:gd name="connsiteY135" fmla="*/ 1535506 h 2634056"/>
                <a:gd name="connsiteX136" fmla="*/ 4438650 w 5553075"/>
                <a:gd name="connsiteY136" fmla="*/ 1562494 h 2634056"/>
                <a:gd name="connsiteX137" fmla="*/ 4432300 w 5553075"/>
                <a:gd name="connsiteY137" fmla="*/ 1632344 h 2634056"/>
                <a:gd name="connsiteX138" fmla="*/ 4500563 w 5553075"/>
                <a:gd name="connsiteY138" fmla="*/ 1672031 h 2634056"/>
                <a:gd name="connsiteX139" fmla="*/ 4565650 w 5553075"/>
                <a:gd name="connsiteY139" fmla="*/ 1652981 h 2634056"/>
                <a:gd name="connsiteX140" fmla="*/ 4605338 w 5553075"/>
                <a:gd name="connsiteY140" fmla="*/ 1638694 h 2634056"/>
                <a:gd name="connsiteX141" fmla="*/ 4619625 w 5553075"/>
                <a:gd name="connsiteY141" fmla="*/ 1686319 h 2634056"/>
                <a:gd name="connsiteX142" fmla="*/ 4657725 w 5553075"/>
                <a:gd name="connsiteY142" fmla="*/ 1710131 h 2634056"/>
                <a:gd name="connsiteX143" fmla="*/ 4629150 w 5553075"/>
                <a:gd name="connsiteY143" fmla="*/ 1757756 h 2634056"/>
                <a:gd name="connsiteX144" fmla="*/ 4652963 w 5553075"/>
                <a:gd name="connsiteY144" fmla="*/ 1814906 h 2634056"/>
                <a:gd name="connsiteX145" fmla="*/ 4681538 w 5553075"/>
                <a:gd name="connsiteY145" fmla="*/ 1848244 h 2634056"/>
                <a:gd name="connsiteX146" fmla="*/ 4767263 w 5553075"/>
                <a:gd name="connsiteY146" fmla="*/ 1891106 h 2634056"/>
                <a:gd name="connsiteX147" fmla="*/ 4776788 w 5553075"/>
                <a:gd name="connsiteY147" fmla="*/ 1967306 h 2634056"/>
                <a:gd name="connsiteX148" fmla="*/ 4705350 w 5553075"/>
                <a:gd name="connsiteY148" fmla="*/ 1938731 h 2634056"/>
                <a:gd name="connsiteX149" fmla="*/ 4695825 w 5553075"/>
                <a:gd name="connsiteY149" fmla="*/ 1972069 h 2634056"/>
                <a:gd name="connsiteX150" fmla="*/ 4743450 w 5553075"/>
                <a:gd name="connsiteY150" fmla="*/ 2014931 h 2634056"/>
                <a:gd name="connsiteX151" fmla="*/ 4776788 w 5553075"/>
                <a:gd name="connsiteY151" fmla="*/ 2033981 h 2634056"/>
                <a:gd name="connsiteX152" fmla="*/ 4810125 w 5553075"/>
                <a:gd name="connsiteY152" fmla="*/ 2010169 h 2634056"/>
                <a:gd name="connsiteX153" fmla="*/ 4843463 w 5553075"/>
                <a:gd name="connsiteY153" fmla="*/ 2024456 h 2634056"/>
                <a:gd name="connsiteX154" fmla="*/ 4838700 w 5553075"/>
                <a:gd name="connsiteY154" fmla="*/ 2095894 h 2634056"/>
                <a:gd name="connsiteX155" fmla="*/ 4972050 w 5553075"/>
                <a:gd name="connsiteY155" fmla="*/ 2191144 h 2634056"/>
                <a:gd name="connsiteX156" fmla="*/ 4995863 w 5553075"/>
                <a:gd name="connsiteY156" fmla="*/ 2167331 h 2634056"/>
                <a:gd name="connsiteX157" fmla="*/ 5081588 w 5553075"/>
                <a:gd name="connsiteY157" fmla="*/ 2186381 h 2634056"/>
                <a:gd name="connsiteX158" fmla="*/ 5124450 w 5553075"/>
                <a:gd name="connsiteY158" fmla="*/ 2253056 h 2634056"/>
                <a:gd name="connsiteX159" fmla="*/ 5248275 w 5553075"/>
                <a:gd name="connsiteY159" fmla="*/ 2295919 h 2634056"/>
                <a:gd name="connsiteX160" fmla="*/ 5281613 w 5553075"/>
                <a:gd name="connsiteY160" fmla="*/ 2362594 h 2634056"/>
                <a:gd name="connsiteX161" fmla="*/ 5276850 w 5553075"/>
                <a:gd name="connsiteY161" fmla="*/ 2443556 h 2634056"/>
                <a:gd name="connsiteX162" fmla="*/ 5353050 w 5553075"/>
                <a:gd name="connsiteY162" fmla="*/ 2514994 h 2634056"/>
                <a:gd name="connsiteX163" fmla="*/ 5438775 w 5553075"/>
                <a:gd name="connsiteY163" fmla="*/ 2534044 h 2634056"/>
                <a:gd name="connsiteX164" fmla="*/ 5486400 w 5553075"/>
                <a:gd name="connsiteY164" fmla="*/ 2595956 h 2634056"/>
                <a:gd name="connsiteX165" fmla="*/ 5553075 w 5553075"/>
                <a:gd name="connsiteY165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57163 w 5553075"/>
                <a:gd name="connsiteY6" fmla="*/ 605231 h 2634056"/>
                <a:gd name="connsiteX7" fmla="*/ 176213 w 5553075"/>
                <a:gd name="connsiteY7" fmla="*/ 567131 h 2634056"/>
                <a:gd name="connsiteX8" fmla="*/ 214313 w 5553075"/>
                <a:gd name="connsiteY8" fmla="*/ 533794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90588 w 5553075"/>
                <a:gd name="connsiteY27" fmla="*/ 257569 h 2634056"/>
                <a:gd name="connsiteX28" fmla="*/ 928688 w 5553075"/>
                <a:gd name="connsiteY28" fmla="*/ 271856 h 2634056"/>
                <a:gd name="connsiteX29" fmla="*/ 976313 w 5553075"/>
                <a:gd name="connsiteY29" fmla="*/ 286144 h 2634056"/>
                <a:gd name="connsiteX30" fmla="*/ 1019175 w 5553075"/>
                <a:gd name="connsiteY30" fmla="*/ 305194 h 2634056"/>
                <a:gd name="connsiteX31" fmla="*/ 1123950 w 5553075"/>
                <a:gd name="connsiteY31" fmla="*/ 276619 h 2634056"/>
                <a:gd name="connsiteX32" fmla="*/ 1128713 w 5553075"/>
                <a:gd name="connsiteY32" fmla="*/ 214706 h 2634056"/>
                <a:gd name="connsiteX33" fmla="*/ 1190625 w 5553075"/>
                <a:gd name="connsiteY33" fmla="*/ 243281 h 2634056"/>
                <a:gd name="connsiteX34" fmla="*/ 1252538 w 5553075"/>
                <a:gd name="connsiteY34" fmla="*/ 243281 h 2634056"/>
                <a:gd name="connsiteX35" fmla="*/ 1281113 w 5553075"/>
                <a:gd name="connsiteY35" fmla="*/ 209944 h 2634056"/>
                <a:gd name="connsiteX36" fmla="*/ 1276350 w 5553075"/>
                <a:gd name="connsiteY36" fmla="*/ 181369 h 2634056"/>
                <a:gd name="connsiteX37" fmla="*/ 1309688 w 5553075"/>
                <a:gd name="connsiteY37" fmla="*/ 162319 h 2634056"/>
                <a:gd name="connsiteX38" fmla="*/ 1328738 w 5553075"/>
                <a:gd name="connsiteY38" fmla="*/ 138506 h 2634056"/>
                <a:gd name="connsiteX39" fmla="*/ 1366838 w 5553075"/>
                <a:gd name="connsiteY39" fmla="*/ 152794 h 2634056"/>
                <a:gd name="connsiteX40" fmla="*/ 1400175 w 5553075"/>
                <a:gd name="connsiteY40" fmla="*/ 209944 h 2634056"/>
                <a:gd name="connsiteX41" fmla="*/ 1466850 w 5553075"/>
                <a:gd name="connsiteY41" fmla="*/ 181369 h 2634056"/>
                <a:gd name="connsiteX42" fmla="*/ 1511300 w 5553075"/>
                <a:gd name="connsiteY42" fmla="*/ 182956 h 2634056"/>
                <a:gd name="connsiteX43" fmla="*/ 1543050 w 5553075"/>
                <a:gd name="connsiteY43" fmla="*/ 157556 h 2634056"/>
                <a:gd name="connsiteX44" fmla="*/ 1649413 w 5553075"/>
                <a:gd name="connsiteY44" fmla="*/ 182956 h 2634056"/>
                <a:gd name="connsiteX45" fmla="*/ 1724025 w 5553075"/>
                <a:gd name="connsiteY45" fmla="*/ 133744 h 2634056"/>
                <a:gd name="connsiteX46" fmla="*/ 1776413 w 5553075"/>
                <a:gd name="connsiteY46" fmla="*/ 152794 h 2634056"/>
                <a:gd name="connsiteX47" fmla="*/ 1824038 w 5553075"/>
                <a:gd name="connsiteY47" fmla="*/ 124219 h 2634056"/>
                <a:gd name="connsiteX48" fmla="*/ 1795463 w 5553075"/>
                <a:gd name="connsiteY48" fmla="*/ 71831 h 2634056"/>
                <a:gd name="connsiteX49" fmla="*/ 1819275 w 5553075"/>
                <a:gd name="connsiteY49" fmla="*/ 28969 h 2634056"/>
                <a:gd name="connsiteX50" fmla="*/ 1881188 w 5553075"/>
                <a:gd name="connsiteY50" fmla="*/ 71831 h 2634056"/>
                <a:gd name="connsiteX51" fmla="*/ 1919288 w 5553075"/>
                <a:gd name="connsiteY51" fmla="*/ 86119 h 2634056"/>
                <a:gd name="connsiteX52" fmla="*/ 1949450 w 5553075"/>
                <a:gd name="connsiteY52" fmla="*/ 62306 h 2634056"/>
                <a:gd name="connsiteX53" fmla="*/ 1952625 w 5553075"/>
                <a:gd name="connsiteY53" fmla="*/ 394 h 2634056"/>
                <a:gd name="connsiteX54" fmla="*/ 2000250 w 5553075"/>
                <a:gd name="connsiteY54" fmla="*/ 38494 h 2634056"/>
                <a:gd name="connsiteX55" fmla="*/ 2019300 w 5553075"/>
                <a:gd name="connsiteY55" fmla="*/ 90881 h 2634056"/>
                <a:gd name="connsiteX56" fmla="*/ 2057400 w 5553075"/>
                <a:gd name="connsiteY56" fmla="*/ 57544 h 2634056"/>
                <a:gd name="connsiteX57" fmla="*/ 2081213 w 5553075"/>
                <a:gd name="connsiteY57" fmla="*/ 81356 h 2634056"/>
                <a:gd name="connsiteX58" fmla="*/ 2109788 w 5553075"/>
                <a:gd name="connsiteY58" fmla="*/ 48019 h 2634056"/>
                <a:gd name="connsiteX59" fmla="*/ 2138363 w 5553075"/>
                <a:gd name="connsiteY59" fmla="*/ 76594 h 2634056"/>
                <a:gd name="connsiteX60" fmla="*/ 2181225 w 5553075"/>
                <a:gd name="connsiteY60" fmla="*/ 81356 h 2634056"/>
                <a:gd name="connsiteX61" fmla="*/ 2195513 w 5553075"/>
                <a:gd name="connsiteY61" fmla="*/ 57544 h 2634056"/>
                <a:gd name="connsiteX62" fmla="*/ 2219325 w 5553075"/>
                <a:gd name="connsiteY62" fmla="*/ 86119 h 2634056"/>
                <a:gd name="connsiteX63" fmla="*/ 2252663 w 5553075"/>
                <a:gd name="connsiteY63" fmla="*/ 52781 h 2634056"/>
                <a:gd name="connsiteX64" fmla="*/ 2286000 w 5553075"/>
                <a:gd name="connsiteY64" fmla="*/ 100406 h 2634056"/>
                <a:gd name="connsiteX65" fmla="*/ 2333625 w 5553075"/>
                <a:gd name="connsiteY65" fmla="*/ 62306 h 2634056"/>
                <a:gd name="connsiteX66" fmla="*/ 2393950 w 5553075"/>
                <a:gd name="connsiteY66" fmla="*/ 65481 h 2634056"/>
                <a:gd name="connsiteX67" fmla="*/ 2419350 w 5553075"/>
                <a:gd name="connsiteY67" fmla="*/ 57544 h 2634056"/>
                <a:gd name="connsiteX68" fmla="*/ 2419350 w 5553075"/>
                <a:gd name="connsiteY68" fmla="*/ 105169 h 2634056"/>
                <a:gd name="connsiteX69" fmla="*/ 2462213 w 5553075"/>
                <a:gd name="connsiteY69" fmla="*/ 90881 h 2634056"/>
                <a:gd name="connsiteX70" fmla="*/ 2524125 w 5553075"/>
                <a:gd name="connsiteY70" fmla="*/ 95644 h 2634056"/>
                <a:gd name="connsiteX71" fmla="*/ 2543175 w 5553075"/>
                <a:gd name="connsiteY71" fmla="*/ 71831 h 2634056"/>
                <a:gd name="connsiteX72" fmla="*/ 2609850 w 5553075"/>
                <a:gd name="connsiteY72" fmla="*/ 105169 h 2634056"/>
                <a:gd name="connsiteX73" fmla="*/ 2692400 w 5553075"/>
                <a:gd name="connsiteY73" fmla="*/ 78181 h 2634056"/>
                <a:gd name="connsiteX74" fmla="*/ 2700338 w 5553075"/>
                <a:gd name="connsiteY74" fmla="*/ 52781 h 2634056"/>
                <a:gd name="connsiteX75" fmla="*/ 2724150 w 5553075"/>
                <a:gd name="connsiteY75" fmla="*/ 86119 h 2634056"/>
                <a:gd name="connsiteX76" fmla="*/ 2814638 w 5553075"/>
                <a:gd name="connsiteY76" fmla="*/ 71831 h 2634056"/>
                <a:gd name="connsiteX77" fmla="*/ 2836863 w 5553075"/>
                <a:gd name="connsiteY77" fmla="*/ 135331 h 2634056"/>
                <a:gd name="connsiteX78" fmla="*/ 2828925 w 5553075"/>
                <a:gd name="connsiteY78" fmla="*/ 176606 h 2634056"/>
                <a:gd name="connsiteX79" fmla="*/ 2895600 w 5553075"/>
                <a:gd name="connsiteY79" fmla="*/ 152794 h 2634056"/>
                <a:gd name="connsiteX80" fmla="*/ 2895600 w 5553075"/>
                <a:gd name="connsiteY80" fmla="*/ 195656 h 2634056"/>
                <a:gd name="connsiteX81" fmla="*/ 2933700 w 5553075"/>
                <a:gd name="connsiteY81" fmla="*/ 238519 h 2634056"/>
                <a:gd name="connsiteX82" fmla="*/ 2933700 w 5553075"/>
                <a:gd name="connsiteY82" fmla="*/ 195656 h 2634056"/>
                <a:gd name="connsiteX83" fmla="*/ 2986088 w 5553075"/>
                <a:gd name="connsiteY83" fmla="*/ 224231 h 2634056"/>
                <a:gd name="connsiteX84" fmla="*/ 3000375 w 5553075"/>
                <a:gd name="connsiteY84" fmla="*/ 248044 h 2634056"/>
                <a:gd name="connsiteX85" fmla="*/ 3057525 w 5553075"/>
                <a:gd name="connsiteY85" fmla="*/ 295669 h 2634056"/>
                <a:gd name="connsiteX86" fmla="*/ 3086100 w 5553075"/>
                <a:gd name="connsiteY86" fmla="*/ 303606 h 2634056"/>
                <a:gd name="connsiteX87" fmla="*/ 3138488 w 5553075"/>
                <a:gd name="connsiteY87" fmla="*/ 371869 h 2634056"/>
                <a:gd name="connsiteX88" fmla="*/ 3190875 w 5553075"/>
                <a:gd name="connsiteY88" fmla="*/ 424256 h 2634056"/>
                <a:gd name="connsiteX89" fmla="*/ 3214688 w 5553075"/>
                <a:gd name="connsiteY89" fmla="*/ 467119 h 2634056"/>
                <a:gd name="connsiteX90" fmla="*/ 3257550 w 5553075"/>
                <a:gd name="connsiteY90" fmla="*/ 471881 h 2634056"/>
                <a:gd name="connsiteX91" fmla="*/ 3319463 w 5553075"/>
                <a:gd name="connsiteY91" fmla="*/ 529031 h 2634056"/>
                <a:gd name="connsiteX92" fmla="*/ 3281363 w 5553075"/>
                <a:gd name="connsiteY92" fmla="*/ 546494 h 2634056"/>
                <a:gd name="connsiteX93" fmla="*/ 3281363 w 5553075"/>
                <a:gd name="connsiteY93" fmla="*/ 567131 h 2634056"/>
                <a:gd name="connsiteX94" fmla="*/ 3319463 w 5553075"/>
                <a:gd name="connsiteY94" fmla="*/ 581419 h 2634056"/>
                <a:gd name="connsiteX95" fmla="*/ 3286125 w 5553075"/>
                <a:gd name="connsiteY95" fmla="*/ 633806 h 2634056"/>
                <a:gd name="connsiteX96" fmla="*/ 3352800 w 5553075"/>
                <a:gd name="connsiteY96" fmla="*/ 629044 h 2634056"/>
                <a:gd name="connsiteX97" fmla="*/ 3381375 w 5553075"/>
                <a:gd name="connsiteY97" fmla="*/ 667144 h 2634056"/>
                <a:gd name="connsiteX98" fmla="*/ 3419475 w 5553075"/>
                <a:gd name="connsiteY98" fmla="*/ 686194 h 2634056"/>
                <a:gd name="connsiteX99" fmla="*/ 3429000 w 5553075"/>
                <a:gd name="connsiteY99" fmla="*/ 714769 h 2634056"/>
                <a:gd name="connsiteX100" fmla="*/ 3429000 w 5553075"/>
                <a:gd name="connsiteY100" fmla="*/ 738581 h 2634056"/>
                <a:gd name="connsiteX101" fmla="*/ 3457575 w 5553075"/>
                <a:gd name="connsiteY101" fmla="*/ 805256 h 2634056"/>
                <a:gd name="connsiteX102" fmla="*/ 3514725 w 5553075"/>
                <a:gd name="connsiteY102" fmla="*/ 762394 h 2634056"/>
                <a:gd name="connsiteX103" fmla="*/ 3557588 w 5553075"/>
                <a:gd name="connsiteY103" fmla="*/ 752869 h 2634056"/>
                <a:gd name="connsiteX104" fmla="*/ 3595688 w 5553075"/>
                <a:gd name="connsiteY104" fmla="*/ 738581 h 2634056"/>
                <a:gd name="connsiteX105" fmla="*/ 3629025 w 5553075"/>
                <a:gd name="connsiteY105" fmla="*/ 700481 h 2634056"/>
                <a:gd name="connsiteX106" fmla="*/ 3648075 w 5553075"/>
                <a:gd name="connsiteY106" fmla="*/ 719531 h 2634056"/>
                <a:gd name="connsiteX107" fmla="*/ 3638550 w 5553075"/>
                <a:gd name="connsiteY107" fmla="*/ 757631 h 2634056"/>
                <a:gd name="connsiteX108" fmla="*/ 3657600 w 5553075"/>
                <a:gd name="connsiteY108" fmla="*/ 805256 h 2634056"/>
                <a:gd name="connsiteX109" fmla="*/ 3705225 w 5553075"/>
                <a:gd name="connsiteY109" fmla="*/ 805256 h 2634056"/>
                <a:gd name="connsiteX110" fmla="*/ 3771900 w 5553075"/>
                <a:gd name="connsiteY110" fmla="*/ 790969 h 2634056"/>
                <a:gd name="connsiteX111" fmla="*/ 3824288 w 5553075"/>
                <a:gd name="connsiteY111" fmla="*/ 767156 h 2634056"/>
                <a:gd name="connsiteX112" fmla="*/ 3814763 w 5553075"/>
                <a:gd name="connsiteY112" fmla="*/ 767156 h 2634056"/>
                <a:gd name="connsiteX113" fmla="*/ 3876675 w 5553075"/>
                <a:gd name="connsiteY113" fmla="*/ 776681 h 2634056"/>
                <a:gd name="connsiteX114" fmla="*/ 3929063 w 5553075"/>
                <a:gd name="connsiteY114" fmla="*/ 757631 h 2634056"/>
                <a:gd name="connsiteX115" fmla="*/ 3905250 w 5553075"/>
                <a:gd name="connsiteY115" fmla="*/ 805256 h 2634056"/>
                <a:gd name="connsiteX116" fmla="*/ 3914775 w 5553075"/>
                <a:gd name="connsiteY116" fmla="*/ 838594 h 2634056"/>
                <a:gd name="connsiteX117" fmla="*/ 3957638 w 5553075"/>
                <a:gd name="connsiteY117" fmla="*/ 805256 h 2634056"/>
                <a:gd name="connsiteX118" fmla="*/ 3986213 w 5553075"/>
                <a:gd name="connsiteY118" fmla="*/ 848119 h 2634056"/>
                <a:gd name="connsiteX119" fmla="*/ 4078288 w 5553075"/>
                <a:gd name="connsiteY119" fmla="*/ 895744 h 2634056"/>
                <a:gd name="connsiteX120" fmla="*/ 4071938 w 5553075"/>
                <a:gd name="connsiteY120" fmla="*/ 962419 h 2634056"/>
                <a:gd name="connsiteX121" fmla="*/ 4116388 w 5553075"/>
                <a:gd name="connsiteY121" fmla="*/ 1025919 h 2634056"/>
                <a:gd name="connsiteX122" fmla="*/ 4144963 w 5553075"/>
                <a:gd name="connsiteY122" fmla="*/ 1068781 h 2634056"/>
                <a:gd name="connsiteX123" fmla="*/ 4137025 w 5553075"/>
                <a:gd name="connsiteY123" fmla="*/ 1097356 h 2634056"/>
                <a:gd name="connsiteX124" fmla="*/ 4157663 w 5553075"/>
                <a:gd name="connsiteY124" fmla="*/ 1124344 h 2634056"/>
                <a:gd name="connsiteX125" fmla="*/ 4162425 w 5553075"/>
                <a:gd name="connsiteY125" fmla="*/ 1200544 h 2634056"/>
                <a:gd name="connsiteX126" fmla="*/ 4195763 w 5553075"/>
                <a:gd name="connsiteY126" fmla="*/ 1229119 h 2634056"/>
                <a:gd name="connsiteX127" fmla="*/ 4176713 w 5553075"/>
                <a:gd name="connsiteY127" fmla="*/ 1262456 h 2634056"/>
                <a:gd name="connsiteX128" fmla="*/ 4191000 w 5553075"/>
                <a:gd name="connsiteY128" fmla="*/ 1286269 h 2634056"/>
                <a:gd name="connsiteX129" fmla="*/ 4286250 w 5553075"/>
                <a:gd name="connsiteY129" fmla="*/ 1356119 h 2634056"/>
                <a:gd name="connsiteX130" fmla="*/ 4275138 w 5553075"/>
                <a:gd name="connsiteY130" fmla="*/ 1395806 h 2634056"/>
                <a:gd name="connsiteX131" fmla="*/ 4229100 w 5553075"/>
                <a:gd name="connsiteY131" fmla="*/ 1395806 h 2634056"/>
                <a:gd name="connsiteX132" fmla="*/ 4271963 w 5553075"/>
                <a:gd name="connsiteY132" fmla="*/ 1481531 h 2634056"/>
                <a:gd name="connsiteX133" fmla="*/ 4329113 w 5553075"/>
                <a:gd name="connsiteY133" fmla="*/ 1470419 h 2634056"/>
                <a:gd name="connsiteX134" fmla="*/ 4384675 w 5553075"/>
                <a:gd name="connsiteY134" fmla="*/ 1500581 h 2634056"/>
                <a:gd name="connsiteX135" fmla="*/ 4445000 w 5553075"/>
                <a:gd name="connsiteY135" fmla="*/ 1535506 h 2634056"/>
                <a:gd name="connsiteX136" fmla="*/ 4438650 w 5553075"/>
                <a:gd name="connsiteY136" fmla="*/ 1562494 h 2634056"/>
                <a:gd name="connsiteX137" fmla="*/ 4432300 w 5553075"/>
                <a:gd name="connsiteY137" fmla="*/ 1632344 h 2634056"/>
                <a:gd name="connsiteX138" fmla="*/ 4500563 w 5553075"/>
                <a:gd name="connsiteY138" fmla="*/ 1672031 h 2634056"/>
                <a:gd name="connsiteX139" fmla="*/ 4565650 w 5553075"/>
                <a:gd name="connsiteY139" fmla="*/ 1652981 h 2634056"/>
                <a:gd name="connsiteX140" fmla="*/ 4605338 w 5553075"/>
                <a:gd name="connsiteY140" fmla="*/ 1638694 h 2634056"/>
                <a:gd name="connsiteX141" fmla="*/ 4619625 w 5553075"/>
                <a:gd name="connsiteY141" fmla="*/ 1686319 h 2634056"/>
                <a:gd name="connsiteX142" fmla="*/ 4657725 w 5553075"/>
                <a:gd name="connsiteY142" fmla="*/ 1710131 h 2634056"/>
                <a:gd name="connsiteX143" fmla="*/ 4629150 w 5553075"/>
                <a:gd name="connsiteY143" fmla="*/ 1757756 h 2634056"/>
                <a:gd name="connsiteX144" fmla="*/ 4652963 w 5553075"/>
                <a:gd name="connsiteY144" fmla="*/ 1814906 h 2634056"/>
                <a:gd name="connsiteX145" fmla="*/ 4681538 w 5553075"/>
                <a:gd name="connsiteY145" fmla="*/ 1848244 h 2634056"/>
                <a:gd name="connsiteX146" fmla="*/ 4767263 w 5553075"/>
                <a:gd name="connsiteY146" fmla="*/ 1891106 h 2634056"/>
                <a:gd name="connsiteX147" fmla="*/ 4776788 w 5553075"/>
                <a:gd name="connsiteY147" fmla="*/ 1967306 h 2634056"/>
                <a:gd name="connsiteX148" fmla="*/ 4705350 w 5553075"/>
                <a:gd name="connsiteY148" fmla="*/ 1938731 h 2634056"/>
                <a:gd name="connsiteX149" fmla="*/ 4695825 w 5553075"/>
                <a:gd name="connsiteY149" fmla="*/ 1972069 h 2634056"/>
                <a:gd name="connsiteX150" fmla="*/ 4743450 w 5553075"/>
                <a:gd name="connsiteY150" fmla="*/ 2014931 h 2634056"/>
                <a:gd name="connsiteX151" fmla="*/ 4776788 w 5553075"/>
                <a:gd name="connsiteY151" fmla="*/ 2033981 h 2634056"/>
                <a:gd name="connsiteX152" fmla="*/ 4810125 w 5553075"/>
                <a:gd name="connsiteY152" fmla="*/ 2010169 h 2634056"/>
                <a:gd name="connsiteX153" fmla="*/ 4843463 w 5553075"/>
                <a:gd name="connsiteY153" fmla="*/ 2024456 h 2634056"/>
                <a:gd name="connsiteX154" fmla="*/ 4838700 w 5553075"/>
                <a:gd name="connsiteY154" fmla="*/ 2095894 h 2634056"/>
                <a:gd name="connsiteX155" fmla="*/ 4972050 w 5553075"/>
                <a:gd name="connsiteY155" fmla="*/ 2191144 h 2634056"/>
                <a:gd name="connsiteX156" fmla="*/ 4995863 w 5553075"/>
                <a:gd name="connsiteY156" fmla="*/ 2167331 h 2634056"/>
                <a:gd name="connsiteX157" fmla="*/ 5081588 w 5553075"/>
                <a:gd name="connsiteY157" fmla="*/ 2186381 h 2634056"/>
                <a:gd name="connsiteX158" fmla="*/ 5124450 w 5553075"/>
                <a:gd name="connsiteY158" fmla="*/ 2253056 h 2634056"/>
                <a:gd name="connsiteX159" fmla="*/ 5248275 w 5553075"/>
                <a:gd name="connsiteY159" fmla="*/ 2295919 h 2634056"/>
                <a:gd name="connsiteX160" fmla="*/ 5281613 w 5553075"/>
                <a:gd name="connsiteY160" fmla="*/ 2362594 h 2634056"/>
                <a:gd name="connsiteX161" fmla="*/ 5276850 w 5553075"/>
                <a:gd name="connsiteY161" fmla="*/ 2443556 h 2634056"/>
                <a:gd name="connsiteX162" fmla="*/ 5353050 w 5553075"/>
                <a:gd name="connsiteY162" fmla="*/ 2514994 h 2634056"/>
                <a:gd name="connsiteX163" fmla="*/ 5438775 w 5553075"/>
                <a:gd name="connsiteY163" fmla="*/ 2534044 h 2634056"/>
                <a:gd name="connsiteX164" fmla="*/ 5486400 w 5553075"/>
                <a:gd name="connsiteY164" fmla="*/ 2595956 h 2634056"/>
                <a:gd name="connsiteX165" fmla="*/ 5553075 w 5553075"/>
                <a:gd name="connsiteY165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57163 w 5553075"/>
                <a:gd name="connsiteY6" fmla="*/ 605231 h 2634056"/>
                <a:gd name="connsiteX7" fmla="*/ 176213 w 5553075"/>
                <a:gd name="connsiteY7" fmla="*/ 567131 h 2634056"/>
                <a:gd name="connsiteX8" fmla="*/ 214313 w 5553075"/>
                <a:gd name="connsiteY8" fmla="*/ 533794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90588 w 5553075"/>
                <a:gd name="connsiteY27" fmla="*/ 257569 h 2634056"/>
                <a:gd name="connsiteX28" fmla="*/ 928688 w 5553075"/>
                <a:gd name="connsiteY28" fmla="*/ 271856 h 2634056"/>
                <a:gd name="connsiteX29" fmla="*/ 976313 w 5553075"/>
                <a:gd name="connsiteY29" fmla="*/ 286144 h 2634056"/>
                <a:gd name="connsiteX30" fmla="*/ 1019175 w 5553075"/>
                <a:gd name="connsiteY30" fmla="*/ 305194 h 2634056"/>
                <a:gd name="connsiteX31" fmla="*/ 1123950 w 5553075"/>
                <a:gd name="connsiteY31" fmla="*/ 276619 h 2634056"/>
                <a:gd name="connsiteX32" fmla="*/ 1128713 w 5553075"/>
                <a:gd name="connsiteY32" fmla="*/ 214706 h 2634056"/>
                <a:gd name="connsiteX33" fmla="*/ 1190625 w 5553075"/>
                <a:gd name="connsiteY33" fmla="*/ 243281 h 2634056"/>
                <a:gd name="connsiteX34" fmla="*/ 1252538 w 5553075"/>
                <a:gd name="connsiteY34" fmla="*/ 243281 h 2634056"/>
                <a:gd name="connsiteX35" fmla="*/ 1281113 w 5553075"/>
                <a:gd name="connsiteY35" fmla="*/ 209944 h 2634056"/>
                <a:gd name="connsiteX36" fmla="*/ 1276350 w 5553075"/>
                <a:gd name="connsiteY36" fmla="*/ 181369 h 2634056"/>
                <a:gd name="connsiteX37" fmla="*/ 1309688 w 5553075"/>
                <a:gd name="connsiteY37" fmla="*/ 162319 h 2634056"/>
                <a:gd name="connsiteX38" fmla="*/ 1328738 w 5553075"/>
                <a:gd name="connsiteY38" fmla="*/ 138506 h 2634056"/>
                <a:gd name="connsiteX39" fmla="*/ 1366838 w 5553075"/>
                <a:gd name="connsiteY39" fmla="*/ 152794 h 2634056"/>
                <a:gd name="connsiteX40" fmla="*/ 1400175 w 5553075"/>
                <a:gd name="connsiteY40" fmla="*/ 209944 h 2634056"/>
                <a:gd name="connsiteX41" fmla="*/ 1466850 w 5553075"/>
                <a:gd name="connsiteY41" fmla="*/ 181369 h 2634056"/>
                <a:gd name="connsiteX42" fmla="*/ 1511300 w 5553075"/>
                <a:gd name="connsiteY42" fmla="*/ 182956 h 2634056"/>
                <a:gd name="connsiteX43" fmla="*/ 1543050 w 5553075"/>
                <a:gd name="connsiteY43" fmla="*/ 157556 h 2634056"/>
                <a:gd name="connsiteX44" fmla="*/ 1649413 w 5553075"/>
                <a:gd name="connsiteY44" fmla="*/ 182956 h 2634056"/>
                <a:gd name="connsiteX45" fmla="*/ 1724025 w 5553075"/>
                <a:gd name="connsiteY45" fmla="*/ 133744 h 2634056"/>
                <a:gd name="connsiteX46" fmla="*/ 1776413 w 5553075"/>
                <a:gd name="connsiteY46" fmla="*/ 152794 h 2634056"/>
                <a:gd name="connsiteX47" fmla="*/ 1824038 w 5553075"/>
                <a:gd name="connsiteY47" fmla="*/ 124219 h 2634056"/>
                <a:gd name="connsiteX48" fmla="*/ 1795463 w 5553075"/>
                <a:gd name="connsiteY48" fmla="*/ 71831 h 2634056"/>
                <a:gd name="connsiteX49" fmla="*/ 1819275 w 5553075"/>
                <a:gd name="connsiteY49" fmla="*/ 28969 h 2634056"/>
                <a:gd name="connsiteX50" fmla="*/ 1881188 w 5553075"/>
                <a:gd name="connsiteY50" fmla="*/ 71831 h 2634056"/>
                <a:gd name="connsiteX51" fmla="*/ 1885950 w 5553075"/>
                <a:gd name="connsiteY51" fmla="*/ 94056 h 2634056"/>
                <a:gd name="connsiteX52" fmla="*/ 1919288 w 5553075"/>
                <a:gd name="connsiteY52" fmla="*/ 86119 h 2634056"/>
                <a:gd name="connsiteX53" fmla="*/ 1949450 w 5553075"/>
                <a:gd name="connsiteY53" fmla="*/ 62306 h 2634056"/>
                <a:gd name="connsiteX54" fmla="*/ 1952625 w 5553075"/>
                <a:gd name="connsiteY54" fmla="*/ 394 h 2634056"/>
                <a:gd name="connsiteX55" fmla="*/ 2000250 w 5553075"/>
                <a:gd name="connsiteY55" fmla="*/ 38494 h 2634056"/>
                <a:gd name="connsiteX56" fmla="*/ 2019300 w 5553075"/>
                <a:gd name="connsiteY56" fmla="*/ 90881 h 2634056"/>
                <a:gd name="connsiteX57" fmla="*/ 2057400 w 5553075"/>
                <a:gd name="connsiteY57" fmla="*/ 57544 h 2634056"/>
                <a:gd name="connsiteX58" fmla="*/ 2081213 w 5553075"/>
                <a:gd name="connsiteY58" fmla="*/ 81356 h 2634056"/>
                <a:gd name="connsiteX59" fmla="*/ 2109788 w 5553075"/>
                <a:gd name="connsiteY59" fmla="*/ 48019 h 2634056"/>
                <a:gd name="connsiteX60" fmla="*/ 2138363 w 5553075"/>
                <a:gd name="connsiteY60" fmla="*/ 76594 h 2634056"/>
                <a:gd name="connsiteX61" fmla="*/ 2181225 w 5553075"/>
                <a:gd name="connsiteY61" fmla="*/ 81356 h 2634056"/>
                <a:gd name="connsiteX62" fmla="*/ 2195513 w 5553075"/>
                <a:gd name="connsiteY62" fmla="*/ 57544 h 2634056"/>
                <a:gd name="connsiteX63" fmla="*/ 2219325 w 5553075"/>
                <a:gd name="connsiteY63" fmla="*/ 86119 h 2634056"/>
                <a:gd name="connsiteX64" fmla="*/ 2252663 w 5553075"/>
                <a:gd name="connsiteY64" fmla="*/ 52781 h 2634056"/>
                <a:gd name="connsiteX65" fmla="*/ 2286000 w 5553075"/>
                <a:gd name="connsiteY65" fmla="*/ 100406 h 2634056"/>
                <a:gd name="connsiteX66" fmla="*/ 2333625 w 5553075"/>
                <a:gd name="connsiteY66" fmla="*/ 62306 h 2634056"/>
                <a:gd name="connsiteX67" fmla="*/ 2393950 w 5553075"/>
                <a:gd name="connsiteY67" fmla="*/ 65481 h 2634056"/>
                <a:gd name="connsiteX68" fmla="*/ 2419350 w 5553075"/>
                <a:gd name="connsiteY68" fmla="*/ 57544 h 2634056"/>
                <a:gd name="connsiteX69" fmla="*/ 2419350 w 5553075"/>
                <a:gd name="connsiteY69" fmla="*/ 105169 h 2634056"/>
                <a:gd name="connsiteX70" fmla="*/ 2462213 w 5553075"/>
                <a:gd name="connsiteY70" fmla="*/ 90881 h 2634056"/>
                <a:gd name="connsiteX71" fmla="*/ 2524125 w 5553075"/>
                <a:gd name="connsiteY71" fmla="*/ 95644 h 2634056"/>
                <a:gd name="connsiteX72" fmla="*/ 2543175 w 5553075"/>
                <a:gd name="connsiteY72" fmla="*/ 71831 h 2634056"/>
                <a:gd name="connsiteX73" fmla="*/ 2609850 w 5553075"/>
                <a:gd name="connsiteY73" fmla="*/ 105169 h 2634056"/>
                <a:gd name="connsiteX74" fmla="*/ 2692400 w 5553075"/>
                <a:gd name="connsiteY74" fmla="*/ 78181 h 2634056"/>
                <a:gd name="connsiteX75" fmla="*/ 2700338 w 5553075"/>
                <a:gd name="connsiteY75" fmla="*/ 52781 h 2634056"/>
                <a:gd name="connsiteX76" fmla="*/ 2724150 w 5553075"/>
                <a:gd name="connsiteY76" fmla="*/ 86119 h 2634056"/>
                <a:gd name="connsiteX77" fmla="*/ 2814638 w 5553075"/>
                <a:gd name="connsiteY77" fmla="*/ 71831 h 2634056"/>
                <a:gd name="connsiteX78" fmla="*/ 2836863 w 5553075"/>
                <a:gd name="connsiteY78" fmla="*/ 135331 h 2634056"/>
                <a:gd name="connsiteX79" fmla="*/ 2828925 w 5553075"/>
                <a:gd name="connsiteY79" fmla="*/ 176606 h 2634056"/>
                <a:gd name="connsiteX80" fmla="*/ 2895600 w 5553075"/>
                <a:gd name="connsiteY80" fmla="*/ 152794 h 2634056"/>
                <a:gd name="connsiteX81" fmla="*/ 2895600 w 5553075"/>
                <a:gd name="connsiteY81" fmla="*/ 195656 h 2634056"/>
                <a:gd name="connsiteX82" fmla="*/ 2933700 w 5553075"/>
                <a:gd name="connsiteY82" fmla="*/ 238519 h 2634056"/>
                <a:gd name="connsiteX83" fmla="*/ 2933700 w 5553075"/>
                <a:gd name="connsiteY83" fmla="*/ 195656 h 2634056"/>
                <a:gd name="connsiteX84" fmla="*/ 2986088 w 5553075"/>
                <a:gd name="connsiteY84" fmla="*/ 224231 h 2634056"/>
                <a:gd name="connsiteX85" fmla="*/ 3000375 w 5553075"/>
                <a:gd name="connsiteY85" fmla="*/ 248044 h 2634056"/>
                <a:gd name="connsiteX86" fmla="*/ 3057525 w 5553075"/>
                <a:gd name="connsiteY86" fmla="*/ 295669 h 2634056"/>
                <a:gd name="connsiteX87" fmla="*/ 3086100 w 5553075"/>
                <a:gd name="connsiteY87" fmla="*/ 303606 h 2634056"/>
                <a:gd name="connsiteX88" fmla="*/ 3138488 w 5553075"/>
                <a:gd name="connsiteY88" fmla="*/ 371869 h 2634056"/>
                <a:gd name="connsiteX89" fmla="*/ 3190875 w 5553075"/>
                <a:gd name="connsiteY89" fmla="*/ 424256 h 2634056"/>
                <a:gd name="connsiteX90" fmla="*/ 3214688 w 5553075"/>
                <a:gd name="connsiteY90" fmla="*/ 467119 h 2634056"/>
                <a:gd name="connsiteX91" fmla="*/ 3257550 w 5553075"/>
                <a:gd name="connsiteY91" fmla="*/ 471881 h 2634056"/>
                <a:gd name="connsiteX92" fmla="*/ 3319463 w 5553075"/>
                <a:gd name="connsiteY92" fmla="*/ 529031 h 2634056"/>
                <a:gd name="connsiteX93" fmla="*/ 3281363 w 5553075"/>
                <a:gd name="connsiteY93" fmla="*/ 546494 h 2634056"/>
                <a:gd name="connsiteX94" fmla="*/ 3281363 w 5553075"/>
                <a:gd name="connsiteY94" fmla="*/ 567131 h 2634056"/>
                <a:gd name="connsiteX95" fmla="*/ 3319463 w 5553075"/>
                <a:gd name="connsiteY95" fmla="*/ 581419 h 2634056"/>
                <a:gd name="connsiteX96" fmla="*/ 3286125 w 5553075"/>
                <a:gd name="connsiteY96" fmla="*/ 633806 h 2634056"/>
                <a:gd name="connsiteX97" fmla="*/ 3352800 w 5553075"/>
                <a:gd name="connsiteY97" fmla="*/ 629044 h 2634056"/>
                <a:gd name="connsiteX98" fmla="*/ 3381375 w 5553075"/>
                <a:gd name="connsiteY98" fmla="*/ 667144 h 2634056"/>
                <a:gd name="connsiteX99" fmla="*/ 3419475 w 5553075"/>
                <a:gd name="connsiteY99" fmla="*/ 686194 h 2634056"/>
                <a:gd name="connsiteX100" fmla="*/ 3429000 w 5553075"/>
                <a:gd name="connsiteY100" fmla="*/ 714769 h 2634056"/>
                <a:gd name="connsiteX101" fmla="*/ 3429000 w 5553075"/>
                <a:gd name="connsiteY101" fmla="*/ 738581 h 2634056"/>
                <a:gd name="connsiteX102" fmla="*/ 3457575 w 5553075"/>
                <a:gd name="connsiteY102" fmla="*/ 805256 h 2634056"/>
                <a:gd name="connsiteX103" fmla="*/ 3514725 w 5553075"/>
                <a:gd name="connsiteY103" fmla="*/ 762394 h 2634056"/>
                <a:gd name="connsiteX104" fmla="*/ 3557588 w 5553075"/>
                <a:gd name="connsiteY104" fmla="*/ 752869 h 2634056"/>
                <a:gd name="connsiteX105" fmla="*/ 3595688 w 5553075"/>
                <a:gd name="connsiteY105" fmla="*/ 738581 h 2634056"/>
                <a:gd name="connsiteX106" fmla="*/ 3629025 w 5553075"/>
                <a:gd name="connsiteY106" fmla="*/ 700481 h 2634056"/>
                <a:gd name="connsiteX107" fmla="*/ 3648075 w 5553075"/>
                <a:gd name="connsiteY107" fmla="*/ 719531 h 2634056"/>
                <a:gd name="connsiteX108" fmla="*/ 3638550 w 5553075"/>
                <a:gd name="connsiteY108" fmla="*/ 757631 h 2634056"/>
                <a:gd name="connsiteX109" fmla="*/ 3657600 w 5553075"/>
                <a:gd name="connsiteY109" fmla="*/ 805256 h 2634056"/>
                <a:gd name="connsiteX110" fmla="*/ 3705225 w 5553075"/>
                <a:gd name="connsiteY110" fmla="*/ 805256 h 2634056"/>
                <a:gd name="connsiteX111" fmla="*/ 3771900 w 5553075"/>
                <a:gd name="connsiteY111" fmla="*/ 790969 h 2634056"/>
                <a:gd name="connsiteX112" fmla="*/ 3824288 w 5553075"/>
                <a:gd name="connsiteY112" fmla="*/ 767156 h 2634056"/>
                <a:gd name="connsiteX113" fmla="*/ 3814763 w 5553075"/>
                <a:gd name="connsiteY113" fmla="*/ 767156 h 2634056"/>
                <a:gd name="connsiteX114" fmla="*/ 3876675 w 5553075"/>
                <a:gd name="connsiteY114" fmla="*/ 776681 h 2634056"/>
                <a:gd name="connsiteX115" fmla="*/ 3929063 w 5553075"/>
                <a:gd name="connsiteY115" fmla="*/ 757631 h 2634056"/>
                <a:gd name="connsiteX116" fmla="*/ 3905250 w 5553075"/>
                <a:gd name="connsiteY116" fmla="*/ 805256 h 2634056"/>
                <a:gd name="connsiteX117" fmla="*/ 3914775 w 5553075"/>
                <a:gd name="connsiteY117" fmla="*/ 838594 h 2634056"/>
                <a:gd name="connsiteX118" fmla="*/ 3957638 w 5553075"/>
                <a:gd name="connsiteY118" fmla="*/ 805256 h 2634056"/>
                <a:gd name="connsiteX119" fmla="*/ 3986213 w 5553075"/>
                <a:gd name="connsiteY119" fmla="*/ 848119 h 2634056"/>
                <a:gd name="connsiteX120" fmla="*/ 4078288 w 5553075"/>
                <a:gd name="connsiteY120" fmla="*/ 895744 h 2634056"/>
                <a:gd name="connsiteX121" fmla="*/ 4071938 w 5553075"/>
                <a:gd name="connsiteY121" fmla="*/ 962419 h 2634056"/>
                <a:gd name="connsiteX122" fmla="*/ 4116388 w 5553075"/>
                <a:gd name="connsiteY122" fmla="*/ 1025919 h 2634056"/>
                <a:gd name="connsiteX123" fmla="*/ 4144963 w 5553075"/>
                <a:gd name="connsiteY123" fmla="*/ 1068781 h 2634056"/>
                <a:gd name="connsiteX124" fmla="*/ 4137025 w 5553075"/>
                <a:gd name="connsiteY124" fmla="*/ 1097356 h 2634056"/>
                <a:gd name="connsiteX125" fmla="*/ 4157663 w 5553075"/>
                <a:gd name="connsiteY125" fmla="*/ 1124344 h 2634056"/>
                <a:gd name="connsiteX126" fmla="*/ 4162425 w 5553075"/>
                <a:gd name="connsiteY126" fmla="*/ 1200544 h 2634056"/>
                <a:gd name="connsiteX127" fmla="*/ 4195763 w 5553075"/>
                <a:gd name="connsiteY127" fmla="*/ 1229119 h 2634056"/>
                <a:gd name="connsiteX128" fmla="*/ 4176713 w 5553075"/>
                <a:gd name="connsiteY128" fmla="*/ 1262456 h 2634056"/>
                <a:gd name="connsiteX129" fmla="*/ 4191000 w 5553075"/>
                <a:gd name="connsiteY129" fmla="*/ 1286269 h 2634056"/>
                <a:gd name="connsiteX130" fmla="*/ 4286250 w 5553075"/>
                <a:gd name="connsiteY130" fmla="*/ 1356119 h 2634056"/>
                <a:gd name="connsiteX131" fmla="*/ 4275138 w 5553075"/>
                <a:gd name="connsiteY131" fmla="*/ 1395806 h 2634056"/>
                <a:gd name="connsiteX132" fmla="*/ 4229100 w 5553075"/>
                <a:gd name="connsiteY132" fmla="*/ 1395806 h 2634056"/>
                <a:gd name="connsiteX133" fmla="*/ 4271963 w 5553075"/>
                <a:gd name="connsiteY133" fmla="*/ 1481531 h 2634056"/>
                <a:gd name="connsiteX134" fmla="*/ 4329113 w 5553075"/>
                <a:gd name="connsiteY134" fmla="*/ 1470419 h 2634056"/>
                <a:gd name="connsiteX135" fmla="*/ 4384675 w 5553075"/>
                <a:gd name="connsiteY135" fmla="*/ 1500581 h 2634056"/>
                <a:gd name="connsiteX136" fmla="*/ 4445000 w 5553075"/>
                <a:gd name="connsiteY136" fmla="*/ 1535506 h 2634056"/>
                <a:gd name="connsiteX137" fmla="*/ 4438650 w 5553075"/>
                <a:gd name="connsiteY137" fmla="*/ 1562494 h 2634056"/>
                <a:gd name="connsiteX138" fmla="*/ 4432300 w 5553075"/>
                <a:gd name="connsiteY138" fmla="*/ 1632344 h 2634056"/>
                <a:gd name="connsiteX139" fmla="*/ 4500563 w 5553075"/>
                <a:gd name="connsiteY139" fmla="*/ 1672031 h 2634056"/>
                <a:gd name="connsiteX140" fmla="*/ 4565650 w 5553075"/>
                <a:gd name="connsiteY140" fmla="*/ 1652981 h 2634056"/>
                <a:gd name="connsiteX141" fmla="*/ 4605338 w 5553075"/>
                <a:gd name="connsiteY141" fmla="*/ 1638694 h 2634056"/>
                <a:gd name="connsiteX142" fmla="*/ 4619625 w 5553075"/>
                <a:gd name="connsiteY142" fmla="*/ 1686319 h 2634056"/>
                <a:gd name="connsiteX143" fmla="*/ 4657725 w 5553075"/>
                <a:gd name="connsiteY143" fmla="*/ 1710131 h 2634056"/>
                <a:gd name="connsiteX144" fmla="*/ 4629150 w 5553075"/>
                <a:gd name="connsiteY144" fmla="*/ 1757756 h 2634056"/>
                <a:gd name="connsiteX145" fmla="*/ 4652963 w 5553075"/>
                <a:gd name="connsiteY145" fmla="*/ 1814906 h 2634056"/>
                <a:gd name="connsiteX146" fmla="*/ 4681538 w 5553075"/>
                <a:gd name="connsiteY146" fmla="*/ 1848244 h 2634056"/>
                <a:gd name="connsiteX147" fmla="*/ 4767263 w 5553075"/>
                <a:gd name="connsiteY147" fmla="*/ 1891106 h 2634056"/>
                <a:gd name="connsiteX148" fmla="*/ 4776788 w 5553075"/>
                <a:gd name="connsiteY148" fmla="*/ 1967306 h 2634056"/>
                <a:gd name="connsiteX149" fmla="*/ 4705350 w 5553075"/>
                <a:gd name="connsiteY149" fmla="*/ 1938731 h 2634056"/>
                <a:gd name="connsiteX150" fmla="*/ 4695825 w 5553075"/>
                <a:gd name="connsiteY150" fmla="*/ 1972069 h 2634056"/>
                <a:gd name="connsiteX151" fmla="*/ 4743450 w 5553075"/>
                <a:gd name="connsiteY151" fmla="*/ 2014931 h 2634056"/>
                <a:gd name="connsiteX152" fmla="*/ 4776788 w 5553075"/>
                <a:gd name="connsiteY152" fmla="*/ 2033981 h 2634056"/>
                <a:gd name="connsiteX153" fmla="*/ 4810125 w 5553075"/>
                <a:gd name="connsiteY153" fmla="*/ 2010169 h 2634056"/>
                <a:gd name="connsiteX154" fmla="*/ 4843463 w 5553075"/>
                <a:gd name="connsiteY154" fmla="*/ 2024456 h 2634056"/>
                <a:gd name="connsiteX155" fmla="*/ 4838700 w 5553075"/>
                <a:gd name="connsiteY155" fmla="*/ 2095894 h 2634056"/>
                <a:gd name="connsiteX156" fmla="*/ 4972050 w 5553075"/>
                <a:gd name="connsiteY156" fmla="*/ 2191144 h 2634056"/>
                <a:gd name="connsiteX157" fmla="*/ 4995863 w 5553075"/>
                <a:gd name="connsiteY157" fmla="*/ 2167331 h 2634056"/>
                <a:gd name="connsiteX158" fmla="*/ 5081588 w 5553075"/>
                <a:gd name="connsiteY158" fmla="*/ 2186381 h 2634056"/>
                <a:gd name="connsiteX159" fmla="*/ 5124450 w 5553075"/>
                <a:gd name="connsiteY159" fmla="*/ 2253056 h 2634056"/>
                <a:gd name="connsiteX160" fmla="*/ 5248275 w 5553075"/>
                <a:gd name="connsiteY160" fmla="*/ 2295919 h 2634056"/>
                <a:gd name="connsiteX161" fmla="*/ 5281613 w 5553075"/>
                <a:gd name="connsiteY161" fmla="*/ 2362594 h 2634056"/>
                <a:gd name="connsiteX162" fmla="*/ 5276850 w 5553075"/>
                <a:gd name="connsiteY162" fmla="*/ 2443556 h 2634056"/>
                <a:gd name="connsiteX163" fmla="*/ 5353050 w 5553075"/>
                <a:gd name="connsiteY163" fmla="*/ 2514994 h 2634056"/>
                <a:gd name="connsiteX164" fmla="*/ 5438775 w 5553075"/>
                <a:gd name="connsiteY164" fmla="*/ 2534044 h 2634056"/>
                <a:gd name="connsiteX165" fmla="*/ 5486400 w 5553075"/>
                <a:gd name="connsiteY165" fmla="*/ 2595956 h 2634056"/>
                <a:gd name="connsiteX166" fmla="*/ 5553075 w 5553075"/>
                <a:gd name="connsiteY166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57163 w 5553075"/>
                <a:gd name="connsiteY6" fmla="*/ 605231 h 2634056"/>
                <a:gd name="connsiteX7" fmla="*/ 176213 w 5553075"/>
                <a:gd name="connsiteY7" fmla="*/ 567131 h 2634056"/>
                <a:gd name="connsiteX8" fmla="*/ 214313 w 5553075"/>
                <a:gd name="connsiteY8" fmla="*/ 533794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90588 w 5553075"/>
                <a:gd name="connsiteY27" fmla="*/ 257569 h 2634056"/>
                <a:gd name="connsiteX28" fmla="*/ 928688 w 5553075"/>
                <a:gd name="connsiteY28" fmla="*/ 271856 h 2634056"/>
                <a:gd name="connsiteX29" fmla="*/ 976313 w 5553075"/>
                <a:gd name="connsiteY29" fmla="*/ 286144 h 2634056"/>
                <a:gd name="connsiteX30" fmla="*/ 1019175 w 5553075"/>
                <a:gd name="connsiteY30" fmla="*/ 305194 h 2634056"/>
                <a:gd name="connsiteX31" fmla="*/ 1123950 w 5553075"/>
                <a:gd name="connsiteY31" fmla="*/ 276619 h 2634056"/>
                <a:gd name="connsiteX32" fmla="*/ 1128713 w 5553075"/>
                <a:gd name="connsiteY32" fmla="*/ 214706 h 2634056"/>
                <a:gd name="connsiteX33" fmla="*/ 1190625 w 5553075"/>
                <a:gd name="connsiteY33" fmla="*/ 243281 h 2634056"/>
                <a:gd name="connsiteX34" fmla="*/ 1252538 w 5553075"/>
                <a:gd name="connsiteY34" fmla="*/ 243281 h 2634056"/>
                <a:gd name="connsiteX35" fmla="*/ 1281113 w 5553075"/>
                <a:gd name="connsiteY35" fmla="*/ 209944 h 2634056"/>
                <a:gd name="connsiteX36" fmla="*/ 1276350 w 5553075"/>
                <a:gd name="connsiteY36" fmla="*/ 181369 h 2634056"/>
                <a:gd name="connsiteX37" fmla="*/ 1309688 w 5553075"/>
                <a:gd name="connsiteY37" fmla="*/ 162319 h 2634056"/>
                <a:gd name="connsiteX38" fmla="*/ 1328738 w 5553075"/>
                <a:gd name="connsiteY38" fmla="*/ 138506 h 2634056"/>
                <a:gd name="connsiteX39" fmla="*/ 1366838 w 5553075"/>
                <a:gd name="connsiteY39" fmla="*/ 152794 h 2634056"/>
                <a:gd name="connsiteX40" fmla="*/ 1400175 w 5553075"/>
                <a:gd name="connsiteY40" fmla="*/ 209944 h 2634056"/>
                <a:gd name="connsiteX41" fmla="*/ 1466850 w 5553075"/>
                <a:gd name="connsiteY41" fmla="*/ 181369 h 2634056"/>
                <a:gd name="connsiteX42" fmla="*/ 1511300 w 5553075"/>
                <a:gd name="connsiteY42" fmla="*/ 182956 h 2634056"/>
                <a:gd name="connsiteX43" fmla="*/ 1543050 w 5553075"/>
                <a:gd name="connsiteY43" fmla="*/ 157556 h 2634056"/>
                <a:gd name="connsiteX44" fmla="*/ 1649413 w 5553075"/>
                <a:gd name="connsiteY44" fmla="*/ 182956 h 2634056"/>
                <a:gd name="connsiteX45" fmla="*/ 1724025 w 5553075"/>
                <a:gd name="connsiteY45" fmla="*/ 133744 h 2634056"/>
                <a:gd name="connsiteX46" fmla="*/ 1776413 w 5553075"/>
                <a:gd name="connsiteY46" fmla="*/ 152794 h 2634056"/>
                <a:gd name="connsiteX47" fmla="*/ 1824038 w 5553075"/>
                <a:gd name="connsiteY47" fmla="*/ 124219 h 2634056"/>
                <a:gd name="connsiteX48" fmla="*/ 1795463 w 5553075"/>
                <a:gd name="connsiteY48" fmla="*/ 71831 h 2634056"/>
                <a:gd name="connsiteX49" fmla="*/ 1819275 w 5553075"/>
                <a:gd name="connsiteY49" fmla="*/ 28969 h 2634056"/>
                <a:gd name="connsiteX50" fmla="*/ 1881188 w 5553075"/>
                <a:gd name="connsiteY50" fmla="*/ 71831 h 2634056"/>
                <a:gd name="connsiteX51" fmla="*/ 1885950 w 5553075"/>
                <a:gd name="connsiteY51" fmla="*/ 94056 h 2634056"/>
                <a:gd name="connsiteX52" fmla="*/ 1919288 w 5553075"/>
                <a:gd name="connsiteY52" fmla="*/ 86119 h 2634056"/>
                <a:gd name="connsiteX53" fmla="*/ 1949450 w 5553075"/>
                <a:gd name="connsiteY53" fmla="*/ 62306 h 2634056"/>
                <a:gd name="connsiteX54" fmla="*/ 1952625 w 5553075"/>
                <a:gd name="connsiteY54" fmla="*/ 394 h 2634056"/>
                <a:gd name="connsiteX55" fmla="*/ 2000250 w 5553075"/>
                <a:gd name="connsiteY55" fmla="*/ 38494 h 2634056"/>
                <a:gd name="connsiteX56" fmla="*/ 2019300 w 5553075"/>
                <a:gd name="connsiteY56" fmla="*/ 90881 h 2634056"/>
                <a:gd name="connsiteX57" fmla="*/ 2057400 w 5553075"/>
                <a:gd name="connsiteY57" fmla="*/ 57544 h 2634056"/>
                <a:gd name="connsiteX58" fmla="*/ 2081213 w 5553075"/>
                <a:gd name="connsiteY58" fmla="*/ 81356 h 2634056"/>
                <a:gd name="connsiteX59" fmla="*/ 2109788 w 5553075"/>
                <a:gd name="connsiteY59" fmla="*/ 48019 h 2634056"/>
                <a:gd name="connsiteX60" fmla="*/ 2138363 w 5553075"/>
                <a:gd name="connsiteY60" fmla="*/ 76594 h 2634056"/>
                <a:gd name="connsiteX61" fmla="*/ 2181225 w 5553075"/>
                <a:gd name="connsiteY61" fmla="*/ 81356 h 2634056"/>
                <a:gd name="connsiteX62" fmla="*/ 2195513 w 5553075"/>
                <a:gd name="connsiteY62" fmla="*/ 57544 h 2634056"/>
                <a:gd name="connsiteX63" fmla="*/ 2219325 w 5553075"/>
                <a:gd name="connsiteY63" fmla="*/ 86119 h 2634056"/>
                <a:gd name="connsiteX64" fmla="*/ 2252663 w 5553075"/>
                <a:gd name="connsiteY64" fmla="*/ 52781 h 2634056"/>
                <a:gd name="connsiteX65" fmla="*/ 2286000 w 5553075"/>
                <a:gd name="connsiteY65" fmla="*/ 100406 h 2634056"/>
                <a:gd name="connsiteX66" fmla="*/ 2333625 w 5553075"/>
                <a:gd name="connsiteY66" fmla="*/ 62306 h 2634056"/>
                <a:gd name="connsiteX67" fmla="*/ 2393950 w 5553075"/>
                <a:gd name="connsiteY67" fmla="*/ 65481 h 2634056"/>
                <a:gd name="connsiteX68" fmla="*/ 2419350 w 5553075"/>
                <a:gd name="connsiteY68" fmla="*/ 57544 h 2634056"/>
                <a:gd name="connsiteX69" fmla="*/ 2419350 w 5553075"/>
                <a:gd name="connsiteY69" fmla="*/ 105169 h 2634056"/>
                <a:gd name="connsiteX70" fmla="*/ 2462213 w 5553075"/>
                <a:gd name="connsiteY70" fmla="*/ 90881 h 2634056"/>
                <a:gd name="connsiteX71" fmla="*/ 2524125 w 5553075"/>
                <a:gd name="connsiteY71" fmla="*/ 95644 h 2634056"/>
                <a:gd name="connsiteX72" fmla="*/ 2543175 w 5553075"/>
                <a:gd name="connsiteY72" fmla="*/ 71831 h 2634056"/>
                <a:gd name="connsiteX73" fmla="*/ 2609850 w 5553075"/>
                <a:gd name="connsiteY73" fmla="*/ 105169 h 2634056"/>
                <a:gd name="connsiteX74" fmla="*/ 2692400 w 5553075"/>
                <a:gd name="connsiteY74" fmla="*/ 78181 h 2634056"/>
                <a:gd name="connsiteX75" fmla="*/ 2716213 w 5553075"/>
                <a:gd name="connsiteY75" fmla="*/ 55956 h 2634056"/>
                <a:gd name="connsiteX76" fmla="*/ 2724150 w 5553075"/>
                <a:gd name="connsiteY76" fmla="*/ 86119 h 2634056"/>
                <a:gd name="connsiteX77" fmla="*/ 2814638 w 5553075"/>
                <a:gd name="connsiteY77" fmla="*/ 71831 h 2634056"/>
                <a:gd name="connsiteX78" fmla="*/ 2836863 w 5553075"/>
                <a:gd name="connsiteY78" fmla="*/ 135331 h 2634056"/>
                <a:gd name="connsiteX79" fmla="*/ 2828925 w 5553075"/>
                <a:gd name="connsiteY79" fmla="*/ 176606 h 2634056"/>
                <a:gd name="connsiteX80" fmla="*/ 2895600 w 5553075"/>
                <a:gd name="connsiteY80" fmla="*/ 152794 h 2634056"/>
                <a:gd name="connsiteX81" fmla="*/ 2895600 w 5553075"/>
                <a:gd name="connsiteY81" fmla="*/ 195656 h 2634056"/>
                <a:gd name="connsiteX82" fmla="*/ 2933700 w 5553075"/>
                <a:gd name="connsiteY82" fmla="*/ 238519 h 2634056"/>
                <a:gd name="connsiteX83" fmla="*/ 2933700 w 5553075"/>
                <a:gd name="connsiteY83" fmla="*/ 195656 h 2634056"/>
                <a:gd name="connsiteX84" fmla="*/ 2986088 w 5553075"/>
                <a:gd name="connsiteY84" fmla="*/ 224231 h 2634056"/>
                <a:gd name="connsiteX85" fmla="*/ 3000375 w 5553075"/>
                <a:gd name="connsiteY85" fmla="*/ 248044 h 2634056"/>
                <a:gd name="connsiteX86" fmla="*/ 3057525 w 5553075"/>
                <a:gd name="connsiteY86" fmla="*/ 295669 h 2634056"/>
                <a:gd name="connsiteX87" fmla="*/ 3086100 w 5553075"/>
                <a:gd name="connsiteY87" fmla="*/ 303606 h 2634056"/>
                <a:gd name="connsiteX88" fmla="*/ 3138488 w 5553075"/>
                <a:gd name="connsiteY88" fmla="*/ 371869 h 2634056"/>
                <a:gd name="connsiteX89" fmla="*/ 3190875 w 5553075"/>
                <a:gd name="connsiteY89" fmla="*/ 424256 h 2634056"/>
                <a:gd name="connsiteX90" fmla="*/ 3214688 w 5553075"/>
                <a:gd name="connsiteY90" fmla="*/ 467119 h 2634056"/>
                <a:gd name="connsiteX91" fmla="*/ 3257550 w 5553075"/>
                <a:gd name="connsiteY91" fmla="*/ 471881 h 2634056"/>
                <a:gd name="connsiteX92" fmla="*/ 3319463 w 5553075"/>
                <a:gd name="connsiteY92" fmla="*/ 529031 h 2634056"/>
                <a:gd name="connsiteX93" fmla="*/ 3281363 w 5553075"/>
                <a:gd name="connsiteY93" fmla="*/ 546494 h 2634056"/>
                <a:gd name="connsiteX94" fmla="*/ 3281363 w 5553075"/>
                <a:gd name="connsiteY94" fmla="*/ 567131 h 2634056"/>
                <a:gd name="connsiteX95" fmla="*/ 3319463 w 5553075"/>
                <a:gd name="connsiteY95" fmla="*/ 581419 h 2634056"/>
                <a:gd name="connsiteX96" fmla="*/ 3286125 w 5553075"/>
                <a:gd name="connsiteY96" fmla="*/ 633806 h 2634056"/>
                <a:gd name="connsiteX97" fmla="*/ 3352800 w 5553075"/>
                <a:gd name="connsiteY97" fmla="*/ 629044 h 2634056"/>
                <a:gd name="connsiteX98" fmla="*/ 3381375 w 5553075"/>
                <a:gd name="connsiteY98" fmla="*/ 667144 h 2634056"/>
                <a:gd name="connsiteX99" fmla="*/ 3419475 w 5553075"/>
                <a:gd name="connsiteY99" fmla="*/ 686194 h 2634056"/>
                <a:gd name="connsiteX100" fmla="*/ 3429000 w 5553075"/>
                <a:gd name="connsiteY100" fmla="*/ 714769 h 2634056"/>
                <a:gd name="connsiteX101" fmla="*/ 3429000 w 5553075"/>
                <a:gd name="connsiteY101" fmla="*/ 738581 h 2634056"/>
                <a:gd name="connsiteX102" fmla="*/ 3457575 w 5553075"/>
                <a:gd name="connsiteY102" fmla="*/ 805256 h 2634056"/>
                <a:gd name="connsiteX103" fmla="*/ 3514725 w 5553075"/>
                <a:gd name="connsiteY103" fmla="*/ 762394 h 2634056"/>
                <a:gd name="connsiteX104" fmla="*/ 3557588 w 5553075"/>
                <a:gd name="connsiteY104" fmla="*/ 752869 h 2634056"/>
                <a:gd name="connsiteX105" fmla="*/ 3595688 w 5553075"/>
                <a:gd name="connsiteY105" fmla="*/ 738581 h 2634056"/>
                <a:gd name="connsiteX106" fmla="*/ 3629025 w 5553075"/>
                <a:gd name="connsiteY106" fmla="*/ 700481 h 2634056"/>
                <a:gd name="connsiteX107" fmla="*/ 3648075 w 5553075"/>
                <a:gd name="connsiteY107" fmla="*/ 719531 h 2634056"/>
                <a:gd name="connsiteX108" fmla="*/ 3638550 w 5553075"/>
                <a:gd name="connsiteY108" fmla="*/ 757631 h 2634056"/>
                <a:gd name="connsiteX109" fmla="*/ 3657600 w 5553075"/>
                <a:gd name="connsiteY109" fmla="*/ 805256 h 2634056"/>
                <a:gd name="connsiteX110" fmla="*/ 3705225 w 5553075"/>
                <a:gd name="connsiteY110" fmla="*/ 805256 h 2634056"/>
                <a:gd name="connsiteX111" fmla="*/ 3771900 w 5553075"/>
                <a:gd name="connsiteY111" fmla="*/ 790969 h 2634056"/>
                <a:gd name="connsiteX112" fmla="*/ 3824288 w 5553075"/>
                <a:gd name="connsiteY112" fmla="*/ 767156 h 2634056"/>
                <a:gd name="connsiteX113" fmla="*/ 3814763 w 5553075"/>
                <a:gd name="connsiteY113" fmla="*/ 767156 h 2634056"/>
                <a:gd name="connsiteX114" fmla="*/ 3876675 w 5553075"/>
                <a:gd name="connsiteY114" fmla="*/ 776681 h 2634056"/>
                <a:gd name="connsiteX115" fmla="*/ 3929063 w 5553075"/>
                <a:gd name="connsiteY115" fmla="*/ 757631 h 2634056"/>
                <a:gd name="connsiteX116" fmla="*/ 3905250 w 5553075"/>
                <a:gd name="connsiteY116" fmla="*/ 805256 h 2634056"/>
                <a:gd name="connsiteX117" fmla="*/ 3914775 w 5553075"/>
                <a:gd name="connsiteY117" fmla="*/ 838594 h 2634056"/>
                <a:gd name="connsiteX118" fmla="*/ 3957638 w 5553075"/>
                <a:gd name="connsiteY118" fmla="*/ 805256 h 2634056"/>
                <a:gd name="connsiteX119" fmla="*/ 3986213 w 5553075"/>
                <a:gd name="connsiteY119" fmla="*/ 848119 h 2634056"/>
                <a:gd name="connsiteX120" fmla="*/ 4078288 w 5553075"/>
                <a:gd name="connsiteY120" fmla="*/ 895744 h 2634056"/>
                <a:gd name="connsiteX121" fmla="*/ 4071938 w 5553075"/>
                <a:gd name="connsiteY121" fmla="*/ 962419 h 2634056"/>
                <a:gd name="connsiteX122" fmla="*/ 4116388 w 5553075"/>
                <a:gd name="connsiteY122" fmla="*/ 1025919 h 2634056"/>
                <a:gd name="connsiteX123" fmla="*/ 4144963 w 5553075"/>
                <a:gd name="connsiteY123" fmla="*/ 1068781 h 2634056"/>
                <a:gd name="connsiteX124" fmla="*/ 4137025 w 5553075"/>
                <a:gd name="connsiteY124" fmla="*/ 1097356 h 2634056"/>
                <a:gd name="connsiteX125" fmla="*/ 4157663 w 5553075"/>
                <a:gd name="connsiteY125" fmla="*/ 1124344 h 2634056"/>
                <a:gd name="connsiteX126" fmla="*/ 4162425 w 5553075"/>
                <a:gd name="connsiteY126" fmla="*/ 1200544 h 2634056"/>
                <a:gd name="connsiteX127" fmla="*/ 4195763 w 5553075"/>
                <a:gd name="connsiteY127" fmla="*/ 1229119 h 2634056"/>
                <a:gd name="connsiteX128" fmla="*/ 4176713 w 5553075"/>
                <a:gd name="connsiteY128" fmla="*/ 1262456 h 2634056"/>
                <a:gd name="connsiteX129" fmla="*/ 4191000 w 5553075"/>
                <a:gd name="connsiteY129" fmla="*/ 1286269 h 2634056"/>
                <a:gd name="connsiteX130" fmla="*/ 4286250 w 5553075"/>
                <a:gd name="connsiteY130" fmla="*/ 1356119 h 2634056"/>
                <a:gd name="connsiteX131" fmla="*/ 4275138 w 5553075"/>
                <a:gd name="connsiteY131" fmla="*/ 1395806 h 2634056"/>
                <a:gd name="connsiteX132" fmla="*/ 4229100 w 5553075"/>
                <a:gd name="connsiteY132" fmla="*/ 1395806 h 2634056"/>
                <a:gd name="connsiteX133" fmla="*/ 4271963 w 5553075"/>
                <a:gd name="connsiteY133" fmla="*/ 1481531 h 2634056"/>
                <a:gd name="connsiteX134" fmla="*/ 4329113 w 5553075"/>
                <a:gd name="connsiteY134" fmla="*/ 1470419 h 2634056"/>
                <a:gd name="connsiteX135" fmla="*/ 4384675 w 5553075"/>
                <a:gd name="connsiteY135" fmla="*/ 1500581 h 2634056"/>
                <a:gd name="connsiteX136" fmla="*/ 4445000 w 5553075"/>
                <a:gd name="connsiteY136" fmla="*/ 1535506 h 2634056"/>
                <a:gd name="connsiteX137" fmla="*/ 4438650 w 5553075"/>
                <a:gd name="connsiteY137" fmla="*/ 1562494 h 2634056"/>
                <a:gd name="connsiteX138" fmla="*/ 4432300 w 5553075"/>
                <a:gd name="connsiteY138" fmla="*/ 1632344 h 2634056"/>
                <a:gd name="connsiteX139" fmla="*/ 4500563 w 5553075"/>
                <a:gd name="connsiteY139" fmla="*/ 1672031 h 2634056"/>
                <a:gd name="connsiteX140" fmla="*/ 4565650 w 5553075"/>
                <a:gd name="connsiteY140" fmla="*/ 1652981 h 2634056"/>
                <a:gd name="connsiteX141" fmla="*/ 4605338 w 5553075"/>
                <a:gd name="connsiteY141" fmla="*/ 1638694 h 2634056"/>
                <a:gd name="connsiteX142" fmla="*/ 4619625 w 5553075"/>
                <a:gd name="connsiteY142" fmla="*/ 1686319 h 2634056"/>
                <a:gd name="connsiteX143" fmla="*/ 4657725 w 5553075"/>
                <a:gd name="connsiteY143" fmla="*/ 1710131 h 2634056"/>
                <a:gd name="connsiteX144" fmla="*/ 4629150 w 5553075"/>
                <a:gd name="connsiteY144" fmla="*/ 1757756 h 2634056"/>
                <a:gd name="connsiteX145" fmla="*/ 4652963 w 5553075"/>
                <a:gd name="connsiteY145" fmla="*/ 1814906 h 2634056"/>
                <a:gd name="connsiteX146" fmla="*/ 4681538 w 5553075"/>
                <a:gd name="connsiteY146" fmla="*/ 1848244 h 2634056"/>
                <a:gd name="connsiteX147" fmla="*/ 4767263 w 5553075"/>
                <a:gd name="connsiteY147" fmla="*/ 1891106 h 2634056"/>
                <a:gd name="connsiteX148" fmla="*/ 4776788 w 5553075"/>
                <a:gd name="connsiteY148" fmla="*/ 1967306 h 2634056"/>
                <a:gd name="connsiteX149" fmla="*/ 4705350 w 5553075"/>
                <a:gd name="connsiteY149" fmla="*/ 1938731 h 2634056"/>
                <a:gd name="connsiteX150" fmla="*/ 4695825 w 5553075"/>
                <a:gd name="connsiteY150" fmla="*/ 1972069 h 2634056"/>
                <a:gd name="connsiteX151" fmla="*/ 4743450 w 5553075"/>
                <a:gd name="connsiteY151" fmla="*/ 2014931 h 2634056"/>
                <a:gd name="connsiteX152" fmla="*/ 4776788 w 5553075"/>
                <a:gd name="connsiteY152" fmla="*/ 2033981 h 2634056"/>
                <a:gd name="connsiteX153" fmla="*/ 4810125 w 5553075"/>
                <a:gd name="connsiteY153" fmla="*/ 2010169 h 2634056"/>
                <a:gd name="connsiteX154" fmla="*/ 4843463 w 5553075"/>
                <a:gd name="connsiteY154" fmla="*/ 2024456 h 2634056"/>
                <a:gd name="connsiteX155" fmla="*/ 4838700 w 5553075"/>
                <a:gd name="connsiteY155" fmla="*/ 2095894 h 2634056"/>
                <a:gd name="connsiteX156" fmla="*/ 4972050 w 5553075"/>
                <a:gd name="connsiteY156" fmla="*/ 2191144 h 2634056"/>
                <a:gd name="connsiteX157" fmla="*/ 4995863 w 5553075"/>
                <a:gd name="connsiteY157" fmla="*/ 2167331 h 2634056"/>
                <a:gd name="connsiteX158" fmla="*/ 5081588 w 5553075"/>
                <a:gd name="connsiteY158" fmla="*/ 2186381 h 2634056"/>
                <a:gd name="connsiteX159" fmla="*/ 5124450 w 5553075"/>
                <a:gd name="connsiteY159" fmla="*/ 2253056 h 2634056"/>
                <a:gd name="connsiteX160" fmla="*/ 5248275 w 5553075"/>
                <a:gd name="connsiteY160" fmla="*/ 2295919 h 2634056"/>
                <a:gd name="connsiteX161" fmla="*/ 5281613 w 5553075"/>
                <a:gd name="connsiteY161" fmla="*/ 2362594 h 2634056"/>
                <a:gd name="connsiteX162" fmla="*/ 5276850 w 5553075"/>
                <a:gd name="connsiteY162" fmla="*/ 2443556 h 2634056"/>
                <a:gd name="connsiteX163" fmla="*/ 5353050 w 5553075"/>
                <a:gd name="connsiteY163" fmla="*/ 2514994 h 2634056"/>
                <a:gd name="connsiteX164" fmla="*/ 5438775 w 5553075"/>
                <a:gd name="connsiteY164" fmla="*/ 2534044 h 2634056"/>
                <a:gd name="connsiteX165" fmla="*/ 5486400 w 5553075"/>
                <a:gd name="connsiteY165" fmla="*/ 2595956 h 2634056"/>
                <a:gd name="connsiteX166" fmla="*/ 5553075 w 5553075"/>
                <a:gd name="connsiteY166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57163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90588 w 5553075"/>
                <a:gd name="connsiteY27" fmla="*/ 257569 h 2634056"/>
                <a:gd name="connsiteX28" fmla="*/ 928688 w 5553075"/>
                <a:gd name="connsiteY28" fmla="*/ 271856 h 2634056"/>
                <a:gd name="connsiteX29" fmla="*/ 976313 w 5553075"/>
                <a:gd name="connsiteY29" fmla="*/ 286144 h 2634056"/>
                <a:gd name="connsiteX30" fmla="*/ 1019175 w 5553075"/>
                <a:gd name="connsiteY30" fmla="*/ 305194 h 2634056"/>
                <a:gd name="connsiteX31" fmla="*/ 1123950 w 5553075"/>
                <a:gd name="connsiteY31" fmla="*/ 276619 h 2634056"/>
                <a:gd name="connsiteX32" fmla="*/ 1128713 w 5553075"/>
                <a:gd name="connsiteY32" fmla="*/ 214706 h 2634056"/>
                <a:gd name="connsiteX33" fmla="*/ 1190625 w 5553075"/>
                <a:gd name="connsiteY33" fmla="*/ 243281 h 2634056"/>
                <a:gd name="connsiteX34" fmla="*/ 1252538 w 5553075"/>
                <a:gd name="connsiteY34" fmla="*/ 243281 h 2634056"/>
                <a:gd name="connsiteX35" fmla="*/ 1281113 w 5553075"/>
                <a:gd name="connsiteY35" fmla="*/ 209944 h 2634056"/>
                <a:gd name="connsiteX36" fmla="*/ 1276350 w 5553075"/>
                <a:gd name="connsiteY36" fmla="*/ 181369 h 2634056"/>
                <a:gd name="connsiteX37" fmla="*/ 1309688 w 5553075"/>
                <a:gd name="connsiteY37" fmla="*/ 162319 h 2634056"/>
                <a:gd name="connsiteX38" fmla="*/ 1328738 w 5553075"/>
                <a:gd name="connsiteY38" fmla="*/ 138506 h 2634056"/>
                <a:gd name="connsiteX39" fmla="*/ 1366838 w 5553075"/>
                <a:gd name="connsiteY39" fmla="*/ 152794 h 2634056"/>
                <a:gd name="connsiteX40" fmla="*/ 1400175 w 5553075"/>
                <a:gd name="connsiteY40" fmla="*/ 209944 h 2634056"/>
                <a:gd name="connsiteX41" fmla="*/ 1466850 w 5553075"/>
                <a:gd name="connsiteY41" fmla="*/ 181369 h 2634056"/>
                <a:gd name="connsiteX42" fmla="*/ 1511300 w 5553075"/>
                <a:gd name="connsiteY42" fmla="*/ 182956 h 2634056"/>
                <a:gd name="connsiteX43" fmla="*/ 1543050 w 5553075"/>
                <a:gd name="connsiteY43" fmla="*/ 157556 h 2634056"/>
                <a:gd name="connsiteX44" fmla="*/ 1649413 w 5553075"/>
                <a:gd name="connsiteY44" fmla="*/ 182956 h 2634056"/>
                <a:gd name="connsiteX45" fmla="*/ 1724025 w 5553075"/>
                <a:gd name="connsiteY45" fmla="*/ 133744 h 2634056"/>
                <a:gd name="connsiteX46" fmla="*/ 1776413 w 5553075"/>
                <a:gd name="connsiteY46" fmla="*/ 152794 h 2634056"/>
                <a:gd name="connsiteX47" fmla="*/ 1824038 w 5553075"/>
                <a:gd name="connsiteY47" fmla="*/ 124219 h 2634056"/>
                <a:gd name="connsiteX48" fmla="*/ 1795463 w 5553075"/>
                <a:gd name="connsiteY48" fmla="*/ 71831 h 2634056"/>
                <a:gd name="connsiteX49" fmla="*/ 1819275 w 5553075"/>
                <a:gd name="connsiteY49" fmla="*/ 28969 h 2634056"/>
                <a:gd name="connsiteX50" fmla="*/ 1881188 w 5553075"/>
                <a:gd name="connsiteY50" fmla="*/ 71831 h 2634056"/>
                <a:gd name="connsiteX51" fmla="*/ 1885950 w 5553075"/>
                <a:gd name="connsiteY51" fmla="*/ 94056 h 2634056"/>
                <a:gd name="connsiteX52" fmla="*/ 1919288 w 5553075"/>
                <a:gd name="connsiteY52" fmla="*/ 86119 h 2634056"/>
                <a:gd name="connsiteX53" fmla="*/ 1949450 w 5553075"/>
                <a:gd name="connsiteY53" fmla="*/ 62306 h 2634056"/>
                <a:gd name="connsiteX54" fmla="*/ 1952625 w 5553075"/>
                <a:gd name="connsiteY54" fmla="*/ 394 h 2634056"/>
                <a:gd name="connsiteX55" fmla="*/ 2000250 w 5553075"/>
                <a:gd name="connsiteY55" fmla="*/ 38494 h 2634056"/>
                <a:gd name="connsiteX56" fmla="*/ 2019300 w 5553075"/>
                <a:gd name="connsiteY56" fmla="*/ 90881 h 2634056"/>
                <a:gd name="connsiteX57" fmla="*/ 2057400 w 5553075"/>
                <a:gd name="connsiteY57" fmla="*/ 57544 h 2634056"/>
                <a:gd name="connsiteX58" fmla="*/ 2081213 w 5553075"/>
                <a:gd name="connsiteY58" fmla="*/ 81356 h 2634056"/>
                <a:gd name="connsiteX59" fmla="*/ 2109788 w 5553075"/>
                <a:gd name="connsiteY59" fmla="*/ 48019 h 2634056"/>
                <a:gd name="connsiteX60" fmla="*/ 2138363 w 5553075"/>
                <a:gd name="connsiteY60" fmla="*/ 76594 h 2634056"/>
                <a:gd name="connsiteX61" fmla="*/ 2181225 w 5553075"/>
                <a:gd name="connsiteY61" fmla="*/ 81356 h 2634056"/>
                <a:gd name="connsiteX62" fmla="*/ 2195513 w 5553075"/>
                <a:gd name="connsiteY62" fmla="*/ 57544 h 2634056"/>
                <a:gd name="connsiteX63" fmla="*/ 2219325 w 5553075"/>
                <a:gd name="connsiteY63" fmla="*/ 86119 h 2634056"/>
                <a:gd name="connsiteX64" fmla="*/ 2252663 w 5553075"/>
                <a:gd name="connsiteY64" fmla="*/ 52781 h 2634056"/>
                <a:gd name="connsiteX65" fmla="*/ 2286000 w 5553075"/>
                <a:gd name="connsiteY65" fmla="*/ 100406 h 2634056"/>
                <a:gd name="connsiteX66" fmla="*/ 2333625 w 5553075"/>
                <a:gd name="connsiteY66" fmla="*/ 62306 h 2634056"/>
                <a:gd name="connsiteX67" fmla="*/ 2393950 w 5553075"/>
                <a:gd name="connsiteY67" fmla="*/ 65481 h 2634056"/>
                <a:gd name="connsiteX68" fmla="*/ 2419350 w 5553075"/>
                <a:gd name="connsiteY68" fmla="*/ 57544 h 2634056"/>
                <a:gd name="connsiteX69" fmla="*/ 2419350 w 5553075"/>
                <a:gd name="connsiteY69" fmla="*/ 105169 h 2634056"/>
                <a:gd name="connsiteX70" fmla="*/ 2462213 w 5553075"/>
                <a:gd name="connsiteY70" fmla="*/ 90881 h 2634056"/>
                <a:gd name="connsiteX71" fmla="*/ 2524125 w 5553075"/>
                <a:gd name="connsiteY71" fmla="*/ 95644 h 2634056"/>
                <a:gd name="connsiteX72" fmla="*/ 2543175 w 5553075"/>
                <a:gd name="connsiteY72" fmla="*/ 71831 h 2634056"/>
                <a:gd name="connsiteX73" fmla="*/ 2609850 w 5553075"/>
                <a:gd name="connsiteY73" fmla="*/ 105169 h 2634056"/>
                <a:gd name="connsiteX74" fmla="*/ 2692400 w 5553075"/>
                <a:gd name="connsiteY74" fmla="*/ 78181 h 2634056"/>
                <a:gd name="connsiteX75" fmla="*/ 2716213 w 5553075"/>
                <a:gd name="connsiteY75" fmla="*/ 55956 h 2634056"/>
                <a:gd name="connsiteX76" fmla="*/ 2724150 w 5553075"/>
                <a:gd name="connsiteY76" fmla="*/ 86119 h 2634056"/>
                <a:gd name="connsiteX77" fmla="*/ 2814638 w 5553075"/>
                <a:gd name="connsiteY77" fmla="*/ 71831 h 2634056"/>
                <a:gd name="connsiteX78" fmla="*/ 2836863 w 5553075"/>
                <a:gd name="connsiteY78" fmla="*/ 135331 h 2634056"/>
                <a:gd name="connsiteX79" fmla="*/ 2828925 w 5553075"/>
                <a:gd name="connsiteY79" fmla="*/ 176606 h 2634056"/>
                <a:gd name="connsiteX80" fmla="*/ 2895600 w 5553075"/>
                <a:gd name="connsiteY80" fmla="*/ 152794 h 2634056"/>
                <a:gd name="connsiteX81" fmla="*/ 2895600 w 5553075"/>
                <a:gd name="connsiteY81" fmla="*/ 195656 h 2634056"/>
                <a:gd name="connsiteX82" fmla="*/ 2933700 w 5553075"/>
                <a:gd name="connsiteY82" fmla="*/ 238519 h 2634056"/>
                <a:gd name="connsiteX83" fmla="*/ 2933700 w 5553075"/>
                <a:gd name="connsiteY83" fmla="*/ 195656 h 2634056"/>
                <a:gd name="connsiteX84" fmla="*/ 2986088 w 5553075"/>
                <a:gd name="connsiteY84" fmla="*/ 224231 h 2634056"/>
                <a:gd name="connsiteX85" fmla="*/ 3000375 w 5553075"/>
                <a:gd name="connsiteY85" fmla="*/ 248044 h 2634056"/>
                <a:gd name="connsiteX86" fmla="*/ 3057525 w 5553075"/>
                <a:gd name="connsiteY86" fmla="*/ 295669 h 2634056"/>
                <a:gd name="connsiteX87" fmla="*/ 3086100 w 5553075"/>
                <a:gd name="connsiteY87" fmla="*/ 303606 h 2634056"/>
                <a:gd name="connsiteX88" fmla="*/ 3138488 w 5553075"/>
                <a:gd name="connsiteY88" fmla="*/ 371869 h 2634056"/>
                <a:gd name="connsiteX89" fmla="*/ 3190875 w 5553075"/>
                <a:gd name="connsiteY89" fmla="*/ 424256 h 2634056"/>
                <a:gd name="connsiteX90" fmla="*/ 3214688 w 5553075"/>
                <a:gd name="connsiteY90" fmla="*/ 467119 h 2634056"/>
                <a:gd name="connsiteX91" fmla="*/ 3257550 w 5553075"/>
                <a:gd name="connsiteY91" fmla="*/ 471881 h 2634056"/>
                <a:gd name="connsiteX92" fmla="*/ 3319463 w 5553075"/>
                <a:gd name="connsiteY92" fmla="*/ 529031 h 2634056"/>
                <a:gd name="connsiteX93" fmla="*/ 3281363 w 5553075"/>
                <a:gd name="connsiteY93" fmla="*/ 546494 h 2634056"/>
                <a:gd name="connsiteX94" fmla="*/ 3281363 w 5553075"/>
                <a:gd name="connsiteY94" fmla="*/ 567131 h 2634056"/>
                <a:gd name="connsiteX95" fmla="*/ 3319463 w 5553075"/>
                <a:gd name="connsiteY95" fmla="*/ 581419 h 2634056"/>
                <a:gd name="connsiteX96" fmla="*/ 3286125 w 5553075"/>
                <a:gd name="connsiteY96" fmla="*/ 633806 h 2634056"/>
                <a:gd name="connsiteX97" fmla="*/ 3352800 w 5553075"/>
                <a:gd name="connsiteY97" fmla="*/ 629044 h 2634056"/>
                <a:gd name="connsiteX98" fmla="*/ 3381375 w 5553075"/>
                <a:gd name="connsiteY98" fmla="*/ 667144 h 2634056"/>
                <a:gd name="connsiteX99" fmla="*/ 3419475 w 5553075"/>
                <a:gd name="connsiteY99" fmla="*/ 686194 h 2634056"/>
                <a:gd name="connsiteX100" fmla="*/ 3429000 w 5553075"/>
                <a:gd name="connsiteY100" fmla="*/ 714769 h 2634056"/>
                <a:gd name="connsiteX101" fmla="*/ 3429000 w 5553075"/>
                <a:gd name="connsiteY101" fmla="*/ 738581 h 2634056"/>
                <a:gd name="connsiteX102" fmla="*/ 3457575 w 5553075"/>
                <a:gd name="connsiteY102" fmla="*/ 805256 h 2634056"/>
                <a:gd name="connsiteX103" fmla="*/ 3514725 w 5553075"/>
                <a:gd name="connsiteY103" fmla="*/ 762394 h 2634056"/>
                <a:gd name="connsiteX104" fmla="*/ 3557588 w 5553075"/>
                <a:gd name="connsiteY104" fmla="*/ 752869 h 2634056"/>
                <a:gd name="connsiteX105" fmla="*/ 3595688 w 5553075"/>
                <a:gd name="connsiteY105" fmla="*/ 738581 h 2634056"/>
                <a:gd name="connsiteX106" fmla="*/ 3629025 w 5553075"/>
                <a:gd name="connsiteY106" fmla="*/ 700481 h 2634056"/>
                <a:gd name="connsiteX107" fmla="*/ 3648075 w 5553075"/>
                <a:gd name="connsiteY107" fmla="*/ 719531 h 2634056"/>
                <a:gd name="connsiteX108" fmla="*/ 3638550 w 5553075"/>
                <a:gd name="connsiteY108" fmla="*/ 757631 h 2634056"/>
                <a:gd name="connsiteX109" fmla="*/ 3657600 w 5553075"/>
                <a:gd name="connsiteY109" fmla="*/ 805256 h 2634056"/>
                <a:gd name="connsiteX110" fmla="*/ 3705225 w 5553075"/>
                <a:gd name="connsiteY110" fmla="*/ 805256 h 2634056"/>
                <a:gd name="connsiteX111" fmla="*/ 3771900 w 5553075"/>
                <a:gd name="connsiteY111" fmla="*/ 790969 h 2634056"/>
                <a:gd name="connsiteX112" fmla="*/ 3824288 w 5553075"/>
                <a:gd name="connsiteY112" fmla="*/ 767156 h 2634056"/>
                <a:gd name="connsiteX113" fmla="*/ 3814763 w 5553075"/>
                <a:gd name="connsiteY113" fmla="*/ 767156 h 2634056"/>
                <a:gd name="connsiteX114" fmla="*/ 3876675 w 5553075"/>
                <a:gd name="connsiteY114" fmla="*/ 776681 h 2634056"/>
                <a:gd name="connsiteX115" fmla="*/ 3929063 w 5553075"/>
                <a:gd name="connsiteY115" fmla="*/ 757631 h 2634056"/>
                <a:gd name="connsiteX116" fmla="*/ 3905250 w 5553075"/>
                <a:gd name="connsiteY116" fmla="*/ 805256 h 2634056"/>
                <a:gd name="connsiteX117" fmla="*/ 3914775 w 5553075"/>
                <a:gd name="connsiteY117" fmla="*/ 838594 h 2634056"/>
                <a:gd name="connsiteX118" fmla="*/ 3957638 w 5553075"/>
                <a:gd name="connsiteY118" fmla="*/ 805256 h 2634056"/>
                <a:gd name="connsiteX119" fmla="*/ 3986213 w 5553075"/>
                <a:gd name="connsiteY119" fmla="*/ 848119 h 2634056"/>
                <a:gd name="connsiteX120" fmla="*/ 4078288 w 5553075"/>
                <a:gd name="connsiteY120" fmla="*/ 895744 h 2634056"/>
                <a:gd name="connsiteX121" fmla="*/ 4071938 w 5553075"/>
                <a:gd name="connsiteY121" fmla="*/ 962419 h 2634056"/>
                <a:gd name="connsiteX122" fmla="*/ 4116388 w 5553075"/>
                <a:gd name="connsiteY122" fmla="*/ 1025919 h 2634056"/>
                <a:gd name="connsiteX123" fmla="*/ 4144963 w 5553075"/>
                <a:gd name="connsiteY123" fmla="*/ 1068781 h 2634056"/>
                <a:gd name="connsiteX124" fmla="*/ 4137025 w 5553075"/>
                <a:gd name="connsiteY124" fmla="*/ 1097356 h 2634056"/>
                <a:gd name="connsiteX125" fmla="*/ 4157663 w 5553075"/>
                <a:gd name="connsiteY125" fmla="*/ 1124344 h 2634056"/>
                <a:gd name="connsiteX126" fmla="*/ 4162425 w 5553075"/>
                <a:gd name="connsiteY126" fmla="*/ 1200544 h 2634056"/>
                <a:gd name="connsiteX127" fmla="*/ 4195763 w 5553075"/>
                <a:gd name="connsiteY127" fmla="*/ 1229119 h 2634056"/>
                <a:gd name="connsiteX128" fmla="*/ 4176713 w 5553075"/>
                <a:gd name="connsiteY128" fmla="*/ 1262456 h 2634056"/>
                <a:gd name="connsiteX129" fmla="*/ 4191000 w 5553075"/>
                <a:gd name="connsiteY129" fmla="*/ 1286269 h 2634056"/>
                <a:gd name="connsiteX130" fmla="*/ 4286250 w 5553075"/>
                <a:gd name="connsiteY130" fmla="*/ 1356119 h 2634056"/>
                <a:gd name="connsiteX131" fmla="*/ 4275138 w 5553075"/>
                <a:gd name="connsiteY131" fmla="*/ 1395806 h 2634056"/>
                <a:gd name="connsiteX132" fmla="*/ 4229100 w 5553075"/>
                <a:gd name="connsiteY132" fmla="*/ 1395806 h 2634056"/>
                <a:gd name="connsiteX133" fmla="*/ 4271963 w 5553075"/>
                <a:gd name="connsiteY133" fmla="*/ 1481531 h 2634056"/>
                <a:gd name="connsiteX134" fmla="*/ 4329113 w 5553075"/>
                <a:gd name="connsiteY134" fmla="*/ 1470419 h 2634056"/>
                <a:gd name="connsiteX135" fmla="*/ 4384675 w 5553075"/>
                <a:gd name="connsiteY135" fmla="*/ 1500581 h 2634056"/>
                <a:gd name="connsiteX136" fmla="*/ 4445000 w 5553075"/>
                <a:gd name="connsiteY136" fmla="*/ 1535506 h 2634056"/>
                <a:gd name="connsiteX137" fmla="*/ 4438650 w 5553075"/>
                <a:gd name="connsiteY137" fmla="*/ 1562494 h 2634056"/>
                <a:gd name="connsiteX138" fmla="*/ 4432300 w 5553075"/>
                <a:gd name="connsiteY138" fmla="*/ 1632344 h 2634056"/>
                <a:gd name="connsiteX139" fmla="*/ 4500563 w 5553075"/>
                <a:gd name="connsiteY139" fmla="*/ 1672031 h 2634056"/>
                <a:gd name="connsiteX140" fmla="*/ 4565650 w 5553075"/>
                <a:gd name="connsiteY140" fmla="*/ 1652981 h 2634056"/>
                <a:gd name="connsiteX141" fmla="*/ 4605338 w 5553075"/>
                <a:gd name="connsiteY141" fmla="*/ 1638694 h 2634056"/>
                <a:gd name="connsiteX142" fmla="*/ 4619625 w 5553075"/>
                <a:gd name="connsiteY142" fmla="*/ 1686319 h 2634056"/>
                <a:gd name="connsiteX143" fmla="*/ 4657725 w 5553075"/>
                <a:gd name="connsiteY143" fmla="*/ 1710131 h 2634056"/>
                <a:gd name="connsiteX144" fmla="*/ 4629150 w 5553075"/>
                <a:gd name="connsiteY144" fmla="*/ 1757756 h 2634056"/>
                <a:gd name="connsiteX145" fmla="*/ 4652963 w 5553075"/>
                <a:gd name="connsiteY145" fmla="*/ 1814906 h 2634056"/>
                <a:gd name="connsiteX146" fmla="*/ 4681538 w 5553075"/>
                <a:gd name="connsiteY146" fmla="*/ 1848244 h 2634056"/>
                <a:gd name="connsiteX147" fmla="*/ 4767263 w 5553075"/>
                <a:gd name="connsiteY147" fmla="*/ 1891106 h 2634056"/>
                <a:gd name="connsiteX148" fmla="*/ 4776788 w 5553075"/>
                <a:gd name="connsiteY148" fmla="*/ 1967306 h 2634056"/>
                <a:gd name="connsiteX149" fmla="*/ 4705350 w 5553075"/>
                <a:gd name="connsiteY149" fmla="*/ 1938731 h 2634056"/>
                <a:gd name="connsiteX150" fmla="*/ 4695825 w 5553075"/>
                <a:gd name="connsiteY150" fmla="*/ 1972069 h 2634056"/>
                <a:gd name="connsiteX151" fmla="*/ 4743450 w 5553075"/>
                <a:gd name="connsiteY151" fmla="*/ 2014931 h 2634056"/>
                <a:gd name="connsiteX152" fmla="*/ 4776788 w 5553075"/>
                <a:gd name="connsiteY152" fmla="*/ 2033981 h 2634056"/>
                <a:gd name="connsiteX153" fmla="*/ 4810125 w 5553075"/>
                <a:gd name="connsiteY153" fmla="*/ 2010169 h 2634056"/>
                <a:gd name="connsiteX154" fmla="*/ 4843463 w 5553075"/>
                <a:gd name="connsiteY154" fmla="*/ 2024456 h 2634056"/>
                <a:gd name="connsiteX155" fmla="*/ 4838700 w 5553075"/>
                <a:gd name="connsiteY155" fmla="*/ 2095894 h 2634056"/>
                <a:gd name="connsiteX156" fmla="*/ 4972050 w 5553075"/>
                <a:gd name="connsiteY156" fmla="*/ 2191144 h 2634056"/>
                <a:gd name="connsiteX157" fmla="*/ 4995863 w 5553075"/>
                <a:gd name="connsiteY157" fmla="*/ 2167331 h 2634056"/>
                <a:gd name="connsiteX158" fmla="*/ 5081588 w 5553075"/>
                <a:gd name="connsiteY158" fmla="*/ 2186381 h 2634056"/>
                <a:gd name="connsiteX159" fmla="*/ 5124450 w 5553075"/>
                <a:gd name="connsiteY159" fmla="*/ 2253056 h 2634056"/>
                <a:gd name="connsiteX160" fmla="*/ 5248275 w 5553075"/>
                <a:gd name="connsiteY160" fmla="*/ 2295919 h 2634056"/>
                <a:gd name="connsiteX161" fmla="*/ 5281613 w 5553075"/>
                <a:gd name="connsiteY161" fmla="*/ 2362594 h 2634056"/>
                <a:gd name="connsiteX162" fmla="*/ 5276850 w 5553075"/>
                <a:gd name="connsiteY162" fmla="*/ 2443556 h 2634056"/>
                <a:gd name="connsiteX163" fmla="*/ 5353050 w 5553075"/>
                <a:gd name="connsiteY163" fmla="*/ 2514994 h 2634056"/>
                <a:gd name="connsiteX164" fmla="*/ 5438775 w 5553075"/>
                <a:gd name="connsiteY164" fmla="*/ 2534044 h 2634056"/>
                <a:gd name="connsiteX165" fmla="*/ 5486400 w 5553075"/>
                <a:gd name="connsiteY165" fmla="*/ 2595956 h 2634056"/>
                <a:gd name="connsiteX166" fmla="*/ 5553075 w 5553075"/>
                <a:gd name="connsiteY166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90588 w 5553075"/>
                <a:gd name="connsiteY27" fmla="*/ 257569 h 2634056"/>
                <a:gd name="connsiteX28" fmla="*/ 928688 w 5553075"/>
                <a:gd name="connsiteY28" fmla="*/ 271856 h 2634056"/>
                <a:gd name="connsiteX29" fmla="*/ 976313 w 5553075"/>
                <a:gd name="connsiteY29" fmla="*/ 286144 h 2634056"/>
                <a:gd name="connsiteX30" fmla="*/ 1019175 w 5553075"/>
                <a:gd name="connsiteY30" fmla="*/ 305194 h 2634056"/>
                <a:gd name="connsiteX31" fmla="*/ 1123950 w 5553075"/>
                <a:gd name="connsiteY31" fmla="*/ 276619 h 2634056"/>
                <a:gd name="connsiteX32" fmla="*/ 1128713 w 5553075"/>
                <a:gd name="connsiteY32" fmla="*/ 214706 h 2634056"/>
                <a:gd name="connsiteX33" fmla="*/ 1190625 w 5553075"/>
                <a:gd name="connsiteY33" fmla="*/ 243281 h 2634056"/>
                <a:gd name="connsiteX34" fmla="*/ 1252538 w 5553075"/>
                <a:gd name="connsiteY34" fmla="*/ 243281 h 2634056"/>
                <a:gd name="connsiteX35" fmla="*/ 1281113 w 5553075"/>
                <a:gd name="connsiteY35" fmla="*/ 209944 h 2634056"/>
                <a:gd name="connsiteX36" fmla="*/ 1276350 w 5553075"/>
                <a:gd name="connsiteY36" fmla="*/ 181369 h 2634056"/>
                <a:gd name="connsiteX37" fmla="*/ 1309688 w 5553075"/>
                <a:gd name="connsiteY37" fmla="*/ 162319 h 2634056"/>
                <a:gd name="connsiteX38" fmla="*/ 1328738 w 5553075"/>
                <a:gd name="connsiteY38" fmla="*/ 138506 h 2634056"/>
                <a:gd name="connsiteX39" fmla="*/ 1366838 w 5553075"/>
                <a:gd name="connsiteY39" fmla="*/ 152794 h 2634056"/>
                <a:gd name="connsiteX40" fmla="*/ 1400175 w 5553075"/>
                <a:gd name="connsiteY40" fmla="*/ 209944 h 2634056"/>
                <a:gd name="connsiteX41" fmla="*/ 1466850 w 5553075"/>
                <a:gd name="connsiteY41" fmla="*/ 181369 h 2634056"/>
                <a:gd name="connsiteX42" fmla="*/ 1511300 w 5553075"/>
                <a:gd name="connsiteY42" fmla="*/ 182956 h 2634056"/>
                <a:gd name="connsiteX43" fmla="*/ 1543050 w 5553075"/>
                <a:gd name="connsiteY43" fmla="*/ 157556 h 2634056"/>
                <a:gd name="connsiteX44" fmla="*/ 1649413 w 5553075"/>
                <a:gd name="connsiteY44" fmla="*/ 182956 h 2634056"/>
                <a:gd name="connsiteX45" fmla="*/ 1724025 w 5553075"/>
                <a:gd name="connsiteY45" fmla="*/ 133744 h 2634056"/>
                <a:gd name="connsiteX46" fmla="*/ 1776413 w 5553075"/>
                <a:gd name="connsiteY46" fmla="*/ 152794 h 2634056"/>
                <a:gd name="connsiteX47" fmla="*/ 1824038 w 5553075"/>
                <a:gd name="connsiteY47" fmla="*/ 124219 h 2634056"/>
                <a:gd name="connsiteX48" fmla="*/ 1795463 w 5553075"/>
                <a:gd name="connsiteY48" fmla="*/ 71831 h 2634056"/>
                <a:gd name="connsiteX49" fmla="*/ 1819275 w 5553075"/>
                <a:gd name="connsiteY49" fmla="*/ 28969 h 2634056"/>
                <a:gd name="connsiteX50" fmla="*/ 1881188 w 5553075"/>
                <a:gd name="connsiteY50" fmla="*/ 71831 h 2634056"/>
                <a:gd name="connsiteX51" fmla="*/ 1885950 w 5553075"/>
                <a:gd name="connsiteY51" fmla="*/ 94056 h 2634056"/>
                <a:gd name="connsiteX52" fmla="*/ 1919288 w 5553075"/>
                <a:gd name="connsiteY52" fmla="*/ 86119 h 2634056"/>
                <a:gd name="connsiteX53" fmla="*/ 1949450 w 5553075"/>
                <a:gd name="connsiteY53" fmla="*/ 62306 h 2634056"/>
                <a:gd name="connsiteX54" fmla="*/ 1952625 w 5553075"/>
                <a:gd name="connsiteY54" fmla="*/ 394 h 2634056"/>
                <a:gd name="connsiteX55" fmla="*/ 2000250 w 5553075"/>
                <a:gd name="connsiteY55" fmla="*/ 38494 h 2634056"/>
                <a:gd name="connsiteX56" fmla="*/ 2019300 w 5553075"/>
                <a:gd name="connsiteY56" fmla="*/ 90881 h 2634056"/>
                <a:gd name="connsiteX57" fmla="*/ 2057400 w 5553075"/>
                <a:gd name="connsiteY57" fmla="*/ 57544 h 2634056"/>
                <a:gd name="connsiteX58" fmla="*/ 2081213 w 5553075"/>
                <a:gd name="connsiteY58" fmla="*/ 81356 h 2634056"/>
                <a:gd name="connsiteX59" fmla="*/ 2109788 w 5553075"/>
                <a:gd name="connsiteY59" fmla="*/ 48019 h 2634056"/>
                <a:gd name="connsiteX60" fmla="*/ 2138363 w 5553075"/>
                <a:gd name="connsiteY60" fmla="*/ 76594 h 2634056"/>
                <a:gd name="connsiteX61" fmla="*/ 2181225 w 5553075"/>
                <a:gd name="connsiteY61" fmla="*/ 81356 h 2634056"/>
                <a:gd name="connsiteX62" fmla="*/ 2195513 w 5553075"/>
                <a:gd name="connsiteY62" fmla="*/ 57544 h 2634056"/>
                <a:gd name="connsiteX63" fmla="*/ 2219325 w 5553075"/>
                <a:gd name="connsiteY63" fmla="*/ 86119 h 2634056"/>
                <a:gd name="connsiteX64" fmla="*/ 2252663 w 5553075"/>
                <a:gd name="connsiteY64" fmla="*/ 52781 h 2634056"/>
                <a:gd name="connsiteX65" fmla="*/ 2286000 w 5553075"/>
                <a:gd name="connsiteY65" fmla="*/ 100406 h 2634056"/>
                <a:gd name="connsiteX66" fmla="*/ 2333625 w 5553075"/>
                <a:gd name="connsiteY66" fmla="*/ 62306 h 2634056"/>
                <a:gd name="connsiteX67" fmla="*/ 2393950 w 5553075"/>
                <a:gd name="connsiteY67" fmla="*/ 65481 h 2634056"/>
                <a:gd name="connsiteX68" fmla="*/ 2419350 w 5553075"/>
                <a:gd name="connsiteY68" fmla="*/ 57544 h 2634056"/>
                <a:gd name="connsiteX69" fmla="*/ 2419350 w 5553075"/>
                <a:gd name="connsiteY69" fmla="*/ 105169 h 2634056"/>
                <a:gd name="connsiteX70" fmla="*/ 2462213 w 5553075"/>
                <a:gd name="connsiteY70" fmla="*/ 90881 h 2634056"/>
                <a:gd name="connsiteX71" fmla="*/ 2524125 w 5553075"/>
                <a:gd name="connsiteY71" fmla="*/ 95644 h 2634056"/>
                <a:gd name="connsiteX72" fmla="*/ 2543175 w 5553075"/>
                <a:gd name="connsiteY72" fmla="*/ 71831 h 2634056"/>
                <a:gd name="connsiteX73" fmla="*/ 2609850 w 5553075"/>
                <a:gd name="connsiteY73" fmla="*/ 105169 h 2634056"/>
                <a:gd name="connsiteX74" fmla="*/ 2692400 w 5553075"/>
                <a:gd name="connsiteY74" fmla="*/ 78181 h 2634056"/>
                <a:gd name="connsiteX75" fmla="*/ 2716213 w 5553075"/>
                <a:gd name="connsiteY75" fmla="*/ 55956 h 2634056"/>
                <a:gd name="connsiteX76" fmla="*/ 2724150 w 5553075"/>
                <a:gd name="connsiteY76" fmla="*/ 86119 h 2634056"/>
                <a:gd name="connsiteX77" fmla="*/ 2814638 w 5553075"/>
                <a:gd name="connsiteY77" fmla="*/ 71831 h 2634056"/>
                <a:gd name="connsiteX78" fmla="*/ 2836863 w 5553075"/>
                <a:gd name="connsiteY78" fmla="*/ 135331 h 2634056"/>
                <a:gd name="connsiteX79" fmla="*/ 2828925 w 5553075"/>
                <a:gd name="connsiteY79" fmla="*/ 176606 h 2634056"/>
                <a:gd name="connsiteX80" fmla="*/ 2895600 w 5553075"/>
                <a:gd name="connsiteY80" fmla="*/ 152794 h 2634056"/>
                <a:gd name="connsiteX81" fmla="*/ 2895600 w 5553075"/>
                <a:gd name="connsiteY81" fmla="*/ 195656 h 2634056"/>
                <a:gd name="connsiteX82" fmla="*/ 2933700 w 5553075"/>
                <a:gd name="connsiteY82" fmla="*/ 238519 h 2634056"/>
                <a:gd name="connsiteX83" fmla="*/ 2933700 w 5553075"/>
                <a:gd name="connsiteY83" fmla="*/ 195656 h 2634056"/>
                <a:gd name="connsiteX84" fmla="*/ 2986088 w 5553075"/>
                <a:gd name="connsiteY84" fmla="*/ 224231 h 2634056"/>
                <a:gd name="connsiteX85" fmla="*/ 3000375 w 5553075"/>
                <a:gd name="connsiteY85" fmla="*/ 248044 h 2634056"/>
                <a:gd name="connsiteX86" fmla="*/ 3057525 w 5553075"/>
                <a:gd name="connsiteY86" fmla="*/ 295669 h 2634056"/>
                <a:gd name="connsiteX87" fmla="*/ 3086100 w 5553075"/>
                <a:gd name="connsiteY87" fmla="*/ 303606 h 2634056"/>
                <a:gd name="connsiteX88" fmla="*/ 3138488 w 5553075"/>
                <a:gd name="connsiteY88" fmla="*/ 371869 h 2634056"/>
                <a:gd name="connsiteX89" fmla="*/ 3190875 w 5553075"/>
                <a:gd name="connsiteY89" fmla="*/ 424256 h 2634056"/>
                <a:gd name="connsiteX90" fmla="*/ 3214688 w 5553075"/>
                <a:gd name="connsiteY90" fmla="*/ 467119 h 2634056"/>
                <a:gd name="connsiteX91" fmla="*/ 3257550 w 5553075"/>
                <a:gd name="connsiteY91" fmla="*/ 471881 h 2634056"/>
                <a:gd name="connsiteX92" fmla="*/ 3319463 w 5553075"/>
                <a:gd name="connsiteY92" fmla="*/ 529031 h 2634056"/>
                <a:gd name="connsiteX93" fmla="*/ 3281363 w 5553075"/>
                <a:gd name="connsiteY93" fmla="*/ 546494 h 2634056"/>
                <a:gd name="connsiteX94" fmla="*/ 3281363 w 5553075"/>
                <a:gd name="connsiteY94" fmla="*/ 567131 h 2634056"/>
                <a:gd name="connsiteX95" fmla="*/ 3319463 w 5553075"/>
                <a:gd name="connsiteY95" fmla="*/ 581419 h 2634056"/>
                <a:gd name="connsiteX96" fmla="*/ 3286125 w 5553075"/>
                <a:gd name="connsiteY96" fmla="*/ 633806 h 2634056"/>
                <a:gd name="connsiteX97" fmla="*/ 3352800 w 5553075"/>
                <a:gd name="connsiteY97" fmla="*/ 629044 h 2634056"/>
                <a:gd name="connsiteX98" fmla="*/ 3381375 w 5553075"/>
                <a:gd name="connsiteY98" fmla="*/ 667144 h 2634056"/>
                <a:gd name="connsiteX99" fmla="*/ 3419475 w 5553075"/>
                <a:gd name="connsiteY99" fmla="*/ 686194 h 2634056"/>
                <a:gd name="connsiteX100" fmla="*/ 3429000 w 5553075"/>
                <a:gd name="connsiteY100" fmla="*/ 714769 h 2634056"/>
                <a:gd name="connsiteX101" fmla="*/ 3429000 w 5553075"/>
                <a:gd name="connsiteY101" fmla="*/ 738581 h 2634056"/>
                <a:gd name="connsiteX102" fmla="*/ 3457575 w 5553075"/>
                <a:gd name="connsiteY102" fmla="*/ 805256 h 2634056"/>
                <a:gd name="connsiteX103" fmla="*/ 3514725 w 5553075"/>
                <a:gd name="connsiteY103" fmla="*/ 762394 h 2634056"/>
                <a:gd name="connsiteX104" fmla="*/ 3557588 w 5553075"/>
                <a:gd name="connsiteY104" fmla="*/ 752869 h 2634056"/>
                <a:gd name="connsiteX105" fmla="*/ 3595688 w 5553075"/>
                <a:gd name="connsiteY105" fmla="*/ 738581 h 2634056"/>
                <a:gd name="connsiteX106" fmla="*/ 3629025 w 5553075"/>
                <a:gd name="connsiteY106" fmla="*/ 700481 h 2634056"/>
                <a:gd name="connsiteX107" fmla="*/ 3648075 w 5553075"/>
                <a:gd name="connsiteY107" fmla="*/ 719531 h 2634056"/>
                <a:gd name="connsiteX108" fmla="*/ 3638550 w 5553075"/>
                <a:gd name="connsiteY108" fmla="*/ 757631 h 2634056"/>
                <a:gd name="connsiteX109" fmla="*/ 3657600 w 5553075"/>
                <a:gd name="connsiteY109" fmla="*/ 805256 h 2634056"/>
                <a:gd name="connsiteX110" fmla="*/ 3705225 w 5553075"/>
                <a:gd name="connsiteY110" fmla="*/ 805256 h 2634056"/>
                <a:gd name="connsiteX111" fmla="*/ 3771900 w 5553075"/>
                <a:gd name="connsiteY111" fmla="*/ 790969 h 2634056"/>
                <a:gd name="connsiteX112" fmla="*/ 3824288 w 5553075"/>
                <a:gd name="connsiteY112" fmla="*/ 767156 h 2634056"/>
                <a:gd name="connsiteX113" fmla="*/ 3814763 w 5553075"/>
                <a:gd name="connsiteY113" fmla="*/ 767156 h 2634056"/>
                <a:gd name="connsiteX114" fmla="*/ 3876675 w 5553075"/>
                <a:gd name="connsiteY114" fmla="*/ 776681 h 2634056"/>
                <a:gd name="connsiteX115" fmla="*/ 3929063 w 5553075"/>
                <a:gd name="connsiteY115" fmla="*/ 757631 h 2634056"/>
                <a:gd name="connsiteX116" fmla="*/ 3905250 w 5553075"/>
                <a:gd name="connsiteY116" fmla="*/ 805256 h 2634056"/>
                <a:gd name="connsiteX117" fmla="*/ 3914775 w 5553075"/>
                <a:gd name="connsiteY117" fmla="*/ 838594 h 2634056"/>
                <a:gd name="connsiteX118" fmla="*/ 3957638 w 5553075"/>
                <a:gd name="connsiteY118" fmla="*/ 805256 h 2634056"/>
                <a:gd name="connsiteX119" fmla="*/ 3986213 w 5553075"/>
                <a:gd name="connsiteY119" fmla="*/ 848119 h 2634056"/>
                <a:gd name="connsiteX120" fmla="*/ 4078288 w 5553075"/>
                <a:gd name="connsiteY120" fmla="*/ 895744 h 2634056"/>
                <a:gd name="connsiteX121" fmla="*/ 4071938 w 5553075"/>
                <a:gd name="connsiteY121" fmla="*/ 962419 h 2634056"/>
                <a:gd name="connsiteX122" fmla="*/ 4116388 w 5553075"/>
                <a:gd name="connsiteY122" fmla="*/ 1025919 h 2634056"/>
                <a:gd name="connsiteX123" fmla="*/ 4144963 w 5553075"/>
                <a:gd name="connsiteY123" fmla="*/ 1068781 h 2634056"/>
                <a:gd name="connsiteX124" fmla="*/ 4137025 w 5553075"/>
                <a:gd name="connsiteY124" fmla="*/ 1097356 h 2634056"/>
                <a:gd name="connsiteX125" fmla="*/ 4157663 w 5553075"/>
                <a:gd name="connsiteY125" fmla="*/ 1124344 h 2634056"/>
                <a:gd name="connsiteX126" fmla="*/ 4162425 w 5553075"/>
                <a:gd name="connsiteY126" fmla="*/ 1200544 h 2634056"/>
                <a:gd name="connsiteX127" fmla="*/ 4195763 w 5553075"/>
                <a:gd name="connsiteY127" fmla="*/ 1229119 h 2634056"/>
                <a:gd name="connsiteX128" fmla="*/ 4176713 w 5553075"/>
                <a:gd name="connsiteY128" fmla="*/ 1262456 h 2634056"/>
                <a:gd name="connsiteX129" fmla="*/ 4191000 w 5553075"/>
                <a:gd name="connsiteY129" fmla="*/ 1286269 h 2634056"/>
                <a:gd name="connsiteX130" fmla="*/ 4286250 w 5553075"/>
                <a:gd name="connsiteY130" fmla="*/ 1356119 h 2634056"/>
                <a:gd name="connsiteX131" fmla="*/ 4275138 w 5553075"/>
                <a:gd name="connsiteY131" fmla="*/ 1395806 h 2634056"/>
                <a:gd name="connsiteX132" fmla="*/ 4229100 w 5553075"/>
                <a:gd name="connsiteY132" fmla="*/ 1395806 h 2634056"/>
                <a:gd name="connsiteX133" fmla="*/ 4271963 w 5553075"/>
                <a:gd name="connsiteY133" fmla="*/ 1481531 h 2634056"/>
                <a:gd name="connsiteX134" fmla="*/ 4329113 w 5553075"/>
                <a:gd name="connsiteY134" fmla="*/ 1470419 h 2634056"/>
                <a:gd name="connsiteX135" fmla="*/ 4384675 w 5553075"/>
                <a:gd name="connsiteY135" fmla="*/ 1500581 h 2634056"/>
                <a:gd name="connsiteX136" fmla="*/ 4445000 w 5553075"/>
                <a:gd name="connsiteY136" fmla="*/ 1535506 h 2634056"/>
                <a:gd name="connsiteX137" fmla="*/ 4438650 w 5553075"/>
                <a:gd name="connsiteY137" fmla="*/ 1562494 h 2634056"/>
                <a:gd name="connsiteX138" fmla="*/ 4432300 w 5553075"/>
                <a:gd name="connsiteY138" fmla="*/ 1632344 h 2634056"/>
                <a:gd name="connsiteX139" fmla="*/ 4500563 w 5553075"/>
                <a:gd name="connsiteY139" fmla="*/ 1672031 h 2634056"/>
                <a:gd name="connsiteX140" fmla="*/ 4565650 w 5553075"/>
                <a:gd name="connsiteY140" fmla="*/ 1652981 h 2634056"/>
                <a:gd name="connsiteX141" fmla="*/ 4605338 w 5553075"/>
                <a:gd name="connsiteY141" fmla="*/ 1638694 h 2634056"/>
                <a:gd name="connsiteX142" fmla="*/ 4619625 w 5553075"/>
                <a:gd name="connsiteY142" fmla="*/ 1686319 h 2634056"/>
                <a:gd name="connsiteX143" fmla="*/ 4657725 w 5553075"/>
                <a:gd name="connsiteY143" fmla="*/ 1710131 h 2634056"/>
                <a:gd name="connsiteX144" fmla="*/ 4629150 w 5553075"/>
                <a:gd name="connsiteY144" fmla="*/ 1757756 h 2634056"/>
                <a:gd name="connsiteX145" fmla="*/ 4652963 w 5553075"/>
                <a:gd name="connsiteY145" fmla="*/ 1814906 h 2634056"/>
                <a:gd name="connsiteX146" fmla="*/ 4681538 w 5553075"/>
                <a:gd name="connsiteY146" fmla="*/ 1848244 h 2634056"/>
                <a:gd name="connsiteX147" fmla="*/ 4767263 w 5553075"/>
                <a:gd name="connsiteY147" fmla="*/ 1891106 h 2634056"/>
                <a:gd name="connsiteX148" fmla="*/ 4776788 w 5553075"/>
                <a:gd name="connsiteY148" fmla="*/ 1967306 h 2634056"/>
                <a:gd name="connsiteX149" fmla="*/ 4705350 w 5553075"/>
                <a:gd name="connsiteY149" fmla="*/ 1938731 h 2634056"/>
                <a:gd name="connsiteX150" fmla="*/ 4695825 w 5553075"/>
                <a:gd name="connsiteY150" fmla="*/ 1972069 h 2634056"/>
                <a:gd name="connsiteX151" fmla="*/ 4743450 w 5553075"/>
                <a:gd name="connsiteY151" fmla="*/ 2014931 h 2634056"/>
                <a:gd name="connsiteX152" fmla="*/ 4776788 w 5553075"/>
                <a:gd name="connsiteY152" fmla="*/ 2033981 h 2634056"/>
                <a:gd name="connsiteX153" fmla="*/ 4810125 w 5553075"/>
                <a:gd name="connsiteY153" fmla="*/ 2010169 h 2634056"/>
                <a:gd name="connsiteX154" fmla="*/ 4843463 w 5553075"/>
                <a:gd name="connsiteY154" fmla="*/ 2024456 h 2634056"/>
                <a:gd name="connsiteX155" fmla="*/ 4838700 w 5553075"/>
                <a:gd name="connsiteY155" fmla="*/ 2095894 h 2634056"/>
                <a:gd name="connsiteX156" fmla="*/ 4972050 w 5553075"/>
                <a:gd name="connsiteY156" fmla="*/ 2191144 h 2634056"/>
                <a:gd name="connsiteX157" fmla="*/ 4995863 w 5553075"/>
                <a:gd name="connsiteY157" fmla="*/ 2167331 h 2634056"/>
                <a:gd name="connsiteX158" fmla="*/ 5081588 w 5553075"/>
                <a:gd name="connsiteY158" fmla="*/ 2186381 h 2634056"/>
                <a:gd name="connsiteX159" fmla="*/ 5124450 w 5553075"/>
                <a:gd name="connsiteY159" fmla="*/ 2253056 h 2634056"/>
                <a:gd name="connsiteX160" fmla="*/ 5248275 w 5553075"/>
                <a:gd name="connsiteY160" fmla="*/ 2295919 h 2634056"/>
                <a:gd name="connsiteX161" fmla="*/ 5281613 w 5553075"/>
                <a:gd name="connsiteY161" fmla="*/ 2362594 h 2634056"/>
                <a:gd name="connsiteX162" fmla="*/ 5276850 w 5553075"/>
                <a:gd name="connsiteY162" fmla="*/ 2443556 h 2634056"/>
                <a:gd name="connsiteX163" fmla="*/ 5353050 w 5553075"/>
                <a:gd name="connsiteY163" fmla="*/ 2514994 h 2634056"/>
                <a:gd name="connsiteX164" fmla="*/ 5438775 w 5553075"/>
                <a:gd name="connsiteY164" fmla="*/ 2534044 h 2634056"/>
                <a:gd name="connsiteX165" fmla="*/ 5486400 w 5553075"/>
                <a:gd name="connsiteY165" fmla="*/ 2595956 h 2634056"/>
                <a:gd name="connsiteX166" fmla="*/ 5553075 w 5553075"/>
                <a:gd name="connsiteY166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05225 w 5553075"/>
                <a:gd name="connsiteY111" fmla="*/ 80525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05250 w 5553075"/>
                <a:gd name="connsiteY117" fmla="*/ 805256 h 2634056"/>
                <a:gd name="connsiteX118" fmla="*/ 3914775 w 5553075"/>
                <a:gd name="connsiteY118" fmla="*/ 838594 h 2634056"/>
                <a:gd name="connsiteX119" fmla="*/ 3957638 w 5553075"/>
                <a:gd name="connsiteY119" fmla="*/ 805256 h 2634056"/>
                <a:gd name="connsiteX120" fmla="*/ 3986213 w 5553075"/>
                <a:gd name="connsiteY120" fmla="*/ 848119 h 2634056"/>
                <a:gd name="connsiteX121" fmla="*/ 4078288 w 5553075"/>
                <a:gd name="connsiteY121" fmla="*/ 895744 h 2634056"/>
                <a:gd name="connsiteX122" fmla="*/ 4071938 w 5553075"/>
                <a:gd name="connsiteY122" fmla="*/ 962419 h 2634056"/>
                <a:gd name="connsiteX123" fmla="*/ 4116388 w 5553075"/>
                <a:gd name="connsiteY123" fmla="*/ 1025919 h 2634056"/>
                <a:gd name="connsiteX124" fmla="*/ 4144963 w 5553075"/>
                <a:gd name="connsiteY124" fmla="*/ 1068781 h 2634056"/>
                <a:gd name="connsiteX125" fmla="*/ 4137025 w 5553075"/>
                <a:gd name="connsiteY125" fmla="*/ 1097356 h 2634056"/>
                <a:gd name="connsiteX126" fmla="*/ 4157663 w 5553075"/>
                <a:gd name="connsiteY126" fmla="*/ 1124344 h 2634056"/>
                <a:gd name="connsiteX127" fmla="*/ 4162425 w 5553075"/>
                <a:gd name="connsiteY127" fmla="*/ 1200544 h 2634056"/>
                <a:gd name="connsiteX128" fmla="*/ 4195763 w 5553075"/>
                <a:gd name="connsiteY128" fmla="*/ 1229119 h 2634056"/>
                <a:gd name="connsiteX129" fmla="*/ 4176713 w 5553075"/>
                <a:gd name="connsiteY129" fmla="*/ 1262456 h 2634056"/>
                <a:gd name="connsiteX130" fmla="*/ 4191000 w 5553075"/>
                <a:gd name="connsiteY130" fmla="*/ 1286269 h 2634056"/>
                <a:gd name="connsiteX131" fmla="*/ 4286250 w 5553075"/>
                <a:gd name="connsiteY131" fmla="*/ 1356119 h 2634056"/>
                <a:gd name="connsiteX132" fmla="*/ 4275138 w 5553075"/>
                <a:gd name="connsiteY132" fmla="*/ 1395806 h 2634056"/>
                <a:gd name="connsiteX133" fmla="*/ 4229100 w 5553075"/>
                <a:gd name="connsiteY133" fmla="*/ 1395806 h 2634056"/>
                <a:gd name="connsiteX134" fmla="*/ 4271963 w 5553075"/>
                <a:gd name="connsiteY134" fmla="*/ 1481531 h 2634056"/>
                <a:gd name="connsiteX135" fmla="*/ 4329113 w 5553075"/>
                <a:gd name="connsiteY135" fmla="*/ 1470419 h 2634056"/>
                <a:gd name="connsiteX136" fmla="*/ 4384675 w 5553075"/>
                <a:gd name="connsiteY136" fmla="*/ 1500581 h 2634056"/>
                <a:gd name="connsiteX137" fmla="*/ 4445000 w 5553075"/>
                <a:gd name="connsiteY137" fmla="*/ 1535506 h 2634056"/>
                <a:gd name="connsiteX138" fmla="*/ 4438650 w 5553075"/>
                <a:gd name="connsiteY138" fmla="*/ 1562494 h 2634056"/>
                <a:gd name="connsiteX139" fmla="*/ 4432300 w 5553075"/>
                <a:gd name="connsiteY139" fmla="*/ 1632344 h 2634056"/>
                <a:gd name="connsiteX140" fmla="*/ 4500563 w 5553075"/>
                <a:gd name="connsiteY140" fmla="*/ 1672031 h 2634056"/>
                <a:gd name="connsiteX141" fmla="*/ 4565650 w 5553075"/>
                <a:gd name="connsiteY141" fmla="*/ 1652981 h 2634056"/>
                <a:gd name="connsiteX142" fmla="*/ 4605338 w 5553075"/>
                <a:gd name="connsiteY142" fmla="*/ 1638694 h 2634056"/>
                <a:gd name="connsiteX143" fmla="*/ 4619625 w 5553075"/>
                <a:gd name="connsiteY143" fmla="*/ 1686319 h 2634056"/>
                <a:gd name="connsiteX144" fmla="*/ 4657725 w 5553075"/>
                <a:gd name="connsiteY144" fmla="*/ 1710131 h 2634056"/>
                <a:gd name="connsiteX145" fmla="*/ 4629150 w 5553075"/>
                <a:gd name="connsiteY145" fmla="*/ 1757756 h 2634056"/>
                <a:gd name="connsiteX146" fmla="*/ 4652963 w 5553075"/>
                <a:gd name="connsiteY146" fmla="*/ 1814906 h 2634056"/>
                <a:gd name="connsiteX147" fmla="*/ 4681538 w 5553075"/>
                <a:gd name="connsiteY147" fmla="*/ 1848244 h 2634056"/>
                <a:gd name="connsiteX148" fmla="*/ 4767263 w 5553075"/>
                <a:gd name="connsiteY148" fmla="*/ 1891106 h 2634056"/>
                <a:gd name="connsiteX149" fmla="*/ 4776788 w 5553075"/>
                <a:gd name="connsiteY149" fmla="*/ 1967306 h 2634056"/>
                <a:gd name="connsiteX150" fmla="*/ 4705350 w 5553075"/>
                <a:gd name="connsiteY150" fmla="*/ 1938731 h 2634056"/>
                <a:gd name="connsiteX151" fmla="*/ 4695825 w 5553075"/>
                <a:gd name="connsiteY151" fmla="*/ 1972069 h 2634056"/>
                <a:gd name="connsiteX152" fmla="*/ 4743450 w 5553075"/>
                <a:gd name="connsiteY152" fmla="*/ 2014931 h 2634056"/>
                <a:gd name="connsiteX153" fmla="*/ 4776788 w 5553075"/>
                <a:gd name="connsiteY153" fmla="*/ 2033981 h 2634056"/>
                <a:gd name="connsiteX154" fmla="*/ 4810125 w 5553075"/>
                <a:gd name="connsiteY154" fmla="*/ 2010169 h 2634056"/>
                <a:gd name="connsiteX155" fmla="*/ 4843463 w 5553075"/>
                <a:gd name="connsiteY155" fmla="*/ 2024456 h 2634056"/>
                <a:gd name="connsiteX156" fmla="*/ 4838700 w 5553075"/>
                <a:gd name="connsiteY156" fmla="*/ 2095894 h 2634056"/>
                <a:gd name="connsiteX157" fmla="*/ 4972050 w 5553075"/>
                <a:gd name="connsiteY157" fmla="*/ 2191144 h 2634056"/>
                <a:gd name="connsiteX158" fmla="*/ 4995863 w 5553075"/>
                <a:gd name="connsiteY158" fmla="*/ 2167331 h 2634056"/>
                <a:gd name="connsiteX159" fmla="*/ 5081588 w 5553075"/>
                <a:gd name="connsiteY159" fmla="*/ 2186381 h 2634056"/>
                <a:gd name="connsiteX160" fmla="*/ 5124450 w 5553075"/>
                <a:gd name="connsiteY160" fmla="*/ 2253056 h 2634056"/>
                <a:gd name="connsiteX161" fmla="*/ 5248275 w 5553075"/>
                <a:gd name="connsiteY161" fmla="*/ 2295919 h 2634056"/>
                <a:gd name="connsiteX162" fmla="*/ 5281613 w 5553075"/>
                <a:gd name="connsiteY162" fmla="*/ 2362594 h 2634056"/>
                <a:gd name="connsiteX163" fmla="*/ 5276850 w 5553075"/>
                <a:gd name="connsiteY163" fmla="*/ 2443556 h 2634056"/>
                <a:gd name="connsiteX164" fmla="*/ 5353050 w 5553075"/>
                <a:gd name="connsiteY164" fmla="*/ 2514994 h 2634056"/>
                <a:gd name="connsiteX165" fmla="*/ 5438775 w 5553075"/>
                <a:gd name="connsiteY165" fmla="*/ 2534044 h 2634056"/>
                <a:gd name="connsiteX166" fmla="*/ 5486400 w 5553075"/>
                <a:gd name="connsiteY166" fmla="*/ 2595956 h 2634056"/>
                <a:gd name="connsiteX167" fmla="*/ 5553075 w 5553075"/>
                <a:gd name="connsiteY167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05225 w 5553075"/>
                <a:gd name="connsiteY111" fmla="*/ 80525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29150 w 5553075"/>
                <a:gd name="connsiteY146" fmla="*/ 1757756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10125 w 5553075"/>
                <a:gd name="connsiteY155" fmla="*/ 2010169 h 2634056"/>
                <a:gd name="connsiteX156" fmla="*/ 4843463 w 5553075"/>
                <a:gd name="connsiteY156" fmla="*/ 2024456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81588 w 5553075"/>
                <a:gd name="connsiteY160" fmla="*/ 2186381 h 2634056"/>
                <a:gd name="connsiteX161" fmla="*/ 5124450 w 5553075"/>
                <a:gd name="connsiteY161" fmla="*/ 2253056 h 2634056"/>
                <a:gd name="connsiteX162" fmla="*/ 5248275 w 5553075"/>
                <a:gd name="connsiteY162" fmla="*/ 2295919 h 2634056"/>
                <a:gd name="connsiteX163" fmla="*/ 5281613 w 5553075"/>
                <a:gd name="connsiteY163" fmla="*/ 2362594 h 2634056"/>
                <a:gd name="connsiteX164" fmla="*/ 5276850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38775 w 5553075"/>
                <a:gd name="connsiteY166" fmla="*/ 2534044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05225 w 5553075"/>
                <a:gd name="connsiteY111" fmla="*/ 80525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10125 w 5553075"/>
                <a:gd name="connsiteY155" fmla="*/ 2010169 h 2634056"/>
                <a:gd name="connsiteX156" fmla="*/ 4843463 w 5553075"/>
                <a:gd name="connsiteY156" fmla="*/ 2024456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81588 w 5553075"/>
                <a:gd name="connsiteY160" fmla="*/ 2186381 h 2634056"/>
                <a:gd name="connsiteX161" fmla="*/ 5124450 w 5553075"/>
                <a:gd name="connsiteY161" fmla="*/ 2253056 h 2634056"/>
                <a:gd name="connsiteX162" fmla="*/ 5248275 w 5553075"/>
                <a:gd name="connsiteY162" fmla="*/ 2295919 h 2634056"/>
                <a:gd name="connsiteX163" fmla="*/ 5281613 w 5553075"/>
                <a:gd name="connsiteY163" fmla="*/ 2362594 h 2634056"/>
                <a:gd name="connsiteX164" fmla="*/ 5276850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38775 w 5553075"/>
                <a:gd name="connsiteY166" fmla="*/ 2534044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05225 w 5553075"/>
                <a:gd name="connsiteY111" fmla="*/ 80525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10125 w 5553075"/>
                <a:gd name="connsiteY155" fmla="*/ 2010169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81588 w 5553075"/>
                <a:gd name="connsiteY160" fmla="*/ 2186381 h 2634056"/>
                <a:gd name="connsiteX161" fmla="*/ 5124450 w 5553075"/>
                <a:gd name="connsiteY161" fmla="*/ 2253056 h 2634056"/>
                <a:gd name="connsiteX162" fmla="*/ 5248275 w 5553075"/>
                <a:gd name="connsiteY162" fmla="*/ 2295919 h 2634056"/>
                <a:gd name="connsiteX163" fmla="*/ 5281613 w 5553075"/>
                <a:gd name="connsiteY163" fmla="*/ 2362594 h 2634056"/>
                <a:gd name="connsiteX164" fmla="*/ 5276850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38775 w 5553075"/>
                <a:gd name="connsiteY166" fmla="*/ 2534044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05225 w 5553075"/>
                <a:gd name="connsiteY111" fmla="*/ 80525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22825 w 5553075"/>
                <a:gd name="connsiteY155" fmla="*/ 2026044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81588 w 5553075"/>
                <a:gd name="connsiteY160" fmla="*/ 2186381 h 2634056"/>
                <a:gd name="connsiteX161" fmla="*/ 5124450 w 5553075"/>
                <a:gd name="connsiteY161" fmla="*/ 2253056 h 2634056"/>
                <a:gd name="connsiteX162" fmla="*/ 5248275 w 5553075"/>
                <a:gd name="connsiteY162" fmla="*/ 2295919 h 2634056"/>
                <a:gd name="connsiteX163" fmla="*/ 5281613 w 5553075"/>
                <a:gd name="connsiteY163" fmla="*/ 2362594 h 2634056"/>
                <a:gd name="connsiteX164" fmla="*/ 5276850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38775 w 5553075"/>
                <a:gd name="connsiteY166" fmla="*/ 2534044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05225 w 5553075"/>
                <a:gd name="connsiteY111" fmla="*/ 80525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22825 w 5553075"/>
                <a:gd name="connsiteY155" fmla="*/ 2026044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65713 w 5553075"/>
                <a:gd name="connsiteY160" fmla="*/ 2192731 h 2634056"/>
                <a:gd name="connsiteX161" fmla="*/ 5124450 w 5553075"/>
                <a:gd name="connsiteY161" fmla="*/ 2253056 h 2634056"/>
                <a:gd name="connsiteX162" fmla="*/ 5248275 w 5553075"/>
                <a:gd name="connsiteY162" fmla="*/ 2295919 h 2634056"/>
                <a:gd name="connsiteX163" fmla="*/ 5281613 w 5553075"/>
                <a:gd name="connsiteY163" fmla="*/ 2362594 h 2634056"/>
                <a:gd name="connsiteX164" fmla="*/ 5276850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38775 w 5553075"/>
                <a:gd name="connsiteY166" fmla="*/ 2534044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05225 w 5553075"/>
                <a:gd name="connsiteY111" fmla="*/ 80525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22825 w 5553075"/>
                <a:gd name="connsiteY155" fmla="*/ 2026044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65713 w 5553075"/>
                <a:gd name="connsiteY160" fmla="*/ 2192731 h 2634056"/>
                <a:gd name="connsiteX161" fmla="*/ 5124450 w 5553075"/>
                <a:gd name="connsiteY161" fmla="*/ 2253056 h 2634056"/>
                <a:gd name="connsiteX162" fmla="*/ 5248275 w 5553075"/>
                <a:gd name="connsiteY162" fmla="*/ 2295919 h 2634056"/>
                <a:gd name="connsiteX163" fmla="*/ 5281613 w 5553075"/>
                <a:gd name="connsiteY163" fmla="*/ 2362594 h 2634056"/>
                <a:gd name="connsiteX164" fmla="*/ 5276850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26075 w 5553075"/>
                <a:gd name="connsiteY166" fmla="*/ 2543569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05225 w 5553075"/>
                <a:gd name="connsiteY111" fmla="*/ 80525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22825 w 5553075"/>
                <a:gd name="connsiteY155" fmla="*/ 2026044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65713 w 5553075"/>
                <a:gd name="connsiteY160" fmla="*/ 2192731 h 2634056"/>
                <a:gd name="connsiteX161" fmla="*/ 5124450 w 5553075"/>
                <a:gd name="connsiteY161" fmla="*/ 2253056 h 2634056"/>
                <a:gd name="connsiteX162" fmla="*/ 5248275 w 5553075"/>
                <a:gd name="connsiteY162" fmla="*/ 2295919 h 2634056"/>
                <a:gd name="connsiteX163" fmla="*/ 5281613 w 5553075"/>
                <a:gd name="connsiteY163" fmla="*/ 2362594 h 2634056"/>
                <a:gd name="connsiteX164" fmla="*/ 5286375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26075 w 5553075"/>
                <a:gd name="connsiteY166" fmla="*/ 2543569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05225 w 5553075"/>
                <a:gd name="connsiteY111" fmla="*/ 80525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22825 w 5553075"/>
                <a:gd name="connsiteY155" fmla="*/ 2026044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65713 w 5553075"/>
                <a:gd name="connsiteY160" fmla="*/ 2192731 h 2634056"/>
                <a:gd name="connsiteX161" fmla="*/ 5124450 w 5553075"/>
                <a:gd name="connsiteY161" fmla="*/ 2253056 h 2634056"/>
                <a:gd name="connsiteX162" fmla="*/ 5229225 w 5553075"/>
                <a:gd name="connsiteY162" fmla="*/ 2292744 h 2634056"/>
                <a:gd name="connsiteX163" fmla="*/ 5281613 w 5553075"/>
                <a:gd name="connsiteY163" fmla="*/ 2362594 h 2634056"/>
                <a:gd name="connsiteX164" fmla="*/ 5286375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26075 w 5553075"/>
                <a:gd name="connsiteY166" fmla="*/ 2543569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57575 w 5553075"/>
                <a:gd name="connsiteY103" fmla="*/ 805256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17925 w 5553075"/>
                <a:gd name="connsiteY111" fmla="*/ 81160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22825 w 5553075"/>
                <a:gd name="connsiteY155" fmla="*/ 2026044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65713 w 5553075"/>
                <a:gd name="connsiteY160" fmla="*/ 2192731 h 2634056"/>
                <a:gd name="connsiteX161" fmla="*/ 5124450 w 5553075"/>
                <a:gd name="connsiteY161" fmla="*/ 2253056 h 2634056"/>
                <a:gd name="connsiteX162" fmla="*/ 5229225 w 5553075"/>
                <a:gd name="connsiteY162" fmla="*/ 2292744 h 2634056"/>
                <a:gd name="connsiteX163" fmla="*/ 5281613 w 5553075"/>
                <a:gd name="connsiteY163" fmla="*/ 2362594 h 2634056"/>
                <a:gd name="connsiteX164" fmla="*/ 5286375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26075 w 5553075"/>
                <a:gd name="connsiteY166" fmla="*/ 2543569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286125 w 5553075"/>
                <a:gd name="connsiteY97" fmla="*/ 633806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73450 w 5553075"/>
                <a:gd name="connsiteY103" fmla="*/ 795731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17925 w 5553075"/>
                <a:gd name="connsiteY111" fmla="*/ 81160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22825 w 5553075"/>
                <a:gd name="connsiteY155" fmla="*/ 2026044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65713 w 5553075"/>
                <a:gd name="connsiteY160" fmla="*/ 2192731 h 2634056"/>
                <a:gd name="connsiteX161" fmla="*/ 5124450 w 5553075"/>
                <a:gd name="connsiteY161" fmla="*/ 2253056 h 2634056"/>
                <a:gd name="connsiteX162" fmla="*/ 5229225 w 5553075"/>
                <a:gd name="connsiteY162" fmla="*/ 2292744 h 2634056"/>
                <a:gd name="connsiteX163" fmla="*/ 5281613 w 5553075"/>
                <a:gd name="connsiteY163" fmla="*/ 2362594 h 2634056"/>
                <a:gd name="connsiteX164" fmla="*/ 5286375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26075 w 5553075"/>
                <a:gd name="connsiteY166" fmla="*/ 2543569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317875 w 5553075"/>
                <a:gd name="connsiteY97" fmla="*/ 656031 h 2634056"/>
                <a:gd name="connsiteX98" fmla="*/ 3352800 w 5553075"/>
                <a:gd name="connsiteY98" fmla="*/ 629044 h 2634056"/>
                <a:gd name="connsiteX99" fmla="*/ 3381375 w 5553075"/>
                <a:gd name="connsiteY99" fmla="*/ 667144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73450 w 5553075"/>
                <a:gd name="connsiteY103" fmla="*/ 795731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17925 w 5553075"/>
                <a:gd name="connsiteY111" fmla="*/ 81160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22825 w 5553075"/>
                <a:gd name="connsiteY155" fmla="*/ 2026044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65713 w 5553075"/>
                <a:gd name="connsiteY160" fmla="*/ 2192731 h 2634056"/>
                <a:gd name="connsiteX161" fmla="*/ 5124450 w 5553075"/>
                <a:gd name="connsiteY161" fmla="*/ 2253056 h 2634056"/>
                <a:gd name="connsiteX162" fmla="*/ 5229225 w 5553075"/>
                <a:gd name="connsiteY162" fmla="*/ 2292744 h 2634056"/>
                <a:gd name="connsiteX163" fmla="*/ 5281613 w 5553075"/>
                <a:gd name="connsiteY163" fmla="*/ 2362594 h 2634056"/>
                <a:gd name="connsiteX164" fmla="*/ 5286375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26075 w 5553075"/>
                <a:gd name="connsiteY166" fmla="*/ 2543569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814638 w 5553075"/>
                <a:gd name="connsiteY78" fmla="*/ 71831 h 2634056"/>
                <a:gd name="connsiteX79" fmla="*/ 2836863 w 5553075"/>
                <a:gd name="connsiteY79" fmla="*/ 135331 h 2634056"/>
                <a:gd name="connsiteX80" fmla="*/ 2828925 w 5553075"/>
                <a:gd name="connsiteY80" fmla="*/ 176606 h 2634056"/>
                <a:gd name="connsiteX81" fmla="*/ 2895600 w 5553075"/>
                <a:gd name="connsiteY81" fmla="*/ 152794 h 2634056"/>
                <a:gd name="connsiteX82" fmla="*/ 2895600 w 5553075"/>
                <a:gd name="connsiteY82" fmla="*/ 195656 h 2634056"/>
                <a:gd name="connsiteX83" fmla="*/ 2933700 w 5553075"/>
                <a:gd name="connsiteY83" fmla="*/ 238519 h 2634056"/>
                <a:gd name="connsiteX84" fmla="*/ 2933700 w 5553075"/>
                <a:gd name="connsiteY84" fmla="*/ 195656 h 2634056"/>
                <a:gd name="connsiteX85" fmla="*/ 2986088 w 5553075"/>
                <a:gd name="connsiteY85" fmla="*/ 224231 h 2634056"/>
                <a:gd name="connsiteX86" fmla="*/ 3000375 w 5553075"/>
                <a:gd name="connsiteY86" fmla="*/ 248044 h 2634056"/>
                <a:gd name="connsiteX87" fmla="*/ 3057525 w 5553075"/>
                <a:gd name="connsiteY87" fmla="*/ 295669 h 2634056"/>
                <a:gd name="connsiteX88" fmla="*/ 3086100 w 5553075"/>
                <a:gd name="connsiteY88" fmla="*/ 303606 h 2634056"/>
                <a:gd name="connsiteX89" fmla="*/ 3138488 w 5553075"/>
                <a:gd name="connsiteY89" fmla="*/ 371869 h 2634056"/>
                <a:gd name="connsiteX90" fmla="*/ 3190875 w 5553075"/>
                <a:gd name="connsiteY90" fmla="*/ 424256 h 2634056"/>
                <a:gd name="connsiteX91" fmla="*/ 3214688 w 5553075"/>
                <a:gd name="connsiteY91" fmla="*/ 467119 h 2634056"/>
                <a:gd name="connsiteX92" fmla="*/ 3257550 w 5553075"/>
                <a:gd name="connsiteY92" fmla="*/ 471881 h 2634056"/>
                <a:gd name="connsiteX93" fmla="*/ 3319463 w 5553075"/>
                <a:gd name="connsiteY93" fmla="*/ 529031 h 2634056"/>
                <a:gd name="connsiteX94" fmla="*/ 3281363 w 5553075"/>
                <a:gd name="connsiteY94" fmla="*/ 546494 h 2634056"/>
                <a:gd name="connsiteX95" fmla="*/ 3281363 w 5553075"/>
                <a:gd name="connsiteY95" fmla="*/ 567131 h 2634056"/>
                <a:gd name="connsiteX96" fmla="*/ 3319463 w 5553075"/>
                <a:gd name="connsiteY96" fmla="*/ 581419 h 2634056"/>
                <a:gd name="connsiteX97" fmla="*/ 3317875 w 5553075"/>
                <a:gd name="connsiteY97" fmla="*/ 656031 h 2634056"/>
                <a:gd name="connsiteX98" fmla="*/ 3352800 w 5553075"/>
                <a:gd name="connsiteY98" fmla="*/ 629044 h 2634056"/>
                <a:gd name="connsiteX99" fmla="*/ 3397250 w 5553075"/>
                <a:gd name="connsiteY99" fmla="*/ 683019 h 2634056"/>
                <a:gd name="connsiteX100" fmla="*/ 3419475 w 5553075"/>
                <a:gd name="connsiteY100" fmla="*/ 686194 h 2634056"/>
                <a:gd name="connsiteX101" fmla="*/ 3429000 w 5553075"/>
                <a:gd name="connsiteY101" fmla="*/ 714769 h 2634056"/>
                <a:gd name="connsiteX102" fmla="*/ 3429000 w 5553075"/>
                <a:gd name="connsiteY102" fmla="*/ 738581 h 2634056"/>
                <a:gd name="connsiteX103" fmla="*/ 3473450 w 5553075"/>
                <a:gd name="connsiteY103" fmla="*/ 795731 h 2634056"/>
                <a:gd name="connsiteX104" fmla="*/ 3514725 w 5553075"/>
                <a:gd name="connsiteY104" fmla="*/ 762394 h 2634056"/>
                <a:gd name="connsiteX105" fmla="*/ 3557588 w 5553075"/>
                <a:gd name="connsiteY105" fmla="*/ 752869 h 2634056"/>
                <a:gd name="connsiteX106" fmla="*/ 3595688 w 5553075"/>
                <a:gd name="connsiteY106" fmla="*/ 738581 h 2634056"/>
                <a:gd name="connsiteX107" fmla="*/ 3629025 w 5553075"/>
                <a:gd name="connsiteY107" fmla="*/ 700481 h 2634056"/>
                <a:gd name="connsiteX108" fmla="*/ 3648075 w 5553075"/>
                <a:gd name="connsiteY108" fmla="*/ 719531 h 2634056"/>
                <a:gd name="connsiteX109" fmla="*/ 3638550 w 5553075"/>
                <a:gd name="connsiteY109" fmla="*/ 757631 h 2634056"/>
                <a:gd name="connsiteX110" fmla="*/ 3657600 w 5553075"/>
                <a:gd name="connsiteY110" fmla="*/ 805256 h 2634056"/>
                <a:gd name="connsiteX111" fmla="*/ 3717925 w 5553075"/>
                <a:gd name="connsiteY111" fmla="*/ 811606 h 2634056"/>
                <a:gd name="connsiteX112" fmla="*/ 3771900 w 5553075"/>
                <a:gd name="connsiteY112" fmla="*/ 790969 h 2634056"/>
                <a:gd name="connsiteX113" fmla="*/ 3824288 w 5553075"/>
                <a:gd name="connsiteY113" fmla="*/ 767156 h 2634056"/>
                <a:gd name="connsiteX114" fmla="*/ 3814763 w 5553075"/>
                <a:gd name="connsiteY114" fmla="*/ 767156 h 2634056"/>
                <a:gd name="connsiteX115" fmla="*/ 3876675 w 5553075"/>
                <a:gd name="connsiteY115" fmla="*/ 776681 h 2634056"/>
                <a:gd name="connsiteX116" fmla="*/ 3929063 w 5553075"/>
                <a:gd name="connsiteY116" fmla="*/ 757631 h 2634056"/>
                <a:gd name="connsiteX117" fmla="*/ 3956050 w 5553075"/>
                <a:gd name="connsiteY117" fmla="*/ 779856 h 2634056"/>
                <a:gd name="connsiteX118" fmla="*/ 3905250 w 5553075"/>
                <a:gd name="connsiteY118" fmla="*/ 805256 h 2634056"/>
                <a:gd name="connsiteX119" fmla="*/ 3914775 w 5553075"/>
                <a:gd name="connsiteY119" fmla="*/ 838594 h 2634056"/>
                <a:gd name="connsiteX120" fmla="*/ 3957638 w 5553075"/>
                <a:gd name="connsiteY120" fmla="*/ 805256 h 2634056"/>
                <a:gd name="connsiteX121" fmla="*/ 3986213 w 5553075"/>
                <a:gd name="connsiteY121" fmla="*/ 848119 h 2634056"/>
                <a:gd name="connsiteX122" fmla="*/ 4078288 w 5553075"/>
                <a:gd name="connsiteY122" fmla="*/ 895744 h 2634056"/>
                <a:gd name="connsiteX123" fmla="*/ 4071938 w 5553075"/>
                <a:gd name="connsiteY123" fmla="*/ 962419 h 2634056"/>
                <a:gd name="connsiteX124" fmla="*/ 4116388 w 5553075"/>
                <a:gd name="connsiteY124" fmla="*/ 1025919 h 2634056"/>
                <a:gd name="connsiteX125" fmla="*/ 4144963 w 5553075"/>
                <a:gd name="connsiteY125" fmla="*/ 1068781 h 2634056"/>
                <a:gd name="connsiteX126" fmla="*/ 4137025 w 5553075"/>
                <a:gd name="connsiteY126" fmla="*/ 1097356 h 2634056"/>
                <a:gd name="connsiteX127" fmla="*/ 4157663 w 5553075"/>
                <a:gd name="connsiteY127" fmla="*/ 1124344 h 2634056"/>
                <a:gd name="connsiteX128" fmla="*/ 4162425 w 5553075"/>
                <a:gd name="connsiteY128" fmla="*/ 1200544 h 2634056"/>
                <a:gd name="connsiteX129" fmla="*/ 4195763 w 5553075"/>
                <a:gd name="connsiteY129" fmla="*/ 1229119 h 2634056"/>
                <a:gd name="connsiteX130" fmla="*/ 4176713 w 5553075"/>
                <a:gd name="connsiteY130" fmla="*/ 1262456 h 2634056"/>
                <a:gd name="connsiteX131" fmla="*/ 4191000 w 5553075"/>
                <a:gd name="connsiteY131" fmla="*/ 1286269 h 2634056"/>
                <a:gd name="connsiteX132" fmla="*/ 4286250 w 5553075"/>
                <a:gd name="connsiteY132" fmla="*/ 1356119 h 2634056"/>
                <a:gd name="connsiteX133" fmla="*/ 4275138 w 5553075"/>
                <a:gd name="connsiteY133" fmla="*/ 1395806 h 2634056"/>
                <a:gd name="connsiteX134" fmla="*/ 4229100 w 5553075"/>
                <a:gd name="connsiteY134" fmla="*/ 1395806 h 2634056"/>
                <a:gd name="connsiteX135" fmla="*/ 4271963 w 5553075"/>
                <a:gd name="connsiteY135" fmla="*/ 1481531 h 2634056"/>
                <a:gd name="connsiteX136" fmla="*/ 4329113 w 5553075"/>
                <a:gd name="connsiteY136" fmla="*/ 1470419 h 2634056"/>
                <a:gd name="connsiteX137" fmla="*/ 4384675 w 5553075"/>
                <a:gd name="connsiteY137" fmla="*/ 1500581 h 2634056"/>
                <a:gd name="connsiteX138" fmla="*/ 4445000 w 5553075"/>
                <a:gd name="connsiteY138" fmla="*/ 1535506 h 2634056"/>
                <a:gd name="connsiteX139" fmla="*/ 4438650 w 5553075"/>
                <a:gd name="connsiteY139" fmla="*/ 1562494 h 2634056"/>
                <a:gd name="connsiteX140" fmla="*/ 4432300 w 5553075"/>
                <a:gd name="connsiteY140" fmla="*/ 1632344 h 2634056"/>
                <a:gd name="connsiteX141" fmla="*/ 4500563 w 5553075"/>
                <a:gd name="connsiteY141" fmla="*/ 1672031 h 2634056"/>
                <a:gd name="connsiteX142" fmla="*/ 4565650 w 5553075"/>
                <a:gd name="connsiteY142" fmla="*/ 1652981 h 2634056"/>
                <a:gd name="connsiteX143" fmla="*/ 4605338 w 5553075"/>
                <a:gd name="connsiteY143" fmla="*/ 1638694 h 2634056"/>
                <a:gd name="connsiteX144" fmla="*/ 4619625 w 5553075"/>
                <a:gd name="connsiteY144" fmla="*/ 1686319 h 2634056"/>
                <a:gd name="connsiteX145" fmla="*/ 4657725 w 5553075"/>
                <a:gd name="connsiteY145" fmla="*/ 1710131 h 2634056"/>
                <a:gd name="connsiteX146" fmla="*/ 4638675 w 5553075"/>
                <a:gd name="connsiteY146" fmla="*/ 1779981 h 2634056"/>
                <a:gd name="connsiteX147" fmla="*/ 4652963 w 5553075"/>
                <a:gd name="connsiteY147" fmla="*/ 1814906 h 2634056"/>
                <a:gd name="connsiteX148" fmla="*/ 4681538 w 5553075"/>
                <a:gd name="connsiteY148" fmla="*/ 1848244 h 2634056"/>
                <a:gd name="connsiteX149" fmla="*/ 4767263 w 5553075"/>
                <a:gd name="connsiteY149" fmla="*/ 1891106 h 2634056"/>
                <a:gd name="connsiteX150" fmla="*/ 4776788 w 5553075"/>
                <a:gd name="connsiteY150" fmla="*/ 1967306 h 2634056"/>
                <a:gd name="connsiteX151" fmla="*/ 4705350 w 5553075"/>
                <a:gd name="connsiteY151" fmla="*/ 1938731 h 2634056"/>
                <a:gd name="connsiteX152" fmla="*/ 4695825 w 5553075"/>
                <a:gd name="connsiteY152" fmla="*/ 1972069 h 2634056"/>
                <a:gd name="connsiteX153" fmla="*/ 4743450 w 5553075"/>
                <a:gd name="connsiteY153" fmla="*/ 2014931 h 2634056"/>
                <a:gd name="connsiteX154" fmla="*/ 4776788 w 5553075"/>
                <a:gd name="connsiteY154" fmla="*/ 2033981 h 2634056"/>
                <a:gd name="connsiteX155" fmla="*/ 4822825 w 5553075"/>
                <a:gd name="connsiteY155" fmla="*/ 2026044 h 2634056"/>
                <a:gd name="connsiteX156" fmla="*/ 4843463 w 5553075"/>
                <a:gd name="connsiteY156" fmla="*/ 2040331 h 2634056"/>
                <a:gd name="connsiteX157" fmla="*/ 4838700 w 5553075"/>
                <a:gd name="connsiteY157" fmla="*/ 2095894 h 2634056"/>
                <a:gd name="connsiteX158" fmla="*/ 4972050 w 5553075"/>
                <a:gd name="connsiteY158" fmla="*/ 2191144 h 2634056"/>
                <a:gd name="connsiteX159" fmla="*/ 4995863 w 5553075"/>
                <a:gd name="connsiteY159" fmla="*/ 2167331 h 2634056"/>
                <a:gd name="connsiteX160" fmla="*/ 5065713 w 5553075"/>
                <a:gd name="connsiteY160" fmla="*/ 2192731 h 2634056"/>
                <a:gd name="connsiteX161" fmla="*/ 5124450 w 5553075"/>
                <a:gd name="connsiteY161" fmla="*/ 2253056 h 2634056"/>
                <a:gd name="connsiteX162" fmla="*/ 5229225 w 5553075"/>
                <a:gd name="connsiteY162" fmla="*/ 2292744 h 2634056"/>
                <a:gd name="connsiteX163" fmla="*/ 5281613 w 5553075"/>
                <a:gd name="connsiteY163" fmla="*/ 2362594 h 2634056"/>
                <a:gd name="connsiteX164" fmla="*/ 5286375 w 5553075"/>
                <a:gd name="connsiteY164" fmla="*/ 2443556 h 2634056"/>
                <a:gd name="connsiteX165" fmla="*/ 5353050 w 5553075"/>
                <a:gd name="connsiteY165" fmla="*/ 2514994 h 2634056"/>
                <a:gd name="connsiteX166" fmla="*/ 5426075 w 5553075"/>
                <a:gd name="connsiteY166" fmla="*/ 2543569 h 2634056"/>
                <a:gd name="connsiteX167" fmla="*/ 5486400 w 5553075"/>
                <a:gd name="connsiteY167" fmla="*/ 2595956 h 2634056"/>
                <a:gd name="connsiteX168" fmla="*/ 5553075 w 5553075"/>
                <a:gd name="connsiteY168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784475 w 5553075"/>
                <a:gd name="connsiteY78" fmla="*/ 75006 h 2634056"/>
                <a:gd name="connsiteX79" fmla="*/ 2814638 w 5553075"/>
                <a:gd name="connsiteY79" fmla="*/ 71831 h 2634056"/>
                <a:gd name="connsiteX80" fmla="*/ 2836863 w 5553075"/>
                <a:gd name="connsiteY80" fmla="*/ 135331 h 2634056"/>
                <a:gd name="connsiteX81" fmla="*/ 2828925 w 5553075"/>
                <a:gd name="connsiteY81" fmla="*/ 176606 h 2634056"/>
                <a:gd name="connsiteX82" fmla="*/ 2895600 w 5553075"/>
                <a:gd name="connsiteY82" fmla="*/ 152794 h 2634056"/>
                <a:gd name="connsiteX83" fmla="*/ 2895600 w 5553075"/>
                <a:gd name="connsiteY83" fmla="*/ 195656 h 2634056"/>
                <a:gd name="connsiteX84" fmla="*/ 2933700 w 5553075"/>
                <a:gd name="connsiteY84" fmla="*/ 238519 h 2634056"/>
                <a:gd name="connsiteX85" fmla="*/ 2933700 w 5553075"/>
                <a:gd name="connsiteY85" fmla="*/ 195656 h 2634056"/>
                <a:gd name="connsiteX86" fmla="*/ 2986088 w 5553075"/>
                <a:gd name="connsiteY86" fmla="*/ 224231 h 2634056"/>
                <a:gd name="connsiteX87" fmla="*/ 3000375 w 5553075"/>
                <a:gd name="connsiteY87" fmla="*/ 248044 h 2634056"/>
                <a:gd name="connsiteX88" fmla="*/ 3057525 w 5553075"/>
                <a:gd name="connsiteY88" fmla="*/ 295669 h 2634056"/>
                <a:gd name="connsiteX89" fmla="*/ 3086100 w 5553075"/>
                <a:gd name="connsiteY89" fmla="*/ 303606 h 2634056"/>
                <a:gd name="connsiteX90" fmla="*/ 3138488 w 5553075"/>
                <a:gd name="connsiteY90" fmla="*/ 371869 h 2634056"/>
                <a:gd name="connsiteX91" fmla="*/ 3190875 w 5553075"/>
                <a:gd name="connsiteY91" fmla="*/ 424256 h 2634056"/>
                <a:gd name="connsiteX92" fmla="*/ 3214688 w 5553075"/>
                <a:gd name="connsiteY92" fmla="*/ 467119 h 2634056"/>
                <a:gd name="connsiteX93" fmla="*/ 3257550 w 5553075"/>
                <a:gd name="connsiteY93" fmla="*/ 471881 h 2634056"/>
                <a:gd name="connsiteX94" fmla="*/ 3319463 w 5553075"/>
                <a:gd name="connsiteY94" fmla="*/ 529031 h 2634056"/>
                <a:gd name="connsiteX95" fmla="*/ 3281363 w 5553075"/>
                <a:gd name="connsiteY95" fmla="*/ 546494 h 2634056"/>
                <a:gd name="connsiteX96" fmla="*/ 3281363 w 5553075"/>
                <a:gd name="connsiteY96" fmla="*/ 567131 h 2634056"/>
                <a:gd name="connsiteX97" fmla="*/ 3319463 w 5553075"/>
                <a:gd name="connsiteY97" fmla="*/ 581419 h 2634056"/>
                <a:gd name="connsiteX98" fmla="*/ 3317875 w 5553075"/>
                <a:gd name="connsiteY98" fmla="*/ 656031 h 2634056"/>
                <a:gd name="connsiteX99" fmla="*/ 3352800 w 5553075"/>
                <a:gd name="connsiteY99" fmla="*/ 629044 h 2634056"/>
                <a:gd name="connsiteX100" fmla="*/ 3397250 w 5553075"/>
                <a:gd name="connsiteY100" fmla="*/ 683019 h 2634056"/>
                <a:gd name="connsiteX101" fmla="*/ 3419475 w 5553075"/>
                <a:gd name="connsiteY101" fmla="*/ 686194 h 2634056"/>
                <a:gd name="connsiteX102" fmla="*/ 3429000 w 5553075"/>
                <a:gd name="connsiteY102" fmla="*/ 714769 h 2634056"/>
                <a:gd name="connsiteX103" fmla="*/ 3429000 w 5553075"/>
                <a:gd name="connsiteY103" fmla="*/ 738581 h 2634056"/>
                <a:gd name="connsiteX104" fmla="*/ 3473450 w 5553075"/>
                <a:gd name="connsiteY104" fmla="*/ 795731 h 2634056"/>
                <a:gd name="connsiteX105" fmla="*/ 3514725 w 5553075"/>
                <a:gd name="connsiteY105" fmla="*/ 762394 h 2634056"/>
                <a:gd name="connsiteX106" fmla="*/ 3557588 w 5553075"/>
                <a:gd name="connsiteY106" fmla="*/ 752869 h 2634056"/>
                <a:gd name="connsiteX107" fmla="*/ 3595688 w 5553075"/>
                <a:gd name="connsiteY107" fmla="*/ 738581 h 2634056"/>
                <a:gd name="connsiteX108" fmla="*/ 3629025 w 5553075"/>
                <a:gd name="connsiteY108" fmla="*/ 700481 h 2634056"/>
                <a:gd name="connsiteX109" fmla="*/ 3648075 w 5553075"/>
                <a:gd name="connsiteY109" fmla="*/ 719531 h 2634056"/>
                <a:gd name="connsiteX110" fmla="*/ 3638550 w 5553075"/>
                <a:gd name="connsiteY110" fmla="*/ 757631 h 2634056"/>
                <a:gd name="connsiteX111" fmla="*/ 3657600 w 5553075"/>
                <a:gd name="connsiteY111" fmla="*/ 805256 h 2634056"/>
                <a:gd name="connsiteX112" fmla="*/ 3717925 w 5553075"/>
                <a:gd name="connsiteY112" fmla="*/ 811606 h 2634056"/>
                <a:gd name="connsiteX113" fmla="*/ 3771900 w 5553075"/>
                <a:gd name="connsiteY113" fmla="*/ 790969 h 2634056"/>
                <a:gd name="connsiteX114" fmla="*/ 3824288 w 5553075"/>
                <a:gd name="connsiteY114" fmla="*/ 767156 h 2634056"/>
                <a:gd name="connsiteX115" fmla="*/ 3814763 w 5553075"/>
                <a:gd name="connsiteY115" fmla="*/ 767156 h 2634056"/>
                <a:gd name="connsiteX116" fmla="*/ 3876675 w 5553075"/>
                <a:gd name="connsiteY116" fmla="*/ 776681 h 2634056"/>
                <a:gd name="connsiteX117" fmla="*/ 3929063 w 5553075"/>
                <a:gd name="connsiteY117" fmla="*/ 757631 h 2634056"/>
                <a:gd name="connsiteX118" fmla="*/ 3956050 w 5553075"/>
                <a:gd name="connsiteY118" fmla="*/ 779856 h 2634056"/>
                <a:gd name="connsiteX119" fmla="*/ 3905250 w 5553075"/>
                <a:gd name="connsiteY119" fmla="*/ 805256 h 2634056"/>
                <a:gd name="connsiteX120" fmla="*/ 3914775 w 5553075"/>
                <a:gd name="connsiteY120" fmla="*/ 838594 h 2634056"/>
                <a:gd name="connsiteX121" fmla="*/ 3957638 w 5553075"/>
                <a:gd name="connsiteY121" fmla="*/ 805256 h 2634056"/>
                <a:gd name="connsiteX122" fmla="*/ 3986213 w 5553075"/>
                <a:gd name="connsiteY122" fmla="*/ 848119 h 2634056"/>
                <a:gd name="connsiteX123" fmla="*/ 4078288 w 5553075"/>
                <a:gd name="connsiteY123" fmla="*/ 895744 h 2634056"/>
                <a:gd name="connsiteX124" fmla="*/ 4071938 w 5553075"/>
                <a:gd name="connsiteY124" fmla="*/ 962419 h 2634056"/>
                <a:gd name="connsiteX125" fmla="*/ 4116388 w 5553075"/>
                <a:gd name="connsiteY125" fmla="*/ 1025919 h 2634056"/>
                <a:gd name="connsiteX126" fmla="*/ 4144963 w 5553075"/>
                <a:gd name="connsiteY126" fmla="*/ 1068781 h 2634056"/>
                <a:gd name="connsiteX127" fmla="*/ 4137025 w 5553075"/>
                <a:gd name="connsiteY127" fmla="*/ 1097356 h 2634056"/>
                <a:gd name="connsiteX128" fmla="*/ 4157663 w 5553075"/>
                <a:gd name="connsiteY128" fmla="*/ 1124344 h 2634056"/>
                <a:gd name="connsiteX129" fmla="*/ 4162425 w 5553075"/>
                <a:gd name="connsiteY129" fmla="*/ 1200544 h 2634056"/>
                <a:gd name="connsiteX130" fmla="*/ 4195763 w 5553075"/>
                <a:gd name="connsiteY130" fmla="*/ 1229119 h 2634056"/>
                <a:gd name="connsiteX131" fmla="*/ 4176713 w 5553075"/>
                <a:gd name="connsiteY131" fmla="*/ 1262456 h 2634056"/>
                <a:gd name="connsiteX132" fmla="*/ 4191000 w 5553075"/>
                <a:gd name="connsiteY132" fmla="*/ 1286269 h 2634056"/>
                <a:gd name="connsiteX133" fmla="*/ 4286250 w 5553075"/>
                <a:gd name="connsiteY133" fmla="*/ 1356119 h 2634056"/>
                <a:gd name="connsiteX134" fmla="*/ 4275138 w 5553075"/>
                <a:gd name="connsiteY134" fmla="*/ 1395806 h 2634056"/>
                <a:gd name="connsiteX135" fmla="*/ 4229100 w 5553075"/>
                <a:gd name="connsiteY135" fmla="*/ 1395806 h 2634056"/>
                <a:gd name="connsiteX136" fmla="*/ 4271963 w 5553075"/>
                <a:gd name="connsiteY136" fmla="*/ 1481531 h 2634056"/>
                <a:gd name="connsiteX137" fmla="*/ 4329113 w 5553075"/>
                <a:gd name="connsiteY137" fmla="*/ 1470419 h 2634056"/>
                <a:gd name="connsiteX138" fmla="*/ 4384675 w 5553075"/>
                <a:gd name="connsiteY138" fmla="*/ 1500581 h 2634056"/>
                <a:gd name="connsiteX139" fmla="*/ 4445000 w 5553075"/>
                <a:gd name="connsiteY139" fmla="*/ 1535506 h 2634056"/>
                <a:gd name="connsiteX140" fmla="*/ 4438650 w 5553075"/>
                <a:gd name="connsiteY140" fmla="*/ 1562494 h 2634056"/>
                <a:gd name="connsiteX141" fmla="*/ 4432300 w 5553075"/>
                <a:gd name="connsiteY141" fmla="*/ 1632344 h 2634056"/>
                <a:gd name="connsiteX142" fmla="*/ 4500563 w 5553075"/>
                <a:gd name="connsiteY142" fmla="*/ 1672031 h 2634056"/>
                <a:gd name="connsiteX143" fmla="*/ 4565650 w 5553075"/>
                <a:gd name="connsiteY143" fmla="*/ 1652981 h 2634056"/>
                <a:gd name="connsiteX144" fmla="*/ 4605338 w 5553075"/>
                <a:gd name="connsiteY144" fmla="*/ 1638694 h 2634056"/>
                <a:gd name="connsiteX145" fmla="*/ 4619625 w 5553075"/>
                <a:gd name="connsiteY145" fmla="*/ 1686319 h 2634056"/>
                <a:gd name="connsiteX146" fmla="*/ 4657725 w 5553075"/>
                <a:gd name="connsiteY146" fmla="*/ 1710131 h 2634056"/>
                <a:gd name="connsiteX147" fmla="*/ 4638675 w 5553075"/>
                <a:gd name="connsiteY147" fmla="*/ 1779981 h 2634056"/>
                <a:gd name="connsiteX148" fmla="*/ 4652963 w 5553075"/>
                <a:gd name="connsiteY148" fmla="*/ 1814906 h 2634056"/>
                <a:gd name="connsiteX149" fmla="*/ 4681538 w 5553075"/>
                <a:gd name="connsiteY149" fmla="*/ 1848244 h 2634056"/>
                <a:gd name="connsiteX150" fmla="*/ 4767263 w 5553075"/>
                <a:gd name="connsiteY150" fmla="*/ 1891106 h 2634056"/>
                <a:gd name="connsiteX151" fmla="*/ 4776788 w 5553075"/>
                <a:gd name="connsiteY151" fmla="*/ 1967306 h 2634056"/>
                <a:gd name="connsiteX152" fmla="*/ 4705350 w 5553075"/>
                <a:gd name="connsiteY152" fmla="*/ 1938731 h 2634056"/>
                <a:gd name="connsiteX153" fmla="*/ 4695825 w 5553075"/>
                <a:gd name="connsiteY153" fmla="*/ 1972069 h 2634056"/>
                <a:gd name="connsiteX154" fmla="*/ 4743450 w 5553075"/>
                <a:gd name="connsiteY154" fmla="*/ 2014931 h 2634056"/>
                <a:gd name="connsiteX155" fmla="*/ 4776788 w 5553075"/>
                <a:gd name="connsiteY155" fmla="*/ 2033981 h 2634056"/>
                <a:gd name="connsiteX156" fmla="*/ 4822825 w 5553075"/>
                <a:gd name="connsiteY156" fmla="*/ 2026044 h 2634056"/>
                <a:gd name="connsiteX157" fmla="*/ 4843463 w 5553075"/>
                <a:gd name="connsiteY157" fmla="*/ 2040331 h 2634056"/>
                <a:gd name="connsiteX158" fmla="*/ 4838700 w 5553075"/>
                <a:gd name="connsiteY158" fmla="*/ 2095894 h 2634056"/>
                <a:gd name="connsiteX159" fmla="*/ 4972050 w 5553075"/>
                <a:gd name="connsiteY159" fmla="*/ 2191144 h 2634056"/>
                <a:gd name="connsiteX160" fmla="*/ 4995863 w 5553075"/>
                <a:gd name="connsiteY160" fmla="*/ 2167331 h 2634056"/>
                <a:gd name="connsiteX161" fmla="*/ 5065713 w 5553075"/>
                <a:gd name="connsiteY161" fmla="*/ 2192731 h 2634056"/>
                <a:gd name="connsiteX162" fmla="*/ 5124450 w 5553075"/>
                <a:gd name="connsiteY162" fmla="*/ 2253056 h 2634056"/>
                <a:gd name="connsiteX163" fmla="*/ 5229225 w 5553075"/>
                <a:gd name="connsiteY163" fmla="*/ 2292744 h 2634056"/>
                <a:gd name="connsiteX164" fmla="*/ 5281613 w 5553075"/>
                <a:gd name="connsiteY164" fmla="*/ 2362594 h 2634056"/>
                <a:gd name="connsiteX165" fmla="*/ 5286375 w 5553075"/>
                <a:gd name="connsiteY165" fmla="*/ 2443556 h 2634056"/>
                <a:gd name="connsiteX166" fmla="*/ 5353050 w 5553075"/>
                <a:gd name="connsiteY166" fmla="*/ 2514994 h 2634056"/>
                <a:gd name="connsiteX167" fmla="*/ 5426075 w 5553075"/>
                <a:gd name="connsiteY167" fmla="*/ 2543569 h 2634056"/>
                <a:gd name="connsiteX168" fmla="*/ 5486400 w 5553075"/>
                <a:gd name="connsiteY168" fmla="*/ 2595956 h 2634056"/>
                <a:gd name="connsiteX169" fmla="*/ 5553075 w 5553075"/>
                <a:gd name="connsiteY169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784475 w 5553075"/>
                <a:gd name="connsiteY78" fmla="*/ 75006 h 2634056"/>
                <a:gd name="connsiteX79" fmla="*/ 2814638 w 5553075"/>
                <a:gd name="connsiteY79" fmla="*/ 71831 h 2634056"/>
                <a:gd name="connsiteX80" fmla="*/ 2836863 w 5553075"/>
                <a:gd name="connsiteY80" fmla="*/ 135331 h 2634056"/>
                <a:gd name="connsiteX81" fmla="*/ 2828925 w 5553075"/>
                <a:gd name="connsiteY81" fmla="*/ 176606 h 2634056"/>
                <a:gd name="connsiteX82" fmla="*/ 2895600 w 5553075"/>
                <a:gd name="connsiteY82" fmla="*/ 152794 h 2634056"/>
                <a:gd name="connsiteX83" fmla="*/ 2917825 w 5553075"/>
                <a:gd name="connsiteY83" fmla="*/ 170256 h 2634056"/>
                <a:gd name="connsiteX84" fmla="*/ 2933700 w 5553075"/>
                <a:gd name="connsiteY84" fmla="*/ 238519 h 2634056"/>
                <a:gd name="connsiteX85" fmla="*/ 2933700 w 5553075"/>
                <a:gd name="connsiteY85" fmla="*/ 195656 h 2634056"/>
                <a:gd name="connsiteX86" fmla="*/ 2986088 w 5553075"/>
                <a:gd name="connsiteY86" fmla="*/ 224231 h 2634056"/>
                <a:gd name="connsiteX87" fmla="*/ 3000375 w 5553075"/>
                <a:gd name="connsiteY87" fmla="*/ 248044 h 2634056"/>
                <a:gd name="connsiteX88" fmla="*/ 3057525 w 5553075"/>
                <a:gd name="connsiteY88" fmla="*/ 295669 h 2634056"/>
                <a:gd name="connsiteX89" fmla="*/ 3086100 w 5553075"/>
                <a:gd name="connsiteY89" fmla="*/ 303606 h 2634056"/>
                <a:gd name="connsiteX90" fmla="*/ 3138488 w 5553075"/>
                <a:gd name="connsiteY90" fmla="*/ 371869 h 2634056"/>
                <a:gd name="connsiteX91" fmla="*/ 3190875 w 5553075"/>
                <a:gd name="connsiteY91" fmla="*/ 424256 h 2634056"/>
                <a:gd name="connsiteX92" fmla="*/ 3214688 w 5553075"/>
                <a:gd name="connsiteY92" fmla="*/ 467119 h 2634056"/>
                <a:gd name="connsiteX93" fmla="*/ 3257550 w 5553075"/>
                <a:gd name="connsiteY93" fmla="*/ 471881 h 2634056"/>
                <a:gd name="connsiteX94" fmla="*/ 3319463 w 5553075"/>
                <a:gd name="connsiteY94" fmla="*/ 529031 h 2634056"/>
                <a:gd name="connsiteX95" fmla="*/ 3281363 w 5553075"/>
                <a:gd name="connsiteY95" fmla="*/ 546494 h 2634056"/>
                <a:gd name="connsiteX96" fmla="*/ 3281363 w 5553075"/>
                <a:gd name="connsiteY96" fmla="*/ 567131 h 2634056"/>
                <a:gd name="connsiteX97" fmla="*/ 3319463 w 5553075"/>
                <a:gd name="connsiteY97" fmla="*/ 581419 h 2634056"/>
                <a:gd name="connsiteX98" fmla="*/ 3317875 w 5553075"/>
                <a:gd name="connsiteY98" fmla="*/ 656031 h 2634056"/>
                <a:gd name="connsiteX99" fmla="*/ 3352800 w 5553075"/>
                <a:gd name="connsiteY99" fmla="*/ 629044 h 2634056"/>
                <a:gd name="connsiteX100" fmla="*/ 3397250 w 5553075"/>
                <a:gd name="connsiteY100" fmla="*/ 683019 h 2634056"/>
                <a:gd name="connsiteX101" fmla="*/ 3419475 w 5553075"/>
                <a:gd name="connsiteY101" fmla="*/ 686194 h 2634056"/>
                <a:gd name="connsiteX102" fmla="*/ 3429000 w 5553075"/>
                <a:gd name="connsiteY102" fmla="*/ 714769 h 2634056"/>
                <a:gd name="connsiteX103" fmla="*/ 3429000 w 5553075"/>
                <a:gd name="connsiteY103" fmla="*/ 738581 h 2634056"/>
                <a:gd name="connsiteX104" fmla="*/ 3473450 w 5553075"/>
                <a:gd name="connsiteY104" fmla="*/ 795731 h 2634056"/>
                <a:gd name="connsiteX105" fmla="*/ 3514725 w 5553075"/>
                <a:gd name="connsiteY105" fmla="*/ 762394 h 2634056"/>
                <a:gd name="connsiteX106" fmla="*/ 3557588 w 5553075"/>
                <a:gd name="connsiteY106" fmla="*/ 752869 h 2634056"/>
                <a:gd name="connsiteX107" fmla="*/ 3595688 w 5553075"/>
                <a:gd name="connsiteY107" fmla="*/ 738581 h 2634056"/>
                <a:gd name="connsiteX108" fmla="*/ 3629025 w 5553075"/>
                <a:gd name="connsiteY108" fmla="*/ 700481 h 2634056"/>
                <a:gd name="connsiteX109" fmla="*/ 3648075 w 5553075"/>
                <a:gd name="connsiteY109" fmla="*/ 719531 h 2634056"/>
                <a:gd name="connsiteX110" fmla="*/ 3638550 w 5553075"/>
                <a:gd name="connsiteY110" fmla="*/ 757631 h 2634056"/>
                <a:gd name="connsiteX111" fmla="*/ 3657600 w 5553075"/>
                <a:gd name="connsiteY111" fmla="*/ 805256 h 2634056"/>
                <a:gd name="connsiteX112" fmla="*/ 3717925 w 5553075"/>
                <a:gd name="connsiteY112" fmla="*/ 811606 h 2634056"/>
                <a:gd name="connsiteX113" fmla="*/ 3771900 w 5553075"/>
                <a:gd name="connsiteY113" fmla="*/ 790969 h 2634056"/>
                <a:gd name="connsiteX114" fmla="*/ 3824288 w 5553075"/>
                <a:gd name="connsiteY114" fmla="*/ 767156 h 2634056"/>
                <a:gd name="connsiteX115" fmla="*/ 3814763 w 5553075"/>
                <a:gd name="connsiteY115" fmla="*/ 767156 h 2634056"/>
                <a:gd name="connsiteX116" fmla="*/ 3876675 w 5553075"/>
                <a:gd name="connsiteY116" fmla="*/ 776681 h 2634056"/>
                <a:gd name="connsiteX117" fmla="*/ 3929063 w 5553075"/>
                <a:gd name="connsiteY117" fmla="*/ 757631 h 2634056"/>
                <a:gd name="connsiteX118" fmla="*/ 3956050 w 5553075"/>
                <a:gd name="connsiteY118" fmla="*/ 779856 h 2634056"/>
                <a:gd name="connsiteX119" fmla="*/ 3905250 w 5553075"/>
                <a:gd name="connsiteY119" fmla="*/ 805256 h 2634056"/>
                <a:gd name="connsiteX120" fmla="*/ 3914775 w 5553075"/>
                <a:gd name="connsiteY120" fmla="*/ 838594 h 2634056"/>
                <a:gd name="connsiteX121" fmla="*/ 3957638 w 5553075"/>
                <a:gd name="connsiteY121" fmla="*/ 805256 h 2634056"/>
                <a:gd name="connsiteX122" fmla="*/ 3986213 w 5553075"/>
                <a:gd name="connsiteY122" fmla="*/ 848119 h 2634056"/>
                <a:gd name="connsiteX123" fmla="*/ 4078288 w 5553075"/>
                <a:gd name="connsiteY123" fmla="*/ 895744 h 2634056"/>
                <a:gd name="connsiteX124" fmla="*/ 4071938 w 5553075"/>
                <a:gd name="connsiteY124" fmla="*/ 962419 h 2634056"/>
                <a:gd name="connsiteX125" fmla="*/ 4116388 w 5553075"/>
                <a:gd name="connsiteY125" fmla="*/ 1025919 h 2634056"/>
                <a:gd name="connsiteX126" fmla="*/ 4144963 w 5553075"/>
                <a:gd name="connsiteY126" fmla="*/ 1068781 h 2634056"/>
                <a:gd name="connsiteX127" fmla="*/ 4137025 w 5553075"/>
                <a:gd name="connsiteY127" fmla="*/ 1097356 h 2634056"/>
                <a:gd name="connsiteX128" fmla="*/ 4157663 w 5553075"/>
                <a:gd name="connsiteY128" fmla="*/ 1124344 h 2634056"/>
                <a:gd name="connsiteX129" fmla="*/ 4162425 w 5553075"/>
                <a:gd name="connsiteY129" fmla="*/ 1200544 h 2634056"/>
                <a:gd name="connsiteX130" fmla="*/ 4195763 w 5553075"/>
                <a:gd name="connsiteY130" fmla="*/ 1229119 h 2634056"/>
                <a:gd name="connsiteX131" fmla="*/ 4176713 w 5553075"/>
                <a:gd name="connsiteY131" fmla="*/ 1262456 h 2634056"/>
                <a:gd name="connsiteX132" fmla="*/ 4191000 w 5553075"/>
                <a:gd name="connsiteY132" fmla="*/ 1286269 h 2634056"/>
                <a:gd name="connsiteX133" fmla="*/ 4286250 w 5553075"/>
                <a:gd name="connsiteY133" fmla="*/ 1356119 h 2634056"/>
                <a:gd name="connsiteX134" fmla="*/ 4275138 w 5553075"/>
                <a:gd name="connsiteY134" fmla="*/ 1395806 h 2634056"/>
                <a:gd name="connsiteX135" fmla="*/ 4229100 w 5553075"/>
                <a:gd name="connsiteY135" fmla="*/ 1395806 h 2634056"/>
                <a:gd name="connsiteX136" fmla="*/ 4271963 w 5553075"/>
                <a:gd name="connsiteY136" fmla="*/ 1481531 h 2634056"/>
                <a:gd name="connsiteX137" fmla="*/ 4329113 w 5553075"/>
                <a:gd name="connsiteY137" fmla="*/ 1470419 h 2634056"/>
                <a:gd name="connsiteX138" fmla="*/ 4384675 w 5553075"/>
                <a:gd name="connsiteY138" fmla="*/ 1500581 h 2634056"/>
                <a:gd name="connsiteX139" fmla="*/ 4445000 w 5553075"/>
                <a:gd name="connsiteY139" fmla="*/ 1535506 h 2634056"/>
                <a:gd name="connsiteX140" fmla="*/ 4438650 w 5553075"/>
                <a:gd name="connsiteY140" fmla="*/ 1562494 h 2634056"/>
                <a:gd name="connsiteX141" fmla="*/ 4432300 w 5553075"/>
                <a:gd name="connsiteY141" fmla="*/ 1632344 h 2634056"/>
                <a:gd name="connsiteX142" fmla="*/ 4500563 w 5553075"/>
                <a:gd name="connsiteY142" fmla="*/ 1672031 h 2634056"/>
                <a:gd name="connsiteX143" fmla="*/ 4565650 w 5553075"/>
                <a:gd name="connsiteY143" fmla="*/ 1652981 h 2634056"/>
                <a:gd name="connsiteX144" fmla="*/ 4605338 w 5553075"/>
                <a:gd name="connsiteY144" fmla="*/ 1638694 h 2634056"/>
                <a:gd name="connsiteX145" fmla="*/ 4619625 w 5553075"/>
                <a:gd name="connsiteY145" fmla="*/ 1686319 h 2634056"/>
                <a:gd name="connsiteX146" fmla="*/ 4657725 w 5553075"/>
                <a:gd name="connsiteY146" fmla="*/ 1710131 h 2634056"/>
                <a:gd name="connsiteX147" fmla="*/ 4638675 w 5553075"/>
                <a:gd name="connsiteY147" fmla="*/ 1779981 h 2634056"/>
                <a:gd name="connsiteX148" fmla="*/ 4652963 w 5553075"/>
                <a:gd name="connsiteY148" fmla="*/ 1814906 h 2634056"/>
                <a:gd name="connsiteX149" fmla="*/ 4681538 w 5553075"/>
                <a:gd name="connsiteY149" fmla="*/ 1848244 h 2634056"/>
                <a:gd name="connsiteX150" fmla="*/ 4767263 w 5553075"/>
                <a:gd name="connsiteY150" fmla="*/ 1891106 h 2634056"/>
                <a:gd name="connsiteX151" fmla="*/ 4776788 w 5553075"/>
                <a:gd name="connsiteY151" fmla="*/ 1967306 h 2634056"/>
                <a:gd name="connsiteX152" fmla="*/ 4705350 w 5553075"/>
                <a:gd name="connsiteY152" fmla="*/ 1938731 h 2634056"/>
                <a:gd name="connsiteX153" fmla="*/ 4695825 w 5553075"/>
                <a:gd name="connsiteY153" fmla="*/ 1972069 h 2634056"/>
                <a:gd name="connsiteX154" fmla="*/ 4743450 w 5553075"/>
                <a:gd name="connsiteY154" fmla="*/ 2014931 h 2634056"/>
                <a:gd name="connsiteX155" fmla="*/ 4776788 w 5553075"/>
                <a:gd name="connsiteY155" fmla="*/ 2033981 h 2634056"/>
                <a:gd name="connsiteX156" fmla="*/ 4822825 w 5553075"/>
                <a:gd name="connsiteY156" fmla="*/ 2026044 h 2634056"/>
                <a:gd name="connsiteX157" fmla="*/ 4843463 w 5553075"/>
                <a:gd name="connsiteY157" fmla="*/ 2040331 h 2634056"/>
                <a:gd name="connsiteX158" fmla="*/ 4838700 w 5553075"/>
                <a:gd name="connsiteY158" fmla="*/ 2095894 h 2634056"/>
                <a:gd name="connsiteX159" fmla="*/ 4972050 w 5553075"/>
                <a:gd name="connsiteY159" fmla="*/ 2191144 h 2634056"/>
                <a:gd name="connsiteX160" fmla="*/ 4995863 w 5553075"/>
                <a:gd name="connsiteY160" fmla="*/ 2167331 h 2634056"/>
                <a:gd name="connsiteX161" fmla="*/ 5065713 w 5553075"/>
                <a:gd name="connsiteY161" fmla="*/ 2192731 h 2634056"/>
                <a:gd name="connsiteX162" fmla="*/ 5124450 w 5553075"/>
                <a:gd name="connsiteY162" fmla="*/ 2253056 h 2634056"/>
                <a:gd name="connsiteX163" fmla="*/ 5229225 w 5553075"/>
                <a:gd name="connsiteY163" fmla="*/ 2292744 h 2634056"/>
                <a:gd name="connsiteX164" fmla="*/ 5281613 w 5553075"/>
                <a:gd name="connsiteY164" fmla="*/ 2362594 h 2634056"/>
                <a:gd name="connsiteX165" fmla="*/ 5286375 w 5553075"/>
                <a:gd name="connsiteY165" fmla="*/ 2443556 h 2634056"/>
                <a:gd name="connsiteX166" fmla="*/ 5353050 w 5553075"/>
                <a:gd name="connsiteY166" fmla="*/ 2514994 h 2634056"/>
                <a:gd name="connsiteX167" fmla="*/ 5426075 w 5553075"/>
                <a:gd name="connsiteY167" fmla="*/ 2543569 h 2634056"/>
                <a:gd name="connsiteX168" fmla="*/ 5486400 w 5553075"/>
                <a:gd name="connsiteY168" fmla="*/ 2595956 h 2634056"/>
                <a:gd name="connsiteX169" fmla="*/ 5553075 w 5553075"/>
                <a:gd name="connsiteY169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784475 w 5553075"/>
                <a:gd name="connsiteY78" fmla="*/ 75006 h 2634056"/>
                <a:gd name="connsiteX79" fmla="*/ 2814638 w 5553075"/>
                <a:gd name="connsiteY79" fmla="*/ 71831 h 2634056"/>
                <a:gd name="connsiteX80" fmla="*/ 2836863 w 5553075"/>
                <a:gd name="connsiteY80" fmla="*/ 135331 h 2634056"/>
                <a:gd name="connsiteX81" fmla="*/ 2828925 w 5553075"/>
                <a:gd name="connsiteY81" fmla="*/ 176606 h 2634056"/>
                <a:gd name="connsiteX82" fmla="*/ 2895600 w 5553075"/>
                <a:gd name="connsiteY82" fmla="*/ 152794 h 2634056"/>
                <a:gd name="connsiteX83" fmla="*/ 2911475 w 5553075"/>
                <a:gd name="connsiteY83" fmla="*/ 202006 h 2634056"/>
                <a:gd name="connsiteX84" fmla="*/ 2933700 w 5553075"/>
                <a:gd name="connsiteY84" fmla="*/ 238519 h 2634056"/>
                <a:gd name="connsiteX85" fmla="*/ 2933700 w 5553075"/>
                <a:gd name="connsiteY85" fmla="*/ 195656 h 2634056"/>
                <a:gd name="connsiteX86" fmla="*/ 2986088 w 5553075"/>
                <a:gd name="connsiteY86" fmla="*/ 224231 h 2634056"/>
                <a:gd name="connsiteX87" fmla="*/ 3000375 w 5553075"/>
                <a:gd name="connsiteY87" fmla="*/ 248044 h 2634056"/>
                <a:gd name="connsiteX88" fmla="*/ 3057525 w 5553075"/>
                <a:gd name="connsiteY88" fmla="*/ 295669 h 2634056"/>
                <a:gd name="connsiteX89" fmla="*/ 3086100 w 5553075"/>
                <a:gd name="connsiteY89" fmla="*/ 303606 h 2634056"/>
                <a:gd name="connsiteX90" fmla="*/ 3138488 w 5553075"/>
                <a:gd name="connsiteY90" fmla="*/ 371869 h 2634056"/>
                <a:gd name="connsiteX91" fmla="*/ 3190875 w 5553075"/>
                <a:gd name="connsiteY91" fmla="*/ 424256 h 2634056"/>
                <a:gd name="connsiteX92" fmla="*/ 3214688 w 5553075"/>
                <a:gd name="connsiteY92" fmla="*/ 467119 h 2634056"/>
                <a:gd name="connsiteX93" fmla="*/ 3257550 w 5553075"/>
                <a:gd name="connsiteY93" fmla="*/ 471881 h 2634056"/>
                <a:gd name="connsiteX94" fmla="*/ 3319463 w 5553075"/>
                <a:gd name="connsiteY94" fmla="*/ 529031 h 2634056"/>
                <a:gd name="connsiteX95" fmla="*/ 3281363 w 5553075"/>
                <a:gd name="connsiteY95" fmla="*/ 546494 h 2634056"/>
                <a:gd name="connsiteX96" fmla="*/ 3281363 w 5553075"/>
                <a:gd name="connsiteY96" fmla="*/ 567131 h 2634056"/>
                <a:gd name="connsiteX97" fmla="*/ 3319463 w 5553075"/>
                <a:gd name="connsiteY97" fmla="*/ 581419 h 2634056"/>
                <a:gd name="connsiteX98" fmla="*/ 3317875 w 5553075"/>
                <a:gd name="connsiteY98" fmla="*/ 656031 h 2634056"/>
                <a:gd name="connsiteX99" fmla="*/ 3352800 w 5553075"/>
                <a:gd name="connsiteY99" fmla="*/ 629044 h 2634056"/>
                <a:gd name="connsiteX100" fmla="*/ 3397250 w 5553075"/>
                <a:gd name="connsiteY100" fmla="*/ 683019 h 2634056"/>
                <a:gd name="connsiteX101" fmla="*/ 3419475 w 5553075"/>
                <a:gd name="connsiteY101" fmla="*/ 686194 h 2634056"/>
                <a:gd name="connsiteX102" fmla="*/ 3429000 w 5553075"/>
                <a:gd name="connsiteY102" fmla="*/ 714769 h 2634056"/>
                <a:gd name="connsiteX103" fmla="*/ 3429000 w 5553075"/>
                <a:gd name="connsiteY103" fmla="*/ 738581 h 2634056"/>
                <a:gd name="connsiteX104" fmla="*/ 3473450 w 5553075"/>
                <a:gd name="connsiteY104" fmla="*/ 795731 h 2634056"/>
                <a:gd name="connsiteX105" fmla="*/ 3514725 w 5553075"/>
                <a:gd name="connsiteY105" fmla="*/ 762394 h 2634056"/>
                <a:gd name="connsiteX106" fmla="*/ 3557588 w 5553075"/>
                <a:gd name="connsiteY106" fmla="*/ 752869 h 2634056"/>
                <a:gd name="connsiteX107" fmla="*/ 3595688 w 5553075"/>
                <a:gd name="connsiteY107" fmla="*/ 738581 h 2634056"/>
                <a:gd name="connsiteX108" fmla="*/ 3629025 w 5553075"/>
                <a:gd name="connsiteY108" fmla="*/ 700481 h 2634056"/>
                <a:gd name="connsiteX109" fmla="*/ 3648075 w 5553075"/>
                <a:gd name="connsiteY109" fmla="*/ 719531 h 2634056"/>
                <a:gd name="connsiteX110" fmla="*/ 3638550 w 5553075"/>
                <a:gd name="connsiteY110" fmla="*/ 757631 h 2634056"/>
                <a:gd name="connsiteX111" fmla="*/ 3657600 w 5553075"/>
                <a:gd name="connsiteY111" fmla="*/ 805256 h 2634056"/>
                <a:gd name="connsiteX112" fmla="*/ 3717925 w 5553075"/>
                <a:gd name="connsiteY112" fmla="*/ 811606 h 2634056"/>
                <a:gd name="connsiteX113" fmla="*/ 3771900 w 5553075"/>
                <a:gd name="connsiteY113" fmla="*/ 790969 h 2634056"/>
                <a:gd name="connsiteX114" fmla="*/ 3824288 w 5553075"/>
                <a:gd name="connsiteY114" fmla="*/ 767156 h 2634056"/>
                <a:gd name="connsiteX115" fmla="*/ 3814763 w 5553075"/>
                <a:gd name="connsiteY115" fmla="*/ 767156 h 2634056"/>
                <a:gd name="connsiteX116" fmla="*/ 3876675 w 5553075"/>
                <a:gd name="connsiteY116" fmla="*/ 776681 h 2634056"/>
                <a:gd name="connsiteX117" fmla="*/ 3929063 w 5553075"/>
                <a:gd name="connsiteY117" fmla="*/ 757631 h 2634056"/>
                <a:gd name="connsiteX118" fmla="*/ 3956050 w 5553075"/>
                <a:gd name="connsiteY118" fmla="*/ 779856 h 2634056"/>
                <a:gd name="connsiteX119" fmla="*/ 3905250 w 5553075"/>
                <a:gd name="connsiteY119" fmla="*/ 805256 h 2634056"/>
                <a:gd name="connsiteX120" fmla="*/ 3914775 w 5553075"/>
                <a:gd name="connsiteY120" fmla="*/ 838594 h 2634056"/>
                <a:gd name="connsiteX121" fmla="*/ 3957638 w 5553075"/>
                <a:gd name="connsiteY121" fmla="*/ 805256 h 2634056"/>
                <a:gd name="connsiteX122" fmla="*/ 3986213 w 5553075"/>
                <a:gd name="connsiteY122" fmla="*/ 848119 h 2634056"/>
                <a:gd name="connsiteX123" fmla="*/ 4078288 w 5553075"/>
                <a:gd name="connsiteY123" fmla="*/ 895744 h 2634056"/>
                <a:gd name="connsiteX124" fmla="*/ 4071938 w 5553075"/>
                <a:gd name="connsiteY124" fmla="*/ 962419 h 2634056"/>
                <a:gd name="connsiteX125" fmla="*/ 4116388 w 5553075"/>
                <a:gd name="connsiteY125" fmla="*/ 1025919 h 2634056"/>
                <a:gd name="connsiteX126" fmla="*/ 4144963 w 5553075"/>
                <a:gd name="connsiteY126" fmla="*/ 1068781 h 2634056"/>
                <a:gd name="connsiteX127" fmla="*/ 4137025 w 5553075"/>
                <a:gd name="connsiteY127" fmla="*/ 1097356 h 2634056"/>
                <a:gd name="connsiteX128" fmla="*/ 4157663 w 5553075"/>
                <a:gd name="connsiteY128" fmla="*/ 1124344 h 2634056"/>
                <a:gd name="connsiteX129" fmla="*/ 4162425 w 5553075"/>
                <a:gd name="connsiteY129" fmla="*/ 1200544 h 2634056"/>
                <a:gd name="connsiteX130" fmla="*/ 4195763 w 5553075"/>
                <a:gd name="connsiteY130" fmla="*/ 1229119 h 2634056"/>
                <a:gd name="connsiteX131" fmla="*/ 4176713 w 5553075"/>
                <a:gd name="connsiteY131" fmla="*/ 1262456 h 2634056"/>
                <a:gd name="connsiteX132" fmla="*/ 4191000 w 5553075"/>
                <a:gd name="connsiteY132" fmla="*/ 1286269 h 2634056"/>
                <a:gd name="connsiteX133" fmla="*/ 4286250 w 5553075"/>
                <a:gd name="connsiteY133" fmla="*/ 1356119 h 2634056"/>
                <a:gd name="connsiteX134" fmla="*/ 4275138 w 5553075"/>
                <a:gd name="connsiteY134" fmla="*/ 1395806 h 2634056"/>
                <a:gd name="connsiteX135" fmla="*/ 4229100 w 5553075"/>
                <a:gd name="connsiteY135" fmla="*/ 1395806 h 2634056"/>
                <a:gd name="connsiteX136" fmla="*/ 4271963 w 5553075"/>
                <a:gd name="connsiteY136" fmla="*/ 1481531 h 2634056"/>
                <a:gd name="connsiteX137" fmla="*/ 4329113 w 5553075"/>
                <a:gd name="connsiteY137" fmla="*/ 1470419 h 2634056"/>
                <a:gd name="connsiteX138" fmla="*/ 4384675 w 5553075"/>
                <a:gd name="connsiteY138" fmla="*/ 1500581 h 2634056"/>
                <a:gd name="connsiteX139" fmla="*/ 4445000 w 5553075"/>
                <a:gd name="connsiteY139" fmla="*/ 1535506 h 2634056"/>
                <a:gd name="connsiteX140" fmla="*/ 4438650 w 5553075"/>
                <a:gd name="connsiteY140" fmla="*/ 1562494 h 2634056"/>
                <a:gd name="connsiteX141" fmla="*/ 4432300 w 5553075"/>
                <a:gd name="connsiteY141" fmla="*/ 1632344 h 2634056"/>
                <a:gd name="connsiteX142" fmla="*/ 4500563 w 5553075"/>
                <a:gd name="connsiteY142" fmla="*/ 1672031 h 2634056"/>
                <a:gd name="connsiteX143" fmla="*/ 4565650 w 5553075"/>
                <a:gd name="connsiteY143" fmla="*/ 1652981 h 2634056"/>
                <a:gd name="connsiteX144" fmla="*/ 4605338 w 5553075"/>
                <a:gd name="connsiteY144" fmla="*/ 1638694 h 2634056"/>
                <a:gd name="connsiteX145" fmla="*/ 4619625 w 5553075"/>
                <a:gd name="connsiteY145" fmla="*/ 1686319 h 2634056"/>
                <a:gd name="connsiteX146" fmla="*/ 4657725 w 5553075"/>
                <a:gd name="connsiteY146" fmla="*/ 1710131 h 2634056"/>
                <a:gd name="connsiteX147" fmla="*/ 4638675 w 5553075"/>
                <a:gd name="connsiteY147" fmla="*/ 1779981 h 2634056"/>
                <a:gd name="connsiteX148" fmla="*/ 4652963 w 5553075"/>
                <a:gd name="connsiteY148" fmla="*/ 1814906 h 2634056"/>
                <a:gd name="connsiteX149" fmla="*/ 4681538 w 5553075"/>
                <a:gd name="connsiteY149" fmla="*/ 1848244 h 2634056"/>
                <a:gd name="connsiteX150" fmla="*/ 4767263 w 5553075"/>
                <a:gd name="connsiteY150" fmla="*/ 1891106 h 2634056"/>
                <a:gd name="connsiteX151" fmla="*/ 4776788 w 5553075"/>
                <a:gd name="connsiteY151" fmla="*/ 1967306 h 2634056"/>
                <a:gd name="connsiteX152" fmla="*/ 4705350 w 5553075"/>
                <a:gd name="connsiteY152" fmla="*/ 1938731 h 2634056"/>
                <a:gd name="connsiteX153" fmla="*/ 4695825 w 5553075"/>
                <a:gd name="connsiteY153" fmla="*/ 1972069 h 2634056"/>
                <a:gd name="connsiteX154" fmla="*/ 4743450 w 5553075"/>
                <a:gd name="connsiteY154" fmla="*/ 2014931 h 2634056"/>
                <a:gd name="connsiteX155" fmla="*/ 4776788 w 5553075"/>
                <a:gd name="connsiteY155" fmla="*/ 2033981 h 2634056"/>
                <a:gd name="connsiteX156" fmla="*/ 4822825 w 5553075"/>
                <a:gd name="connsiteY156" fmla="*/ 2026044 h 2634056"/>
                <a:gd name="connsiteX157" fmla="*/ 4843463 w 5553075"/>
                <a:gd name="connsiteY157" fmla="*/ 2040331 h 2634056"/>
                <a:gd name="connsiteX158" fmla="*/ 4838700 w 5553075"/>
                <a:gd name="connsiteY158" fmla="*/ 2095894 h 2634056"/>
                <a:gd name="connsiteX159" fmla="*/ 4972050 w 5553075"/>
                <a:gd name="connsiteY159" fmla="*/ 2191144 h 2634056"/>
                <a:gd name="connsiteX160" fmla="*/ 4995863 w 5553075"/>
                <a:gd name="connsiteY160" fmla="*/ 2167331 h 2634056"/>
                <a:gd name="connsiteX161" fmla="*/ 5065713 w 5553075"/>
                <a:gd name="connsiteY161" fmla="*/ 2192731 h 2634056"/>
                <a:gd name="connsiteX162" fmla="*/ 5124450 w 5553075"/>
                <a:gd name="connsiteY162" fmla="*/ 2253056 h 2634056"/>
                <a:gd name="connsiteX163" fmla="*/ 5229225 w 5553075"/>
                <a:gd name="connsiteY163" fmla="*/ 2292744 h 2634056"/>
                <a:gd name="connsiteX164" fmla="*/ 5281613 w 5553075"/>
                <a:gd name="connsiteY164" fmla="*/ 2362594 h 2634056"/>
                <a:gd name="connsiteX165" fmla="*/ 5286375 w 5553075"/>
                <a:gd name="connsiteY165" fmla="*/ 2443556 h 2634056"/>
                <a:gd name="connsiteX166" fmla="*/ 5353050 w 5553075"/>
                <a:gd name="connsiteY166" fmla="*/ 2514994 h 2634056"/>
                <a:gd name="connsiteX167" fmla="*/ 5426075 w 5553075"/>
                <a:gd name="connsiteY167" fmla="*/ 2543569 h 2634056"/>
                <a:gd name="connsiteX168" fmla="*/ 5486400 w 5553075"/>
                <a:gd name="connsiteY168" fmla="*/ 2595956 h 2634056"/>
                <a:gd name="connsiteX169" fmla="*/ 5553075 w 5553075"/>
                <a:gd name="connsiteY169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784475 w 5553075"/>
                <a:gd name="connsiteY78" fmla="*/ 75006 h 2634056"/>
                <a:gd name="connsiteX79" fmla="*/ 2814638 w 5553075"/>
                <a:gd name="connsiteY79" fmla="*/ 71831 h 2634056"/>
                <a:gd name="connsiteX80" fmla="*/ 2836863 w 5553075"/>
                <a:gd name="connsiteY80" fmla="*/ 135331 h 2634056"/>
                <a:gd name="connsiteX81" fmla="*/ 2828925 w 5553075"/>
                <a:gd name="connsiteY81" fmla="*/ 176606 h 2634056"/>
                <a:gd name="connsiteX82" fmla="*/ 2895600 w 5553075"/>
                <a:gd name="connsiteY82" fmla="*/ 152794 h 2634056"/>
                <a:gd name="connsiteX83" fmla="*/ 2911475 w 5553075"/>
                <a:gd name="connsiteY83" fmla="*/ 202006 h 2634056"/>
                <a:gd name="connsiteX84" fmla="*/ 2933700 w 5553075"/>
                <a:gd name="connsiteY84" fmla="*/ 238519 h 2634056"/>
                <a:gd name="connsiteX85" fmla="*/ 2933700 w 5553075"/>
                <a:gd name="connsiteY85" fmla="*/ 195656 h 2634056"/>
                <a:gd name="connsiteX86" fmla="*/ 2986088 w 5553075"/>
                <a:gd name="connsiteY86" fmla="*/ 224231 h 2634056"/>
                <a:gd name="connsiteX87" fmla="*/ 3000375 w 5553075"/>
                <a:gd name="connsiteY87" fmla="*/ 248044 h 2634056"/>
                <a:gd name="connsiteX88" fmla="*/ 3057525 w 5553075"/>
                <a:gd name="connsiteY88" fmla="*/ 295669 h 2634056"/>
                <a:gd name="connsiteX89" fmla="*/ 3086100 w 5553075"/>
                <a:gd name="connsiteY89" fmla="*/ 303606 h 2634056"/>
                <a:gd name="connsiteX90" fmla="*/ 3138488 w 5553075"/>
                <a:gd name="connsiteY90" fmla="*/ 371869 h 2634056"/>
                <a:gd name="connsiteX91" fmla="*/ 3190875 w 5553075"/>
                <a:gd name="connsiteY91" fmla="*/ 424256 h 2634056"/>
                <a:gd name="connsiteX92" fmla="*/ 3214688 w 5553075"/>
                <a:gd name="connsiteY92" fmla="*/ 467119 h 2634056"/>
                <a:gd name="connsiteX93" fmla="*/ 3257550 w 5553075"/>
                <a:gd name="connsiteY93" fmla="*/ 471881 h 2634056"/>
                <a:gd name="connsiteX94" fmla="*/ 3319463 w 5553075"/>
                <a:gd name="connsiteY94" fmla="*/ 529031 h 2634056"/>
                <a:gd name="connsiteX95" fmla="*/ 3281363 w 5553075"/>
                <a:gd name="connsiteY95" fmla="*/ 546494 h 2634056"/>
                <a:gd name="connsiteX96" fmla="*/ 3281363 w 5553075"/>
                <a:gd name="connsiteY96" fmla="*/ 567131 h 2634056"/>
                <a:gd name="connsiteX97" fmla="*/ 3319463 w 5553075"/>
                <a:gd name="connsiteY97" fmla="*/ 581419 h 2634056"/>
                <a:gd name="connsiteX98" fmla="*/ 3317875 w 5553075"/>
                <a:gd name="connsiteY98" fmla="*/ 656031 h 2634056"/>
                <a:gd name="connsiteX99" fmla="*/ 3352800 w 5553075"/>
                <a:gd name="connsiteY99" fmla="*/ 629044 h 2634056"/>
                <a:gd name="connsiteX100" fmla="*/ 3397250 w 5553075"/>
                <a:gd name="connsiteY100" fmla="*/ 683019 h 2634056"/>
                <a:gd name="connsiteX101" fmla="*/ 3419475 w 5553075"/>
                <a:gd name="connsiteY101" fmla="*/ 686194 h 2634056"/>
                <a:gd name="connsiteX102" fmla="*/ 3429000 w 5553075"/>
                <a:gd name="connsiteY102" fmla="*/ 714769 h 2634056"/>
                <a:gd name="connsiteX103" fmla="*/ 3429000 w 5553075"/>
                <a:gd name="connsiteY103" fmla="*/ 738581 h 2634056"/>
                <a:gd name="connsiteX104" fmla="*/ 3473450 w 5553075"/>
                <a:gd name="connsiteY104" fmla="*/ 795731 h 2634056"/>
                <a:gd name="connsiteX105" fmla="*/ 3514725 w 5553075"/>
                <a:gd name="connsiteY105" fmla="*/ 762394 h 2634056"/>
                <a:gd name="connsiteX106" fmla="*/ 3557588 w 5553075"/>
                <a:gd name="connsiteY106" fmla="*/ 752869 h 2634056"/>
                <a:gd name="connsiteX107" fmla="*/ 3595688 w 5553075"/>
                <a:gd name="connsiteY107" fmla="*/ 738581 h 2634056"/>
                <a:gd name="connsiteX108" fmla="*/ 3629025 w 5553075"/>
                <a:gd name="connsiteY108" fmla="*/ 700481 h 2634056"/>
                <a:gd name="connsiteX109" fmla="*/ 3648075 w 5553075"/>
                <a:gd name="connsiteY109" fmla="*/ 719531 h 2634056"/>
                <a:gd name="connsiteX110" fmla="*/ 3638550 w 5553075"/>
                <a:gd name="connsiteY110" fmla="*/ 757631 h 2634056"/>
                <a:gd name="connsiteX111" fmla="*/ 3657600 w 5553075"/>
                <a:gd name="connsiteY111" fmla="*/ 805256 h 2634056"/>
                <a:gd name="connsiteX112" fmla="*/ 3717925 w 5553075"/>
                <a:gd name="connsiteY112" fmla="*/ 811606 h 2634056"/>
                <a:gd name="connsiteX113" fmla="*/ 3771900 w 5553075"/>
                <a:gd name="connsiteY113" fmla="*/ 790969 h 2634056"/>
                <a:gd name="connsiteX114" fmla="*/ 3824288 w 5553075"/>
                <a:gd name="connsiteY114" fmla="*/ 767156 h 2634056"/>
                <a:gd name="connsiteX115" fmla="*/ 3814763 w 5553075"/>
                <a:gd name="connsiteY115" fmla="*/ 767156 h 2634056"/>
                <a:gd name="connsiteX116" fmla="*/ 3876675 w 5553075"/>
                <a:gd name="connsiteY116" fmla="*/ 776681 h 2634056"/>
                <a:gd name="connsiteX117" fmla="*/ 3929063 w 5553075"/>
                <a:gd name="connsiteY117" fmla="*/ 757631 h 2634056"/>
                <a:gd name="connsiteX118" fmla="*/ 3956050 w 5553075"/>
                <a:gd name="connsiteY118" fmla="*/ 779856 h 2634056"/>
                <a:gd name="connsiteX119" fmla="*/ 3905250 w 5553075"/>
                <a:gd name="connsiteY119" fmla="*/ 805256 h 2634056"/>
                <a:gd name="connsiteX120" fmla="*/ 3914775 w 5553075"/>
                <a:gd name="connsiteY120" fmla="*/ 838594 h 2634056"/>
                <a:gd name="connsiteX121" fmla="*/ 3957638 w 5553075"/>
                <a:gd name="connsiteY121" fmla="*/ 805256 h 2634056"/>
                <a:gd name="connsiteX122" fmla="*/ 3986213 w 5553075"/>
                <a:gd name="connsiteY122" fmla="*/ 848119 h 2634056"/>
                <a:gd name="connsiteX123" fmla="*/ 4078288 w 5553075"/>
                <a:gd name="connsiteY123" fmla="*/ 895744 h 2634056"/>
                <a:gd name="connsiteX124" fmla="*/ 4071938 w 5553075"/>
                <a:gd name="connsiteY124" fmla="*/ 962419 h 2634056"/>
                <a:gd name="connsiteX125" fmla="*/ 4116388 w 5553075"/>
                <a:gd name="connsiteY125" fmla="*/ 1025919 h 2634056"/>
                <a:gd name="connsiteX126" fmla="*/ 4144963 w 5553075"/>
                <a:gd name="connsiteY126" fmla="*/ 1068781 h 2634056"/>
                <a:gd name="connsiteX127" fmla="*/ 4137025 w 5553075"/>
                <a:gd name="connsiteY127" fmla="*/ 1097356 h 2634056"/>
                <a:gd name="connsiteX128" fmla="*/ 4157663 w 5553075"/>
                <a:gd name="connsiteY128" fmla="*/ 1124344 h 2634056"/>
                <a:gd name="connsiteX129" fmla="*/ 4162425 w 5553075"/>
                <a:gd name="connsiteY129" fmla="*/ 1200544 h 2634056"/>
                <a:gd name="connsiteX130" fmla="*/ 4195763 w 5553075"/>
                <a:gd name="connsiteY130" fmla="*/ 1229119 h 2634056"/>
                <a:gd name="connsiteX131" fmla="*/ 4176713 w 5553075"/>
                <a:gd name="connsiteY131" fmla="*/ 1262456 h 2634056"/>
                <a:gd name="connsiteX132" fmla="*/ 4191000 w 5553075"/>
                <a:gd name="connsiteY132" fmla="*/ 1286269 h 2634056"/>
                <a:gd name="connsiteX133" fmla="*/ 4270375 w 5553075"/>
                <a:gd name="connsiteY133" fmla="*/ 1349769 h 2634056"/>
                <a:gd name="connsiteX134" fmla="*/ 4275138 w 5553075"/>
                <a:gd name="connsiteY134" fmla="*/ 1395806 h 2634056"/>
                <a:gd name="connsiteX135" fmla="*/ 4229100 w 5553075"/>
                <a:gd name="connsiteY135" fmla="*/ 1395806 h 2634056"/>
                <a:gd name="connsiteX136" fmla="*/ 4271963 w 5553075"/>
                <a:gd name="connsiteY136" fmla="*/ 1481531 h 2634056"/>
                <a:gd name="connsiteX137" fmla="*/ 4329113 w 5553075"/>
                <a:gd name="connsiteY137" fmla="*/ 1470419 h 2634056"/>
                <a:gd name="connsiteX138" fmla="*/ 4384675 w 5553075"/>
                <a:gd name="connsiteY138" fmla="*/ 1500581 h 2634056"/>
                <a:gd name="connsiteX139" fmla="*/ 4445000 w 5553075"/>
                <a:gd name="connsiteY139" fmla="*/ 1535506 h 2634056"/>
                <a:gd name="connsiteX140" fmla="*/ 4438650 w 5553075"/>
                <a:gd name="connsiteY140" fmla="*/ 1562494 h 2634056"/>
                <a:gd name="connsiteX141" fmla="*/ 4432300 w 5553075"/>
                <a:gd name="connsiteY141" fmla="*/ 1632344 h 2634056"/>
                <a:gd name="connsiteX142" fmla="*/ 4500563 w 5553075"/>
                <a:gd name="connsiteY142" fmla="*/ 1672031 h 2634056"/>
                <a:gd name="connsiteX143" fmla="*/ 4565650 w 5553075"/>
                <a:gd name="connsiteY143" fmla="*/ 1652981 h 2634056"/>
                <a:gd name="connsiteX144" fmla="*/ 4605338 w 5553075"/>
                <a:gd name="connsiteY144" fmla="*/ 1638694 h 2634056"/>
                <a:gd name="connsiteX145" fmla="*/ 4619625 w 5553075"/>
                <a:gd name="connsiteY145" fmla="*/ 1686319 h 2634056"/>
                <a:gd name="connsiteX146" fmla="*/ 4657725 w 5553075"/>
                <a:gd name="connsiteY146" fmla="*/ 1710131 h 2634056"/>
                <a:gd name="connsiteX147" fmla="*/ 4638675 w 5553075"/>
                <a:gd name="connsiteY147" fmla="*/ 1779981 h 2634056"/>
                <a:gd name="connsiteX148" fmla="*/ 4652963 w 5553075"/>
                <a:gd name="connsiteY148" fmla="*/ 1814906 h 2634056"/>
                <a:gd name="connsiteX149" fmla="*/ 4681538 w 5553075"/>
                <a:gd name="connsiteY149" fmla="*/ 1848244 h 2634056"/>
                <a:gd name="connsiteX150" fmla="*/ 4767263 w 5553075"/>
                <a:gd name="connsiteY150" fmla="*/ 1891106 h 2634056"/>
                <a:gd name="connsiteX151" fmla="*/ 4776788 w 5553075"/>
                <a:gd name="connsiteY151" fmla="*/ 1967306 h 2634056"/>
                <a:gd name="connsiteX152" fmla="*/ 4705350 w 5553075"/>
                <a:gd name="connsiteY152" fmla="*/ 1938731 h 2634056"/>
                <a:gd name="connsiteX153" fmla="*/ 4695825 w 5553075"/>
                <a:gd name="connsiteY153" fmla="*/ 1972069 h 2634056"/>
                <a:gd name="connsiteX154" fmla="*/ 4743450 w 5553075"/>
                <a:gd name="connsiteY154" fmla="*/ 2014931 h 2634056"/>
                <a:gd name="connsiteX155" fmla="*/ 4776788 w 5553075"/>
                <a:gd name="connsiteY155" fmla="*/ 2033981 h 2634056"/>
                <a:gd name="connsiteX156" fmla="*/ 4822825 w 5553075"/>
                <a:gd name="connsiteY156" fmla="*/ 2026044 h 2634056"/>
                <a:gd name="connsiteX157" fmla="*/ 4843463 w 5553075"/>
                <a:gd name="connsiteY157" fmla="*/ 2040331 h 2634056"/>
                <a:gd name="connsiteX158" fmla="*/ 4838700 w 5553075"/>
                <a:gd name="connsiteY158" fmla="*/ 2095894 h 2634056"/>
                <a:gd name="connsiteX159" fmla="*/ 4972050 w 5553075"/>
                <a:gd name="connsiteY159" fmla="*/ 2191144 h 2634056"/>
                <a:gd name="connsiteX160" fmla="*/ 4995863 w 5553075"/>
                <a:gd name="connsiteY160" fmla="*/ 2167331 h 2634056"/>
                <a:gd name="connsiteX161" fmla="*/ 5065713 w 5553075"/>
                <a:gd name="connsiteY161" fmla="*/ 2192731 h 2634056"/>
                <a:gd name="connsiteX162" fmla="*/ 5124450 w 5553075"/>
                <a:gd name="connsiteY162" fmla="*/ 2253056 h 2634056"/>
                <a:gd name="connsiteX163" fmla="*/ 5229225 w 5553075"/>
                <a:gd name="connsiteY163" fmla="*/ 2292744 h 2634056"/>
                <a:gd name="connsiteX164" fmla="*/ 5281613 w 5553075"/>
                <a:gd name="connsiteY164" fmla="*/ 2362594 h 2634056"/>
                <a:gd name="connsiteX165" fmla="*/ 5286375 w 5553075"/>
                <a:gd name="connsiteY165" fmla="*/ 2443556 h 2634056"/>
                <a:gd name="connsiteX166" fmla="*/ 5353050 w 5553075"/>
                <a:gd name="connsiteY166" fmla="*/ 2514994 h 2634056"/>
                <a:gd name="connsiteX167" fmla="*/ 5426075 w 5553075"/>
                <a:gd name="connsiteY167" fmla="*/ 2543569 h 2634056"/>
                <a:gd name="connsiteX168" fmla="*/ 5486400 w 5553075"/>
                <a:gd name="connsiteY168" fmla="*/ 2595956 h 2634056"/>
                <a:gd name="connsiteX169" fmla="*/ 5553075 w 5553075"/>
                <a:gd name="connsiteY169" fmla="*/ 2634056 h 2634056"/>
                <a:gd name="connsiteX0" fmla="*/ 0 w 5553075"/>
                <a:gd name="connsiteY0" fmla="*/ 862406 h 2634056"/>
                <a:gd name="connsiteX1" fmla="*/ 57150 w 5553075"/>
                <a:gd name="connsiteY1" fmla="*/ 819544 h 2634056"/>
                <a:gd name="connsiteX2" fmla="*/ 57150 w 5553075"/>
                <a:gd name="connsiteY2" fmla="*/ 771919 h 2634056"/>
                <a:gd name="connsiteX3" fmla="*/ 47625 w 5553075"/>
                <a:gd name="connsiteY3" fmla="*/ 700481 h 2634056"/>
                <a:gd name="connsiteX4" fmla="*/ 95250 w 5553075"/>
                <a:gd name="connsiteY4" fmla="*/ 657619 h 2634056"/>
                <a:gd name="connsiteX5" fmla="*/ 142875 w 5553075"/>
                <a:gd name="connsiteY5" fmla="*/ 657619 h 2634056"/>
                <a:gd name="connsiteX6" fmla="*/ 179388 w 5553075"/>
                <a:gd name="connsiteY6" fmla="*/ 605231 h 2634056"/>
                <a:gd name="connsiteX7" fmla="*/ 176213 w 5553075"/>
                <a:gd name="connsiteY7" fmla="*/ 567131 h 2634056"/>
                <a:gd name="connsiteX8" fmla="*/ 169863 w 5553075"/>
                <a:gd name="connsiteY8" fmla="*/ 517919 h 2634056"/>
                <a:gd name="connsiteX9" fmla="*/ 195263 w 5553075"/>
                <a:gd name="connsiteY9" fmla="*/ 495694 h 2634056"/>
                <a:gd name="connsiteX10" fmla="*/ 209550 w 5553075"/>
                <a:gd name="connsiteY10" fmla="*/ 467119 h 2634056"/>
                <a:gd name="connsiteX11" fmla="*/ 209550 w 5553075"/>
                <a:gd name="connsiteY11" fmla="*/ 390919 h 2634056"/>
                <a:gd name="connsiteX12" fmla="*/ 242888 w 5553075"/>
                <a:gd name="connsiteY12" fmla="*/ 390919 h 2634056"/>
                <a:gd name="connsiteX13" fmla="*/ 242888 w 5553075"/>
                <a:gd name="connsiteY13" fmla="*/ 319481 h 2634056"/>
                <a:gd name="connsiteX14" fmla="*/ 271463 w 5553075"/>
                <a:gd name="connsiteY14" fmla="*/ 305194 h 2634056"/>
                <a:gd name="connsiteX15" fmla="*/ 280988 w 5553075"/>
                <a:gd name="connsiteY15" fmla="*/ 238519 h 2634056"/>
                <a:gd name="connsiteX16" fmla="*/ 361950 w 5553075"/>
                <a:gd name="connsiteY16" fmla="*/ 248044 h 2634056"/>
                <a:gd name="connsiteX17" fmla="*/ 395288 w 5553075"/>
                <a:gd name="connsiteY17" fmla="*/ 243281 h 2634056"/>
                <a:gd name="connsiteX18" fmla="*/ 433388 w 5553075"/>
                <a:gd name="connsiteY18" fmla="*/ 209944 h 2634056"/>
                <a:gd name="connsiteX19" fmla="*/ 495300 w 5553075"/>
                <a:gd name="connsiteY19" fmla="*/ 195656 h 2634056"/>
                <a:gd name="connsiteX20" fmla="*/ 509588 w 5553075"/>
                <a:gd name="connsiteY20" fmla="*/ 238519 h 2634056"/>
                <a:gd name="connsiteX21" fmla="*/ 552450 w 5553075"/>
                <a:gd name="connsiteY21" fmla="*/ 271856 h 2634056"/>
                <a:gd name="connsiteX22" fmla="*/ 576263 w 5553075"/>
                <a:gd name="connsiteY22" fmla="*/ 300431 h 2634056"/>
                <a:gd name="connsiteX23" fmla="*/ 633413 w 5553075"/>
                <a:gd name="connsiteY23" fmla="*/ 267094 h 2634056"/>
                <a:gd name="connsiteX24" fmla="*/ 690563 w 5553075"/>
                <a:gd name="connsiteY24" fmla="*/ 281381 h 2634056"/>
                <a:gd name="connsiteX25" fmla="*/ 733425 w 5553075"/>
                <a:gd name="connsiteY25" fmla="*/ 252806 h 2634056"/>
                <a:gd name="connsiteX26" fmla="*/ 817563 w 5553075"/>
                <a:gd name="connsiteY26" fmla="*/ 252806 h 2634056"/>
                <a:gd name="connsiteX27" fmla="*/ 841375 w 5553075"/>
                <a:gd name="connsiteY27" fmla="*/ 271856 h 2634056"/>
                <a:gd name="connsiteX28" fmla="*/ 890588 w 5553075"/>
                <a:gd name="connsiteY28" fmla="*/ 257569 h 2634056"/>
                <a:gd name="connsiteX29" fmla="*/ 928688 w 5553075"/>
                <a:gd name="connsiteY29" fmla="*/ 271856 h 2634056"/>
                <a:gd name="connsiteX30" fmla="*/ 976313 w 5553075"/>
                <a:gd name="connsiteY30" fmla="*/ 286144 h 2634056"/>
                <a:gd name="connsiteX31" fmla="*/ 1019175 w 5553075"/>
                <a:gd name="connsiteY31" fmla="*/ 305194 h 2634056"/>
                <a:gd name="connsiteX32" fmla="*/ 1123950 w 5553075"/>
                <a:gd name="connsiteY32" fmla="*/ 276619 h 2634056"/>
                <a:gd name="connsiteX33" fmla="*/ 1128713 w 5553075"/>
                <a:gd name="connsiteY33" fmla="*/ 214706 h 2634056"/>
                <a:gd name="connsiteX34" fmla="*/ 1190625 w 5553075"/>
                <a:gd name="connsiteY34" fmla="*/ 243281 h 2634056"/>
                <a:gd name="connsiteX35" fmla="*/ 1252538 w 5553075"/>
                <a:gd name="connsiteY35" fmla="*/ 243281 h 2634056"/>
                <a:gd name="connsiteX36" fmla="*/ 1281113 w 5553075"/>
                <a:gd name="connsiteY36" fmla="*/ 209944 h 2634056"/>
                <a:gd name="connsiteX37" fmla="*/ 1276350 w 5553075"/>
                <a:gd name="connsiteY37" fmla="*/ 181369 h 2634056"/>
                <a:gd name="connsiteX38" fmla="*/ 1309688 w 5553075"/>
                <a:gd name="connsiteY38" fmla="*/ 162319 h 2634056"/>
                <a:gd name="connsiteX39" fmla="*/ 1328738 w 5553075"/>
                <a:gd name="connsiteY39" fmla="*/ 138506 h 2634056"/>
                <a:gd name="connsiteX40" fmla="*/ 1366838 w 5553075"/>
                <a:gd name="connsiteY40" fmla="*/ 152794 h 2634056"/>
                <a:gd name="connsiteX41" fmla="*/ 1400175 w 5553075"/>
                <a:gd name="connsiteY41" fmla="*/ 209944 h 2634056"/>
                <a:gd name="connsiteX42" fmla="*/ 1466850 w 5553075"/>
                <a:gd name="connsiteY42" fmla="*/ 181369 h 2634056"/>
                <a:gd name="connsiteX43" fmla="*/ 1511300 w 5553075"/>
                <a:gd name="connsiteY43" fmla="*/ 182956 h 2634056"/>
                <a:gd name="connsiteX44" fmla="*/ 1543050 w 5553075"/>
                <a:gd name="connsiteY44" fmla="*/ 157556 h 2634056"/>
                <a:gd name="connsiteX45" fmla="*/ 1649413 w 5553075"/>
                <a:gd name="connsiteY45" fmla="*/ 182956 h 2634056"/>
                <a:gd name="connsiteX46" fmla="*/ 1724025 w 5553075"/>
                <a:gd name="connsiteY46" fmla="*/ 133744 h 2634056"/>
                <a:gd name="connsiteX47" fmla="*/ 1776413 w 5553075"/>
                <a:gd name="connsiteY47" fmla="*/ 152794 h 2634056"/>
                <a:gd name="connsiteX48" fmla="*/ 1824038 w 5553075"/>
                <a:gd name="connsiteY48" fmla="*/ 124219 h 2634056"/>
                <a:gd name="connsiteX49" fmla="*/ 1795463 w 5553075"/>
                <a:gd name="connsiteY49" fmla="*/ 71831 h 2634056"/>
                <a:gd name="connsiteX50" fmla="*/ 1819275 w 5553075"/>
                <a:gd name="connsiteY50" fmla="*/ 28969 h 2634056"/>
                <a:gd name="connsiteX51" fmla="*/ 1881188 w 5553075"/>
                <a:gd name="connsiteY51" fmla="*/ 71831 h 2634056"/>
                <a:gd name="connsiteX52" fmla="*/ 1885950 w 5553075"/>
                <a:gd name="connsiteY52" fmla="*/ 94056 h 2634056"/>
                <a:gd name="connsiteX53" fmla="*/ 1919288 w 5553075"/>
                <a:gd name="connsiteY53" fmla="*/ 86119 h 2634056"/>
                <a:gd name="connsiteX54" fmla="*/ 1949450 w 5553075"/>
                <a:gd name="connsiteY54" fmla="*/ 62306 h 2634056"/>
                <a:gd name="connsiteX55" fmla="*/ 1952625 w 5553075"/>
                <a:gd name="connsiteY55" fmla="*/ 394 h 2634056"/>
                <a:gd name="connsiteX56" fmla="*/ 2000250 w 5553075"/>
                <a:gd name="connsiteY56" fmla="*/ 38494 h 2634056"/>
                <a:gd name="connsiteX57" fmla="*/ 2019300 w 5553075"/>
                <a:gd name="connsiteY57" fmla="*/ 90881 h 2634056"/>
                <a:gd name="connsiteX58" fmla="*/ 2057400 w 5553075"/>
                <a:gd name="connsiteY58" fmla="*/ 57544 h 2634056"/>
                <a:gd name="connsiteX59" fmla="*/ 2081213 w 5553075"/>
                <a:gd name="connsiteY59" fmla="*/ 81356 h 2634056"/>
                <a:gd name="connsiteX60" fmla="*/ 2109788 w 5553075"/>
                <a:gd name="connsiteY60" fmla="*/ 48019 h 2634056"/>
                <a:gd name="connsiteX61" fmla="*/ 2138363 w 5553075"/>
                <a:gd name="connsiteY61" fmla="*/ 76594 h 2634056"/>
                <a:gd name="connsiteX62" fmla="*/ 2181225 w 5553075"/>
                <a:gd name="connsiteY62" fmla="*/ 81356 h 2634056"/>
                <a:gd name="connsiteX63" fmla="*/ 2195513 w 5553075"/>
                <a:gd name="connsiteY63" fmla="*/ 57544 h 2634056"/>
                <a:gd name="connsiteX64" fmla="*/ 2219325 w 5553075"/>
                <a:gd name="connsiteY64" fmla="*/ 86119 h 2634056"/>
                <a:gd name="connsiteX65" fmla="*/ 2252663 w 5553075"/>
                <a:gd name="connsiteY65" fmla="*/ 52781 h 2634056"/>
                <a:gd name="connsiteX66" fmla="*/ 2286000 w 5553075"/>
                <a:gd name="connsiteY66" fmla="*/ 100406 h 2634056"/>
                <a:gd name="connsiteX67" fmla="*/ 2333625 w 5553075"/>
                <a:gd name="connsiteY67" fmla="*/ 62306 h 2634056"/>
                <a:gd name="connsiteX68" fmla="*/ 2393950 w 5553075"/>
                <a:gd name="connsiteY68" fmla="*/ 65481 h 2634056"/>
                <a:gd name="connsiteX69" fmla="*/ 2419350 w 5553075"/>
                <a:gd name="connsiteY69" fmla="*/ 57544 h 2634056"/>
                <a:gd name="connsiteX70" fmla="*/ 2419350 w 5553075"/>
                <a:gd name="connsiteY70" fmla="*/ 105169 h 2634056"/>
                <a:gd name="connsiteX71" fmla="*/ 2462213 w 5553075"/>
                <a:gd name="connsiteY71" fmla="*/ 90881 h 2634056"/>
                <a:gd name="connsiteX72" fmla="*/ 2524125 w 5553075"/>
                <a:gd name="connsiteY72" fmla="*/ 95644 h 2634056"/>
                <a:gd name="connsiteX73" fmla="*/ 2543175 w 5553075"/>
                <a:gd name="connsiteY73" fmla="*/ 71831 h 2634056"/>
                <a:gd name="connsiteX74" fmla="*/ 2609850 w 5553075"/>
                <a:gd name="connsiteY74" fmla="*/ 105169 h 2634056"/>
                <a:gd name="connsiteX75" fmla="*/ 2692400 w 5553075"/>
                <a:gd name="connsiteY75" fmla="*/ 78181 h 2634056"/>
                <a:gd name="connsiteX76" fmla="*/ 2716213 w 5553075"/>
                <a:gd name="connsiteY76" fmla="*/ 55956 h 2634056"/>
                <a:gd name="connsiteX77" fmla="*/ 2724150 w 5553075"/>
                <a:gd name="connsiteY77" fmla="*/ 86119 h 2634056"/>
                <a:gd name="connsiteX78" fmla="*/ 2784475 w 5553075"/>
                <a:gd name="connsiteY78" fmla="*/ 75006 h 2634056"/>
                <a:gd name="connsiteX79" fmla="*/ 2814638 w 5553075"/>
                <a:gd name="connsiteY79" fmla="*/ 71831 h 2634056"/>
                <a:gd name="connsiteX80" fmla="*/ 2836863 w 5553075"/>
                <a:gd name="connsiteY80" fmla="*/ 135331 h 2634056"/>
                <a:gd name="connsiteX81" fmla="*/ 2828925 w 5553075"/>
                <a:gd name="connsiteY81" fmla="*/ 176606 h 2634056"/>
                <a:gd name="connsiteX82" fmla="*/ 2895600 w 5553075"/>
                <a:gd name="connsiteY82" fmla="*/ 152794 h 2634056"/>
                <a:gd name="connsiteX83" fmla="*/ 2911475 w 5553075"/>
                <a:gd name="connsiteY83" fmla="*/ 202006 h 2634056"/>
                <a:gd name="connsiteX84" fmla="*/ 2933700 w 5553075"/>
                <a:gd name="connsiteY84" fmla="*/ 238519 h 2634056"/>
                <a:gd name="connsiteX85" fmla="*/ 2933700 w 5553075"/>
                <a:gd name="connsiteY85" fmla="*/ 195656 h 2634056"/>
                <a:gd name="connsiteX86" fmla="*/ 2986088 w 5553075"/>
                <a:gd name="connsiteY86" fmla="*/ 224231 h 2634056"/>
                <a:gd name="connsiteX87" fmla="*/ 3000375 w 5553075"/>
                <a:gd name="connsiteY87" fmla="*/ 248044 h 2634056"/>
                <a:gd name="connsiteX88" fmla="*/ 3057525 w 5553075"/>
                <a:gd name="connsiteY88" fmla="*/ 295669 h 2634056"/>
                <a:gd name="connsiteX89" fmla="*/ 3086100 w 5553075"/>
                <a:gd name="connsiteY89" fmla="*/ 303606 h 2634056"/>
                <a:gd name="connsiteX90" fmla="*/ 3138488 w 5553075"/>
                <a:gd name="connsiteY90" fmla="*/ 371869 h 2634056"/>
                <a:gd name="connsiteX91" fmla="*/ 3190875 w 5553075"/>
                <a:gd name="connsiteY91" fmla="*/ 424256 h 2634056"/>
                <a:gd name="connsiteX92" fmla="*/ 3214688 w 5553075"/>
                <a:gd name="connsiteY92" fmla="*/ 467119 h 2634056"/>
                <a:gd name="connsiteX93" fmla="*/ 3257550 w 5553075"/>
                <a:gd name="connsiteY93" fmla="*/ 471881 h 2634056"/>
                <a:gd name="connsiteX94" fmla="*/ 3319463 w 5553075"/>
                <a:gd name="connsiteY94" fmla="*/ 529031 h 2634056"/>
                <a:gd name="connsiteX95" fmla="*/ 3281363 w 5553075"/>
                <a:gd name="connsiteY95" fmla="*/ 546494 h 2634056"/>
                <a:gd name="connsiteX96" fmla="*/ 3281363 w 5553075"/>
                <a:gd name="connsiteY96" fmla="*/ 567131 h 2634056"/>
                <a:gd name="connsiteX97" fmla="*/ 3319463 w 5553075"/>
                <a:gd name="connsiteY97" fmla="*/ 581419 h 2634056"/>
                <a:gd name="connsiteX98" fmla="*/ 3317875 w 5553075"/>
                <a:gd name="connsiteY98" fmla="*/ 656031 h 2634056"/>
                <a:gd name="connsiteX99" fmla="*/ 3352800 w 5553075"/>
                <a:gd name="connsiteY99" fmla="*/ 629044 h 2634056"/>
                <a:gd name="connsiteX100" fmla="*/ 3397250 w 5553075"/>
                <a:gd name="connsiteY100" fmla="*/ 683019 h 2634056"/>
                <a:gd name="connsiteX101" fmla="*/ 3419475 w 5553075"/>
                <a:gd name="connsiteY101" fmla="*/ 686194 h 2634056"/>
                <a:gd name="connsiteX102" fmla="*/ 3429000 w 5553075"/>
                <a:gd name="connsiteY102" fmla="*/ 714769 h 2634056"/>
                <a:gd name="connsiteX103" fmla="*/ 3429000 w 5553075"/>
                <a:gd name="connsiteY103" fmla="*/ 738581 h 2634056"/>
                <a:gd name="connsiteX104" fmla="*/ 3473450 w 5553075"/>
                <a:gd name="connsiteY104" fmla="*/ 795731 h 2634056"/>
                <a:gd name="connsiteX105" fmla="*/ 3514725 w 5553075"/>
                <a:gd name="connsiteY105" fmla="*/ 762394 h 2634056"/>
                <a:gd name="connsiteX106" fmla="*/ 3557588 w 5553075"/>
                <a:gd name="connsiteY106" fmla="*/ 752869 h 2634056"/>
                <a:gd name="connsiteX107" fmla="*/ 3595688 w 5553075"/>
                <a:gd name="connsiteY107" fmla="*/ 738581 h 2634056"/>
                <a:gd name="connsiteX108" fmla="*/ 3629025 w 5553075"/>
                <a:gd name="connsiteY108" fmla="*/ 700481 h 2634056"/>
                <a:gd name="connsiteX109" fmla="*/ 3648075 w 5553075"/>
                <a:gd name="connsiteY109" fmla="*/ 719531 h 2634056"/>
                <a:gd name="connsiteX110" fmla="*/ 3638550 w 5553075"/>
                <a:gd name="connsiteY110" fmla="*/ 757631 h 2634056"/>
                <a:gd name="connsiteX111" fmla="*/ 3657600 w 5553075"/>
                <a:gd name="connsiteY111" fmla="*/ 805256 h 2634056"/>
                <a:gd name="connsiteX112" fmla="*/ 3717925 w 5553075"/>
                <a:gd name="connsiteY112" fmla="*/ 811606 h 2634056"/>
                <a:gd name="connsiteX113" fmla="*/ 3771900 w 5553075"/>
                <a:gd name="connsiteY113" fmla="*/ 790969 h 2634056"/>
                <a:gd name="connsiteX114" fmla="*/ 3824288 w 5553075"/>
                <a:gd name="connsiteY114" fmla="*/ 767156 h 2634056"/>
                <a:gd name="connsiteX115" fmla="*/ 3814763 w 5553075"/>
                <a:gd name="connsiteY115" fmla="*/ 767156 h 2634056"/>
                <a:gd name="connsiteX116" fmla="*/ 3876675 w 5553075"/>
                <a:gd name="connsiteY116" fmla="*/ 776681 h 2634056"/>
                <a:gd name="connsiteX117" fmla="*/ 3929063 w 5553075"/>
                <a:gd name="connsiteY117" fmla="*/ 757631 h 2634056"/>
                <a:gd name="connsiteX118" fmla="*/ 3956050 w 5553075"/>
                <a:gd name="connsiteY118" fmla="*/ 779856 h 2634056"/>
                <a:gd name="connsiteX119" fmla="*/ 3905250 w 5553075"/>
                <a:gd name="connsiteY119" fmla="*/ 805256 h 2634056"/>
                <a:gd name="connsiteX120" fmla="*/ 3914775 w 5553075"/>
                <a:gd name="connsiteY120" fmla="*/ 838594 h 2634056"/>
                <a:gd name="connsiteX121" fmla="*/ 3957638 w 5553075"/>
                <a:gd name="connsiteY121" fmla="*/ 805256 h 2634056"/>
                <a:gd name="connsiteX122" fmla="*/ 3986213 w 5553075"/>
                <a:gd name="connsiteY122" fmla="*/ 848119 h 2634056"/>
                <a:gd name="connsiteX123" fmla="*/ 4078288 w 5553075"/>
                <a:gd name="connsiteY123" fmla="*/ 895744 h 2634056"/>
                <a:gd name="connsiteX124" fmla="*/ 4071938 w 5553075"/>
                <a:gd name="connsiteY124" fmla="*/ 962419 h 2634056"/>
                <a:gd name="connsiteX125" fmla="*/ 4116388 w 5553075"/>
                <a:gd name="connsiteY125" fmla="*/ 1025919 h 2634056"/>
                <a:gd name="connsiteX126" fmla="*/ 4144963 w 5553075"/>
                <a:gd name="connsiteY126" fmla="*/ 1068781 h 2634056"/>
                <a:gd name="connsiteX127" fmla="*/ 4137025 w 5553075"/>
                <a:gd name="connsiteY127" fmla="*/ 1097356 h 2634056"/>
                <a:gd name="connsiteX128" fmla="*/ 4157663 w 5553075"/>
                <a:gd name="connsiteY128" fmla="*/ 1124344 h 2634056"/>
                <a:gd name="connsiteX129" fmla="*/ 4162425 w 5553075"/>
                <a:gd name="connsiteY129" fmla="*/ 1200544 h 2634056"/>
                <a:gd name="connsiteX130" fmla="*/ 4195763 w 5553075"/>
                <a:gd name="connsiteY130" fmla="*/ 1229119 h 2634056"/>
                <a:gd name="connsiteX131" fmla="*/ 4176713 w 5553075"/>
                <a:gd name="connsiteY131" fmla="*/ 1262456 h 2634056"/>
                <a:gd name="connsiteX132" fmla="*/ 4191000 w 5553075"/>
                <a:gd name="connsiteY132" fmla="*/ 1286269 h 2634056"/>
                <a:gd name="connsiteX133" fmla="*/ 4270375 w 5553075"/>
                <a:gd name="connsiteY133" fmla="*/ 1349769 h 2634056"/>
                <a:gd name="connsiteX134" fmla="*/ 4275138 w 5553075"/>
                <a:gd name="connsiteY134" fmla="*/ 1395806 h 2634056"/>
                <a:gd name="connsiteX135" fmla="*/ 4229100 w 5553075"/>
                <a:gd name="connsiteY135" fmla="*/ 1395806 h 2634056"/>
                <a:gd name="connsiteX136" fmla="*/ 4271963 w 5553075"/>
                <a:gd name="connsiteY136" fmla="*/ 1481531 h 2634056"/>
                <a:gd name="connsiteX137" fmla="*/ 4329113 w 5553075"/>
                <a:gd name="connsiteY137" fmla="*/ 1470419 h 2634056"/>
                <a:gd name="connsiteX138" fmla="*/ 4384675 w 5553075"/>
                <a:gd name="connsiteY138" fmla="*/ 1500581 h 2634056"/>
                <a:gd name="connsiteX139" fmla="*/ 4445000 w 5553075"/>
                <a:gd name="connsiteY139" fmla="*/ 1535506 h 2634056"/>
                <a:gd name="connsiteX140" fmla="*/ 4438650 w 5553075"/>
                <a:gd name="connsiteY140" fmla="*/ 1562494 h 2634056"/>
                <a:gd name="connsiteX141" fmla="*/ 4432300 w 5553075"/>
                <a:gd name="connsiteY141" fmla="*/ 1632344 h 2634056"/>
                <a:gd name="connsiteX142" fmla="*/ 4500563 w 5553075"/>
                <a:gd name="connsiteY142" fmla="*/ 1672031 h 2634056"/>
                <a:gd name="connsiteX143" fmla="*/ 4565650 w 5553075"/>
                <a:gd name="connsiteY143" fmla="*/ 1652981 h 2634056"/>
                <a:gd name="connsiteX144" fmla="*/ 4605338 w 5553075"/>
                <a:gd name="connsiteY144" fmla="*/ 1638694 h 2634056"/>
                <a:gd name="connsiteX145" fmla="*/ 4619625 w 5553075"/>
                <a:gd name="connsiteY145" fmla="*/ 1686319 h 2634056"/>
                <a:gd name="connsiteX146" fmla="*/ 4632325 w 5553075"/>
                <a:gd name="connsiteY146" fmla="*/ 1716481 h 2634056"/>
                <a:gd name="connsiteX147" fmla="*/ 4657725 w 5553075"/>
                <a:gd name="connsiteY147" fmla="*/ 1710131 h 2634056"/>
                <a:gd name="connsiteX148" fmla="*/ 4638675 w 5553075"/>
                <a:gd name="connsiteY148" fmla="*/ 1779981 h 2634056"/>
                <a:gd name="connsiteX149" fmla="*/ 4652963 w 5553075"/>
                <a:gd name="connsiteY149" fmla="*/ 1814906 h 2634056"/>
                <a:gd name="connsiteX150" fmla="*/ 4681538 w 5553075"/>
                <a:gd name="connsiteY150" fmla="*/ 1848244 h 2634056"/>
                <a:gd name="connsiteX151" fmla="*/ 4767263 w 5553075"/>
                <a:gd name="connsiteY151" fmla="*/ 1891106 h 2634056"/>
                <a:gd name="connsiteX152" fmla="*/ 4776788 w 5553075"/>
                <a:gd name="connsiteY152" fmla="*/ 1967306 h 2634056"/>
                <a:gd name="connsiteX153" fmla="*/ 4705350 w 5553075"/>
                <a:gd name="connsiteY153" fmla="*/ 1938731 h 2634056"/>
                <a:gd name="connsiteX154" fmla="*/ 4695825 w 5553075"/>
                <a:gd name="connsiteY154" fmla="*/ 1972069 h 2634056"/>
                <a:gd name="connsiteX155" fmla="*/ 4743450 w 5553075"/>
                <a:gd name="connsiteY155" fmla="*/ 2014931 h 2634056"/>
                <a:gd name="connsiteX156" fmla="*/ 4776788 w 5553075"/>
                <a:gd name="connsiteY156" fmla="*/ 2033981 h 2634056"/>
                <a:gd name="connsiteX157" fmla="*/ 4822825 w 5553075"/>
                <a:gd name="connsiteY157" fmla="*/ 2026044 h 2634056"/>
                <a:gd name="connsiteX158" fmla="*/ 4843463 w 5553075"/>
                <a:gd name="connsiteY158" fmla="*/ 2040331 h 2634056"/>
                <a:gd name="connsiteX159" fmla="*/ 4838700 w 5553075"/>
                <a:gd name="connsiteY159" fmla="*/ 2095894 h 2634056"/>
                <a:gd name="connsiteX160" fmla="*/ 4972050 w 5553075"/>
                <a:gd name="connsiteY160" fmla="*/ 2191144 h 2634056"/>
                <a:gd name="connsiteX161" fmla="*/ 4995863 w 5553075"/>
                <a:gd name="connsiteY161" fmla="*/ 2167331 h 2634056"/>
                <a:gd name="connsiteX162" fmla="*/ 5065713 w 5553075"/>
                <a:gd name="connsiteY162" fmla="*/ 2192731 h 2634056"/>
                <a:gd name="connsiteX163" fmla="*/ 5124450 w 5553075"/>
                <a:gd name="connsiteY163" fmla="*/ 2253056 h 2634056"/>
                <a:gd name="connsiteX164" fmla="*/ 5229225 w 5553075"/>
                <a:gd name="connsiteY164" fmla="*/ 2292744 h 2634056"/>
                <a:gd name="connsiteX165" fmla="*/ 5281613 w 5553075"/>
                <a:gd name="connsiteY165" fmla="*/ 2362594 h 2634056"/>
                <a:gd name="connsiteX166" fmla="*/ 5286375 w 5553075"/>
                <a:gd name="connsiteY166" fmla="*/ 2443556 h 2634056"/>
                <a:gd name="connsiteX167" fmla="*/ 5353050 w 5553075"/>
                <a:gd name="connsiteY167" fmla="*/ 2514994 h 2634056"/>
                <a:gd name="connsiteX168" fmla="*/ 5426075 w 5553075"/>
                <a:gd name="connsiteY168" fmla="*/ 2543569 h 2634056"/>
                <a:gd name="connsiteX169" fmla="*/ 5486400 w 5553075"/>
                <a:gd name="connsiteY169" fmla="*/ 2595956 h 2634056"/>
                <a:gd name="connsiteX170" fmla="*/ 5553075 w 5553075"/>
                <a:gd name="connsiteY170" fmla="*/ 2634056 h 2634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5553075" h="2634056">
                  <a:moveTo>
                    <a:pt x="0" y="862406"/>
                  </a:moveTo>
                  <a:cubicBezTo>
                    <a:pt x="23812" y="848515"/>
                    <a:pt x="47625" y="834625"/>
                    <a:pt x="57150" y="819544"/>
                  </a:cubicBezTo>
                  <a:cubicBezTo>
                    <a:pt x="66675" y="804463"/>
                    <a:pt x="58738" y="791763"/>
                    <a:pt x="57150" y="771919"/>
                  </a:cubicBezTo>
                  <a:cubicBezTo>
                    <a:pt x="55563" y="752075"/>
                    <a:pt x="41275" y="719531"/>
                    <a:pt x="47625" y="700481"/>
                  </a:cubicBezTo>
                  <a:cubicBezTo>
                    <a:pt x="53975" y="681431"/>
                    <a:pt x="79375" y="664763"/>
                    <a:pt x="95250" y="657619"/>
                  </a:cubicBezTo>
                  <a:cubicBezTo>
                    <a:pt x="111125" y="650475"/>
                    <a:pt x="128852" y="666350"/>
                    <a:pt x="142875" y="657619"/>
                  </a:cubicBezTo>
                  <a:cubicBezTo>
                    <a:pt x="156898" y="648888"/>
                    <a:pt x="173832" y="620312"/>
                    <a:pt x="179388" y="605231"/>
                  </a:cubicBezTo>
                  <a:cubicBezTo>
                    <a:pt x="184944" y="590150"/>
                    <a:pt x="177800" y="581683"/>
                    <a:pt x="176213" y="567131"/>
                  </a:cubicBezTo>
                  <a:cubicBezTo>
                    <a:pt x="174626" y="552579"/>
                    <a:pt x="166688" y="529825"/>
                    <a:pt x="169863" y="517919"/>
                  </a:cubicBezTo>
                  <a:cubicBezTo>
                    <a:pt x="173038" y="506013"/>
                    <a:pt x="188648" y="504161"/>
                    <a:pt x="195263" y="495694"/>
                  </a:cubicBezTo>
                  <a:cubicBezTo>
                    <a:pt x="201878" y="487227"/>
                    <a:pt x="207169" y="484581"/>
                    <a:pt x="209550" y="467119"/>
                  </a:cubicBezTo>
                  <a:cubicBezTo>
                    <a:pt x="211931" y="449657"/>
                    <a:pt x="203994" y="403619"/>
                    <a:pt x="209550" y="390919"/>
                  </a:cubicBezTo>
                  <a:cubicBezTo>
                    <a:pt x="215106" y="378219"/>
                    <a:pt x="237332" y="402825"/>
                    <a:pt x="242888" y="390919"/>
                  </a:cubicBezTo>
                  <a:cubicBezTo>
                    <a:pt x="248444" y="379013"/>
                    <a:pt x="238125" y="333769"/>
                    <a:pt x="242888" y="319481"/>
                  </a:cubicBezTo>
                  <a:cubicBezTo>
                    <a:pt x="247651" y="305193"/>
                    <a:pt x="265113" y="318688"/>
                    <a:pt x="271463" y="305194"/>
                  </a:cubicBezTo>
                  <a:cubicBezTo>
                    <a:pt x="277813" y="291700"/>
                    <a:pt x="265907" y="248044"/>
                    <a:pt x="280988" y="238519"/>
                  </a:cubicBezTo>
                  <a:cubicBezTo>
                    <a:pt x="296069" y="228994"/>
                    <a:pt x="342900" y="247250"/>
                    <a:pt x="361950" y="248044"/>
                  </a:cubicBezTo>
                  <a:cubicBezTo>
                    <a:pt x="381000" y="248838"/>
                    <a:pt x="383382" y="249631"/>
                    <a:pt x="395288" y="243281"/>
                  </a:cubicBezTo>
                  <a:cubicBezTo>
                    <a:pt x="407194" y="236931"/>
                    <a:pt x="416719" y="217881"/>
                    <a:pt x="433388" y="209944"/>
                  </a:cubicBezTo>
                  <a:cubicBezTo>
                    <a:pt x="450057" y="202007"/>
                    <a:pt x="482600" y="190893"/>
                    <a:pt x="495300" y="195656"/>
                  </a:cubicBezTo>
                  <a:cubicBezTo>
                    <a:pt x="508000" y="200419"/>
                    <a:pt x="500063" y="225819"/>
                    <a:pt x="509588" y="238519"/>
                  </a:cubicBezTo>
                  <a:cubicBezTo>
                    <a:pt x="519113" y="251219"/>
                    <a:pt x="541337" y="261537"/>
                    <a:pt x="552450" y="271856"/>
                  </a:cubicBezTo>
                  <a:cubicBezTo>
                    <a:pt x="563563" y="282175"/>
                    <a:pt x="562769" y="301225"/>
                    <a:pt x="576263" y="300431"/>
                  </a:cubicBezTo>
                  <a:cubicBezTo>
                    <a:pt x="589757" y="299637"/>
                    <a:pt x="614363" y="270269"/>
                    <a:pt x="633413" y="267094"/>
                  </a:cubicBezTo>
                  <a:cubicBezTo>
                    <a:pt x="652463" y="263919"/>
                    <a:pt x="673894" y="283762"/>
                    <a:pt x="690563" y="281381"/>
                  </a:cubicBezTo>
                  <a:cubicBezTo>
                    <a:pt x="707232" y="279000"/>
                    <a:pt x="712258" y="257568"/>
                    <a:pt x="733425" y="252806"/>
                  </a:cubicBezTo>
                  <a:cubicBezTo>
                    <a:pt x="754592" y="248044"/>
                    <a:pt x="799571" y="249631"/>
                    <a:pt x="817563" y="252806"/>
                  </a:cubicBezTo>
                  <a:cubicBezTo>
                    <a:pt x="835555" y="255981"/>
                    <a:pt x="829204" y="271062"/>
                    <a:pt x="841375" y="271856"/>
                  </a:cubicBezTo>
                  <a:cubicBezTo>
                    <a:pt x="853546" y="272650"/>
                    <a:pt x="876036" y="257569"/>
                    <a:pt x="890588" y="257569"/>
                  </a:cubicBezTo>
                  <a:cubicBezTo>
                    <a:pt x="905140" y="257569"/>
                    <a:pt x="914400" y="267093"/>
                    <a:pt x="928688" y="271856"/>
                  </a:cubicBezTo>
                  <a:cubicBezTo>
                    <a:pt x="942976" y="276619"/>
                    <a:pt x="961232" y="280588"/>
                    <a:pt x="976313" y="286144"/>
                  </a:cubicBezTo>
                  <a:cubicBezTo>
                    <a:pt x="991394" y="291700"/>
                    <a:pt x="994569" y="306781"/>
                    <a:pt x="1019175" y="305194"/>
                  </a:cubicBezTo>
                  <a:cubicBezTo>
                    <a:pt x="1043781" y="303607"/>
                    <a:pt x="1105694" y="291700"/>
                    <a:pt x="1123950" y="276619"/>
                  </a:cubicBezTo>
                  <a:cubicBezTo>
                    <a:pt x="1142206" y="261538"/>
                    <a:pt x="1117601" y="220262"/>
                    <a:pt x="1128713" y="214706"/>
                  </a:cubicBezTo>
                  <a:cubicBezTo>
                    <a:pt x="1139826" y="209150"/>
                    <a:pt x="1169988" y="238519"/>
                    <a:pt x="1190625" y="243281"/>
                  </a:cubicBezTo>
                  <a:cubicBezTo>
                    <a:pt x="1211262" y="248043"/>
                    <a:pt x="1237457" y="248837"/>
                    <a:pt x="1252538" y="243281"/>
                  </a:cubicBezTo>
                  <a:cubicBezTo>
                    <a:pt x="1267619" y="237725"/>
                    <a:pt x="1277144" y="220263"/>
                    <a:pt x="1281113" y="209944"/>
                  </a:cubicBezTo>
                  <a:cubicBezTo>
                    <a:pt x="1285082" y="199625"/>
                    <a:pt x="1271588" y="189306"/>
                    <a:pt x="1276350" y="181369"/>
                  </a:cubicBezTo>
                  <a:cubicBezTo>
                    <a:pt x="1281113" y="173431"/>
                    <a:pt x="1300957" y="169463"/>
                    <a:pt x="1309688" y="162319"/>
                  </a:cubicBezTo>
                  <a:cubicBezTo>
                    <a:pt x="1318419" y="155175"/>
                    <a:pt x="1319213" y="140093"/>
                    <a:pt x="1328738" y="138506"/>
                  </a:cubicBezTo>
                  <a:cubicBezTo>
                    <a:pt x="1338263" y="136918"/>
                    <a:pt x="1354932" y="140888"/>
                    <a:pt x="1366838" y="152794"/>
                  </a:cubicBezTo>
                  <a:cubicBezTo>
                    <a:pt x="1378744" y="164700"/>
                    <a:pt x="1383506" y="205181"/>
                    <a:pt x="1400175" y="209944"/>
                  </a:cubicBezTo>
                  <a:cubicBezTo>
                    <a:pt x="1416844" y="214706"/>
                    <a:pt x="1448329" y="185867"/>
                    <a:pt x="1466850" y="181369"/>
                  </a:cubicBezTo>
                  <a:cubicBezTo>
                    <a:pt x="1485371" y="176871"/>
                    <a:pt x="1498600" y="186925"/>
                    <a:pt x="1511300" y="182956"/>
                  </a:cubicBezTo>
                  <a:cubicBezTo>
                    <a:pt x="1524000" y="178987"/>
                    <a:pt x="1520031" y="157556"/>
                    <a:pt x="1543050" y="157556"/>
                  </a:cubicBezTo>
                  <a:cubicBezTo>
                    <a:pt x="1566069" y="157556"/>
                    <a:pt x="1619251" y="186925"/>
                    <a:pt x="1649413" y="182956"/>
                  </a:cubicBezTo>
                  <a:cubicBezTo>
                    <a:pt x="1679575" y="178987"/>
                    <a:pt x="1702858" y="138771"/>
                    <a:pt x="1724025" y="133744"/>
                  </a:cubicBezTo>
                  <a:cubicBezTo>
                    <a:pt x="1745192" y="128717"/>
                    <a:pt x="1759744" y="154381"/>
                    <a:pt x="1776413" y="152794"/>
                  </a:cubicBezTo>
                  <a:cubicBezTo>
                    <a:pt x="1793082" y="151207"/>
                    <a:pt x="1820863" y="137713"/>
                    <a:pt x="1824038" y="124219"/>
                  </a:cubicBezTo>
                  <a:cubicBezTo>
                    <a:pt x="1827213" y="110725"/>
                    <a:pt x="1796257" y="87706"/>
                    <a:pt x="1795463" y="71831"/>
                  </a:cubicBezTo>
                  <a:cubicBezTo>
                    <a:pt x="1794669" y="55956"/>
                    <a:pt x="1804988" y="28969"/>
                    <a:pt x="1819275" y="28969"/>
                  </a:cubicBezTo>
                  <a:cubicBezTo>
                    <a:pt x="1833562" y="28969"/>
                    <a:pt x="1870076" y="60983"/>
                    <a:pt x="1881188" y="71831"/>
                  </a:cubicBezTo>
                  <a:cubicBezTo>
                    <a:pt x="1892301" y="82679"/>
                    <a:pt x="1879600" y="91675"/>
                    <a:pt x="1885950" y="94056"/>
                  </a:cubicBezTo>
                  <a:cubicBezTo>
                    <a:pt x="1892300" y="96437"/>
                    <a:pt x="1908705" y="91411"/>
                    <a:pt x="1919288" y="86119"/>
                  </a:cubicBezTo>
                  <a:cubicBezTo>
                    <a:pt x="1929871" y="80827"/>
                    <a:pt x="1943894" y="76594"/>
                    <a:pt x="1949450" y="62306"/>
                  </a:cubicBezTo>
                  <a:cubicBezTo>
                    <a:pt x="1955006" y="48019"/>
                    <a:pt x="1944159" y="4363"/>
                    <a:pt x="1952625" y="394"/>
                  </a:cubicBezTo>
                  <a:cubicBezTo>
                    <a:pt x="1961091" y="-3575"/>
                    <a:pt x="1989137" y="23413"/>
                    <a:pt x="2000250" y="38494"/>
                  </a:cubicBezTo>
                  <a:cubicBezTo>
                    <a:pt x="2011363" y="53575"/>
                    <a:pt x="2009775" y="87706"/>
                    <a:pt x="2019300" y="90881"/>
                  </a:cubicBezTo>
                  <a:cubicBezTo>
                    <a:pt x="2028825" y="94056"/>
                    <a:pt x="2047081" y="59131"/>
                    <a:pt x="2057400" y="57544"/>
                  </a:cubicBezTo>
                  <a:cubicBezTo>
                    <a:pt x="2067719" y="55956"/>
                    <a:pt x="2072482" y="82944"/>
                    <a:pt x="2081213" y="81356"/>
                  </a:cubicBezTo>
                  <a:cubicBezTo>
                    <a:pt x="2089944" y="79768"/>
                    <a:pt x="2100263" y="48813"/>
                    <a:pt x="2109788" y="48019"/>
                  </a:cubicBezTo>
                  <a:cubicBezTo>
                    <a:pt x="2119313" y="47225"/>
                    <a:pt x="2126457" y="71038"/>
                    <a:pt x="2138363" y="76594"/>
                  </a:cubicBezTo>
                  <a:cubicBezTo>
                    <a:pt x="2150269" y="82150"/>
                    <a:pt x="2171700" y="84531"/>
                    <a:pt x="2181225" y="81356"/>
                  </a:cubicBezTo>
                  <a:cubicBezTo>
                    <a:pt x="2190750" y="78181"/>
                    <a:pt x="2189163" y="56750"/>
                    <a:pt x="2195513" y="57544"/>
                  </a:cubicBezTo>
                  <a:cubicBezTo>
                    <a:pt x="2201863" y="58338"/>
                    <a:pt x="2209800" y="86913"/>
                    <a:pt x="2219325" y="86119"/>
                  </a:cubicBezTo>
                  <a:cubicBezTo>
                    <a:pt x="2228850" y="85325"/>
                    <a:pt x="2241551" y="50400"/>
                    <a:pt x="2252663" y="52781"/>
                  </a:cubicBezTo>
                  <a:cubicBezTo>
                    <a:pt x="2263776" y="55162"/>
                    <a:pt x="2272506" y="98819"/>
                    <a:pt x="2286000" y="100406"/>
                  </a:cubicBezTo>
                  <a:cubicBezTo>
                    <a:pt x="2299494" y="101993"/>
                    <a:pt x="2315633" y="68127"/>
                    <a:pt x="2333625" y="62306"/>
                  </a:cubicBezTo>
                  <a:cubicBezTo>
                    <a:pt x="2351617" y="56485"/>
                    <a:pt x="2379663" y="66275"/>
                    <a:pt x="2393950" y="65481"/>
                  </a:cubicBezTo>
                  <a:cubicBezTo>
                    <a:pt x="2408237" y="64687"/>
                    <a:pt x="2415117" y="50929"/>
                    <a:pt x="2419350" y="57544"/>
                  </a:cubicBezTo>
                  <a:cubicBezTo>
                    <a:pt x="2423583" y="64159"/>
                    <a:pt x="2412206" y="99613"/>
                    <a:pt x="2419350" y="105169"/>
                  </a:cubicBezTo>
                  <a:cubicBezTo>
                    <a:pt x="2426494" y="110725"/>
                    <a:pt x="2444751" y="92468"/>
                    <a:pt x="2462213" y="90881"/>
                  </a:cubicBezTo>
                  <a:cubicBezTo>
                    <a:pt x="2479675" y="89294"/>
                    <a:pt x="2510631" y="98819"/>
                    <a:pt x="2524125" y="95644"/>
                  </a:cubicBezTo>
                  <a:cubicBezTo>
                    <a:pt x="2537619" y="92469"/>
                    <a:pt x="2528888" y="70244"/>
                    <a:pt x="2543175" y="71831"/>
                  </a:cubicBezTo>
                  <a:cubicBezTo>
                    <a:pt x="2557462" y="73418"/>
                    <a:pt x="2584979" y="104111"/>
                    <a:pt x="2609850" y="105169"/>
                  </a:cubicBezTo>
                  <a:cubicBezTo>
                    <a:pt x="2634721" y="106227"/>
                    <a:pt x="2674673" y="86383"/>
                    <a:pt x="2692400" y="78181"/>
                  </a:cubicBezTo>
                  <a:cubicBezTo>
                    <a:pt x="2710127" y="69979"/>
                    <a:pt x="2710921" y="54633"/>
                    <a:pt x="2716213" y="55956"/>
                  </a:cubicBezTo>
                  <a:cubicBezTo>
                    <a:pt x="2721505" y="57279"/>
                    <a:pt x="2712773" y="82944"/>
                    <a:pt x="2724150" y="86119"/>
                  </a:cubicBezTo>
                  <a:cubicBezTo>
                    <a:pt x="2735527" y="89294"/>
                    <a:pt x="2769394" y="77387"/>
                    <a:pt x="2784475" y="75006"/>
                  </a:cubicBezTo>
                  <a:cubicBezTo>
                    <a:pt x="2799556" y="72625"/>
                    <a:pt x="2805907" y="61777"/>
                    <a:pt x="2814638" y="71831"/>
                  </a:cubicBezTo>
                  <a:cubicBezTo>
                    <a:pt x="2823369" y="81885"/>
                    <a:pt x="2834482" y="117869"/>
                    <a:pt x="2836863" y="135331"/>
                  </a:cubicBezTo>
                  <a:cubicBezTo>
                    <a:pt x="2839244" y="152793"/>
                    <a:pt x="2819136" y="173696"/>
                    <a:pt x="2828925" y="176606"/>
                  </a:cubicBezTo>
                  <a:cubicBezTo>
                    <a:pt x="2838715" y="179517"/>
                    <a:pt x="2881842" y="148561"/>
                    <a:pt x="2895600" y="152794"/>
                  </a:cubicBezTo>
                  <a:cubicBezTo>
                    <a:pt x="2909358" y="157027"/>
                    <a:pt x="2905125" y="187718"/>
                    <a:pt x="2911475" y="202006"/>
                  </a:cubicBezTo>
                  <a:cubicBezTo>
                    <a:pt x="2917825" y="216294"/>
                    <a:pt x="2929996" y="239577"/>
                    <a:pt x="2933700" y="238519"/>
                  </a:cubicBezTo>
                  <a:cubicBezTo>
                    <a:pt x="2937404" y="237461"/>
                    <a:pt x="2924969" y="198037"/>
                    <a:pt x="2933700" y="195656"/>
                  </a:cubicBezTo>
                  <a:cubicBezTo>
                    <a:pt x="2942431" y="193275"/>
                    <a:pt x="2974976" y="215500"/>
                    <a:pt x="2986088" y="224231"/>
                  </a:cubicBezTo>
                  <a:cubicBezTo>
                    <a:pt x="2997200" y="232962"/>
                    <a:pt x="2988469" y="236138"/>
                    <a:pt x="3000375" y="248044"/>
                  </a:cubicBezTo>
                  <a:cubicBezTo>
                    <a:pt x="3012281" y="259950"/>
                    <a:pt x="3043238" y="286409"/>
                    <a:pt x="3057525" y="295669"/>
                  </a:cubicBezTo>
                  <a:cubicBezTo>
                    <a:pt x="3071812" y="304929"/>
                    <a:pt x="3072606" y="290906"/>
                    <a:pt x="3086100" y="303606"/>
                  </a:cubicBezTo>
                  <a:cubicBezTo>
                    <a:pt x="3099594" y="316306"/>
                    <a:pt x="3121026" y="351761"/>
                    <a:pt x="3138488" y="371869"/>
                  </a:cubicBezTo>
                  <a:cubicBezTo>
                    <a:pt x="3155950" y="391977"/>
                    <a:pt x="3178175" y="408381"/>
                    <a:pt x="3190875" y="424256"/>
                  </a:cubicBezTo>
                  <a:cubicBezTo>
                    <a:pt x="3203575" y="440131"/>
                    <a:pt x="3203576" y="459181"/>
                    <a:pt x="3214688" y="467119"/>
                  </a:cubicBezTo>
                  <a:cubicBezTo>
                    <a:pt x="3225801" y="475056"/>
                    <a:pt x="3240088" y="461562"/>
                    <a:pt x="3257550" y="471881"/>
                  </a:cubicBezTo>
                  <a:cubicBezTo>
                    <a:pt x="3275012" y="482200"/>
                    <a:pt x="3315494" y="516595"/>
                    <a:pt x="3319463" y="529031"/>
                  </a:cubicBezTo>
                  <a:cubicBezTo>
                    <a:pt x="3323432" y="541467"/>
                    <a:pt x="3287713" y="540144"/>
                    <a:pt x="3281363" y="546494"/>
                  </a:cubicBezTo>
                  <a:cubicBezTo>
                    <a:pt x="3275013" y="552844"/>
                    <a:pt x="3275013" y="561310"/>
                    <a:pt x="3281363" y="567131"/>
                  </a:cubicBezTo>
                  <a:cubicBezTo>
                    <a:pt x="3287713" y="572952"/>
                    <a:pt x="3313378" y="566602"/>
                    <a:pt x="3319463" y="581419"/>
                  </a:cubicBezTo>
                  <a:cubicBezTo>
                    <a:pt x="3325548" y="596236"/>
                    <a:pt x="3312319" y="648093"/>
                    <a:pt x="3317875" y="656031"/>
                  </a:cubicBezTo>
                  <a:cubicBezTo>
                    <a:pt x="3323431" y="663969"/>
                    <a:pt x="3339571" y="624546"/>
                    <a:pt x="3352800" y="629044"/>
                  </a:cubicBezTo>
                  <a:cubicBezTo>
                    <a:pt x="3366029" y="633542"/>
                    <a:pt x="3386138" y="673494"/>
                    <a:pt x="3397250" y="683019"/>
                  </a:cubicBezTo>
                  <a:cubicBezTo>
                    <a:pt x="3408363" y="692544"/>
                    <a:pt x="3414183" y="680902"/>
                    <a:pt x="3419475" y="686194"/>
                  </a:cubicBezTo>
                  <a:cubicBezTo>
                    <a:pt x="3424767" y="691486"/>
                    <a:pt x="3427412" y="706038"/>
                    <a:pt x="3429000" y="714769"/>
                  </a:cubicBezTo>
                  <a:cubicBezTo>
                    <a:pt x="3430588" y="723500"/>
                    <a:pt x="3421592" y="725087"/>
                    <a:pt x="3429000" y="738581"/>
                  </a:cubicBezTo>
                  <a:cubicBezTo>
                    <a:pt x="3436408" y="752075"/>
                    <a:pt x="3459163" y="791762"/>
                    <a:pt x="3473450" y="795731"/>
                  </a:cubicBezTo>
                  <a:cubicBezTo>
                    <a:pt x="3487737" y="799700"/>
                    <a:pt x="3500702" y="769538"/>
                    <a:pt x="3514725" y="762394"/>
                  </a:cubicBezTo>
                  <a:cubicBezTo>
                    <a:pt x="3528748" y="755250"/>
                    <a:pt x="3544094" y="756838"/>
                    <a:pt x="3557588" y="752869"/>
                  </a:cubicBezTo>
                  <a:cubicBezTo>
                    <a:pt x="3571082" y="748900"/>
                    <a:pt x="3583782" y="747312"/>
                    <a:pt x="3595688" y="738581"/>
                  </a:cubicBezTo>
                  <a:cubicBezTo>
                    <a:pt x="3607594" y="729850"/>
                    <a:pt x="3620294" y="703656"/>
                    <a:pt x="3629025" y="700481"/>
                  </a:cubicBezTo>
                  <a:cubicBezTo>
                    <a:pt x="3637756" y="697306"/>
                    <a:pt x="3646488" y="710006"/>
                    <a:pt x="3648075" y="719531"/>
                  </a:cubicBezTo>
                  <a:cubicBezTo>
                    <a:pt x="3649663" y="729056"/>
                    <a:pt x="3636963" y="743344"/>
                    <a:pt x="3638550" y="757631"/>
                  </a:cubicBezTo>
                  <a:cubicBezTo>
                    <a:pt x="3640137" y="771918"/>
                    <a:pt x="3644371" y="796260"/>
                    <a:pt x="3657600" y="805256"/>
                  </a:cubicBezTo>
                  <a:cubicBezTo>
                    <a:pt x="3670829" y="814252"/>
                    <a:pt x="3698875" y="813987"/>
                    <a:pt x="3717925" y="811606"/>
                  </a:cubicBezTo>
                  <a:cubicBezTo>
                    <a:pt x="3736975" y="809225"/>
                    <a:pt x="3754173" y="798377"/>
                    <a:pt x="3771900" y="790969"/>
                  </a:cubicBezTo>
                  <a:cubicBezTo>
                    <a:pt x="3789627" y="783561"/>
                    <a:pt x="3817144" y="771125"/>
                    <a:pt x="3824288" y="767156"/>
                  </a:cubicBezTo>
                  <a:cubicBezTo>
                    <a:pt x="3831432" y="763187"/>
                    <a:pt x="3806032" y="765568"/>
                    <a:pt x="3814763" y="767156"/>
                  </a:cubicBezTo>
                  <a:cubicBezTo>
                    <a:pt x="3823494" y="768744"/>
                    <a:pt x="3857625" y="778268"/>
                    <a:pt x="3876675" y="776681"/>
                  </a:cubicBezTo>
                  <a:cubicBezTo>
                    <a:pt x="3895725" y="775094"/>
                    <a:pt x="3915834" y="757102"/>
                    <a:pt x="3929063" y="757631"/>
                  </a:cubicBezTo>
                  <a:cubicBezTo>
                    <a:pt x="3942292" y="758160"/>
                    <a:pt x="3960019" y="771919"/>
                    <a:pt x="3956050" y="779856"/>
                  </a:cubicBezTo>
                  <a:cubicBezTo>
                    <a:pt x="3952081" y="787794"/>
                    <a:pt x="3912129" y="795466"/>
                    <a:pt x="3905250" y="805256"/>
                  </a:cubicBezTo>
                  <a:cubicBezTo>
                    <a:pt x="3898371" y="815046"/>
                    <a:pt x="3906044" y="838594"/>
                    <a:pt x="3914775" y="838594"/>
                  </a:cubicBezTo>
                  <a:cubicBezTo>
                    <a:pt x="3923506" y="838594"/>
                    <a:pt x="3945732" y="803669"/>
                    <a:pt x="3957638" y="805256"/>
                  </a:cubicBezTo>
                  <a:cubicBezTo>
                    <a:pt x="3969544" y="806843"/>
                    <a:pt x="3966105" y="833038"/>
                    <a:pt x="3986213" y="848119"/>
                  </a:cubicBezTo>
                  <a:cubicBezTo>
                    <a:pt x="4006321" y="863200"/>
                    <a:pt x="4064001" y="876694"/>
                    <a:pt x="4078288" y="895744"/>
                  </a:cubicBezTo>
                  <a:cubicBezTo>
                    <a:pt x="4092576" y="914794"/>
                    <a:pt x="4065588" y="940723"/>
                    <a:pt x="4071938" y="962419"/>
                  </a:cubicBezTo>
                  <a:cubicBezTo>
                    <a:pt x="4078288" y="984115"/>
                    <a:pt x="4104217" y="1008192"/>
                    <a:pt x="4116388" y="1025919"/>
                  </a:cubicBezTo>
                  <a:cubicBezTo>
                    <a:pt x="4128559" y="1043646"/>
                    <a:pt x="4141524" y="1056875"/>
                    <a:pt x="4144963" y="1068781"/>
                  </a:cubicBezTo>
                  <a:cubicBezTo>
                    <a:pt x="4148402" y="1080687"/>
                    <a:pt x="4134908" y="1088096"/>
                    <a:pt x="4137025" y="1097356"/>
                  </a:cubicBezTo>
                  <a:cubicBezTo>
                    <a:pt x="4139142" y="1106616"/>
                    <a:pt x="4153430" y="1107146"/>
                    <a:pt x="4157663" y="1124344"/>
                  </a:cubicBezTo>
                  <a:cubicBezTo>
                    <a:pt x="4161896" y="1141542"/>
                    <a:pt x="4156075" y="1183082"/>
                    <a:pt x="4162425" y="1200544"/>
                  </a:cubicBezTo>
                  <a:cubicBezTo>
                    <a:pt x="4168775" y="1218006"/>
                    <a:pt x="4193382" y="1218800"/>
                    <a:pt x="4195763" y="1229119"/>
                  </a:cubicBezTo>
                  <a:cubicBezTo>
                    <a:pt x="4198144" y="1239438"/>
                    <a:pt x="4177507" y="1252931"/>
                    <a:pt x="4176713" y="1262456"/>
                  </a:cubicBezTo>
                  <a:cubicBezTo>
                    <a:pt x="4175919" y="1271981"/>
                    <a:pt x="4175390" y="1271717"/>
                    <a:pt x="4191000" y="1286269"/>
                  </a:cubicBezTo>
                  <a:cubicBezTo>
                    <a:pt x="4206610" y="1300821"/>
                    <a:pt x="4256352" y="1331513"/>
                    <a:pt x="4270375" y="1349769"/>
                  </a:cubicBezTo>
                  <a:cubicBezTo>
                    <a:pt x="4284398" y="1368025"/>
                    <a:pt x="4282017" y="1388133"/>
                    <a:pt x="4275138" y="1395806"/>
                  </a:cubicBezTo>
                  <a:cubicBezTo>
                    <a:pt x="4268259" y="1403479"/>
                    <a:pt x="4229629" y="1381519"/>
                    <a:pt x="4229100" y="1395806"/>
                  </a:cubicBezTo>
                  <a:cubicBezTo>
                    <a:pt x="4228571" y="1410094"/>
                    <a:pt x="4255294" y="1469096"/>
                    <a:pt x="4271963" y="1481531"/>
                  </a:cubicBezTo>
                  <a:cubicBezTo>
                    <a:pt x="4288632" y="1493967"/>
                    <a:pt x="4310328" y="1467244"/>
                    <a:pt x="4329113" y="1470419"/>
                  </a:cubicBezTo>
                  <a:cubicBezTo>
                    <a:pt x="4347898" y="1473594"/>
                    <a:pt x="4366419" y="1493966"/>
                    <a:pt x="4384675" y="1500581"/>
                  </a:cubicBezTo>
                  <a:cubicBezTo>
                    <a:pt x="4402931" y="1507196"/>
                    <a:pt x="4436004" y="1525187"/>
                    <a:pt x="4445000" y="1535506"/>
                  </a:cubicBezTo>
                  <a:cubicBezTo>
                    <a:pt x="4453996" y="1545825"/>
                    <a:pt x="4440767" y="1546354"/>
                    <a:pt x="4438650" y="1562494"/>
                  </a:cubicBezTo>
                  <a:cubicBezTo>
                    <a:pt x="4436533" y="1578634"/>
                    <a:pt x="4421981" y="1614088"/>
                    <a:pt x="4432300" y="1632344"/>
                  </a:cubicBezTo>
                  <a:cubicBezTo>
                    <a:pt x="4442619" y="1650600"/>
                    <a:pt x="4478338" y="1668592"/>
                    <a:pt x="4500563" y="1672031"/>
                  </a:cubicBezTo>
                  <a:cubicBezTo>
                    <a:pt x="4522788" y="1675471"/>
                    <a:pt x="4548188" y="1658537"/>
                    <a:pt x="4565650" y="1652981"/>
                  </a:cubicBezTo>
                  <a:cubicBezTo>
                    <a:pt x="4583112" y="1647425"/>
                    <a:pt x="4596342" y="1633138"/>
                    <a:pt x="4605338" y="1638694"/>
                  </a:cubicBezTo>
                  <a:cubicBezTo>
                    <a:pt x="4614334" y="1644250"/>
                    <a:pt x="4615127" y="1673355"/>
                    <a:pt x="4619625" y="1686319"/>
                  </a:cubicBezTo>
                  <a:cubicBezTo>
                    <a:pt x="4624123" y="1699283"/>
                    <a:pt x="4625975" y="1712512"/>
                    <a:pt x="4632325" y="1716481"/>
                  </a:cubicBezTo>
                  <a:cubicBezTo>
                    <a:pt x="4638675" y="1720450"/>
                    <a:pt x="4656667" y="1699548"/>
                    <a:pt x="4657725" y="1710131"/>
                  </a:cubicBezTo>
                  <a:cubicBezTo>
                    <a:pt x="4658783" y="1720714"/>
                    <a:pt x="4639469" y="1762519"/>
                    <a:pt x="4638675" y="1779981"/>
                  </a:cubicBezTo>
                  <a:cubicBezTo>
                    <a:pt x="4637881" y="1797443"/>
                    <a:pt x="4645819" y="1803529"/>
                    <a:pt x="4652963" y="1814906"/>
                  </a:cubicBezTo>
                  <a:cubicBezTo>
                    <a:pt x="4660107" y="1826283"/>
                    <a:pt x="4662488" y="1835544"/>
                    <a:pt x="4681538" y="1848244"/>
                  </a:cubicBezTo>
                  <a:cubicBezTo>
                    <a:pt x="4700588" y="1860944"/>
                    <a:pt x="4751388" y="1871262"/>
                    <a:pt x="4767263" y="1891106"/>
                  </a:cubicBezTo>
                  <a:cubicBezTo>
                    <a:pt x="4783138" y="1910950"/>
                    <a:pt x="4787107" y="1959369"/>
                    <a:pt x="4776788" y="1967306"/>
                  </a:cubicBezTo>
                  <a:cubicBezTo>
                    <a:pt x="4766469" y="1975243"/>
                    <a:pt x="4718844" y="1937937"/>
                    <a:pt x="4705350" y="1938731"/>
                  </a:cubicBezTo>
                  <a:cubicBezTo>
                    <a:pt x="4691856" y="1939525"/>
                    <a:pt x="4689475" y="1959369"/>
                    <a:pt x="4695825" y="1972069"/>
                  </a:cubicBezTo>
                  <a:cubicBezTo>
                    <a:pt x="4702175" y="1984769"/>
                    <a:pt x="4729956" y="2004612"/>
                    <a:pt x="4743450" y="2014931"/>
                  </a:cubicBezTo>
                  <a:cubicBezTo>
                    <a:pt x="4756944" y="2025250"/>
                    <a:pt x="4763559" y="2032129"/>
                    <a:pt x="4776788" y="2033981"/>
                  </a:cubicBezTo>
                  <a:cubicBezTo>
                    <a:pt x="4790017" y="2035833"/>
                    <a:pt x="4811713" y="2024986"/>
                    <a:pt x="4822825" y="2026044"/>
                  </a:cubicBezTo>
                  <a:cubicBezTo>
                    <a:pt x="4833937" y="2027102"/>
                    <a:pt x="4840817" y="2028689"/>
                    <a:pt x="4843463" y="2040331"/>
                  </a:cubicBezTo>
                  <a:cubicBezTo>
                    <a:pt x="4846109" y="2051973"/>
                    <a:pt x="4817269" y="2070759"/>
                    <a:pt x="4838700" y="2095894"/>
                  </a:cubicBezTo>
                  <a:cubicBezTo>
                    <a:pt x="4860131" y="2121030"/>
                    <a:pt x="4945856" y="2179238"/>
                    <a:pt x="4972050" y="2191144"/>
                  </a:cubicBezTo>
                  <a:cubicBezTo>
                    <a:pt x="4998244" y="2203050"/>
                    <a:pt x="4980253" y="2167067"/>
                    <a:pt x="4995863" y="2167331"/>
                  </a:cubicBezTo>
                  <a:cubicBezTo>
                    <a:pt x="5011473" y="2167595"/>
                    <a:pt x="5044282" y="2178444"/>
                    <a:pt x="5065713" y="2192731"/>
                  </a:cubicBezTo>
                  <a:cubicBezTo>
                    <a:pt x="5087144" y="2207019"/>
                    <a:pt x="5097198" y="2236387"/>
                    <a:pt x="5124450" y="2253056"/>
                  </a:cubicBezTo>
                  <a:cubicBezTo>
                    <a:pt x="5151702" y="2269725"/>
                    <a:pt x="5203031" y="2274488"/>
                    <a:pt x="5229225" y="2292744"/>
                  </a:cubicBezTo>
                  <a:cubicBezTo>
                    <a:pt x="5255419" y="2311000"/>
                    <a:pt x="5272088" y="2337459"/>
                    <a:pt x="5281613" y="2362594"/>
                  </a:cubicBezTo>
                  <a:cubicBezTo>
                    <a:pt x="5291138" y="2387729"/>
                    <a:pt x="5274469" y="2418156"/>
                    <a:pt x="5286375" y="2443556"/>
                  </a:cubicBezTo>
                  <a:cubicBezTo>
                    <a:pt x="5298281" y="2468956"/>
                    <a:pt x="5329767" y="2498325"/>
                    <a:pt x="5353050" y="2514994"/>
                  </a:cubicBezTo>
                  <a:cubicBezTo>
                    <a:pt x="5376333" y="2531663"/>
                    <a:pt x="5403850" y="2530075"/>
                    <a:pt x="5426075" y="2543569"/>
                  </a:cubicBezTo>
                  <a:cubicBezTo>
                    <a:pt x="5448300" y="2557063"/>
                    <a:pt x="5465233" y="2580875"/>
                    <a:pt x="5486400" y="2595956"/>
                  </a:cubicBezTo>
                  <a:cubicBezTo>
                    <a:pt x="5507567" y="2611037"/>
                    <a:pt x="5553075" y="2634056"/>
                    <a:pt x="5553075" y="2634056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44" name="Freeform 19"/>
            <p:cNvSpPr/>
            <p:nvPr>
              <p:custDataLst>
                <p:tags r:id="rId4"/>
              </p:custDataLst>
            </p:nvPr>
          </p:nvSpPr>
          <p:spPr bwMode="gray">
            <a:xfrm>
              <a:off x="2544708" y="1273732"/>
              <a:ext cx="2908550" cy="1259531"/>
            </a:xfrm>
            <a:custGeom>
              <a:avLst/>
              <a:gdLst>
                <a:gd name="connsiteX0" fmla="*/ 361950 w 3165475"/>
                <a:gd name="connsiteY0" fmla="*/ 0 h 1412875"/>
                <a:gd name="connsiteX1" fmla="*/ 361950 w 3165475"/>
                <a:gd name="connsiteY1" fmla="*/ 0 h 1412875"/>
                <a:gd name="connsiteX2" fmla="*/ 352425 w 3165475"/>
                <a:gd name="connsiteY2" fmla="*/ 25400 h 1412875"/>
                <a:gd name="connsiteX3" fmla="*/ 323850 w 3165475"/>
                <a:gd name="connsiteY3" fmla="*/ 41275 h 1412875"/>
                <a:gd name="connsiteX4" fmla="*/ 314325 w 3165475"/>
                <a:gd name="connsiteY4" fmla="*/ 47625 h 1412875"/>
                <a:gd name="connsiteX5" fmla="*/ 304800 w 3165475"/>
                <a:gd name="connsiteY5" fmla="*/ 57150 h 1412875"/>
                <a:gd name="connsiteX6" fmla="*/ 295275 w 3165475"/>
                <a:gd name="connsiteY6" fmla="*/ 60325 h 1412875"/>
                <a:gd name="connsiteX7" fmla="*/ 276225 w 3165475"/>
                <a:gd name="connsiteY7" fmla="*/ 73025 h 1412875"/>
                <a:gd name="connsiteX8" fmla="*/ 266700 w 3165475"/>
                <a:gd name="connsiteY8" fmla="*/ 79375 h 1412875"/>
                <a:gd name="connsiteX9" fmla="*/ 250825 w 3165475"/>
                <a:gd name="connsiteY9" fmla="*/ 95250 h 1412875"/>
                <a:gd name="connsiteX10" fmla="*/ 241300 w 3165475"/>
                <a:gd name="connsiteY10" fmla="*/ 114300 h 1412875"/>
                <a:gd name="connsiteX11" fmla="*/ 231775 w 3165475"/>
                <a:gd name="connsiteY11" fmla="*/ 133350 h 1412875"/>
                <a:gd name="connsiteX12" fmla="*/ 228600 w 3165475"/>
                <a:gd name="connsiteY12" fmla="*/ 174625 h 1412875"/>
                <a:gd name="connsiteX13" fmla="*/ 222250 w 3165475"/>
                <a:gd name="connsiteY13" fmla="*/ 193675 h 1412875"/>
                <a:gd name="connsiteX14" fmla="*/ 212725 w 3165475"/>
                <a:gd name="connsiteY14" fmla="*/ 276225 h 1412875"/>
                <a:gd name="connsiteX15" fmla="*/ 206375 w 3165475"/>
                <a:gd name="connsiteY15" fmla="*/ 285750 h 1412875"/>
                <a:gd name="connsiteX16" fmla="*/ 206375 w 3165475"/>
                <a:gd name="connsiteY16" fmla="*/ 336550 h 1412875"/>
                <a:gd name="connsiteX17" fmla="*/ 193675 w 3165475"/>
                <a:gd name="connsiteY17" fmla="*/ 355600 h 1412875"/>
                <a:gd name="connsiteX18" fmla="*/ 187325 w 3165475"/>
                <a:gd name="connsiteY18" fmla="*/ 365125 h 1412875"/>
                <a:gd name="connsiteX19" fmla="*/ 180975 w 3165475"/>
                <a:gd name="connsiteY19" fmla="*/ 390525 h 1412875"/>
                <a:gd name="connsiteX20" fmla="*/ 165100 w 3165475"/>
                <a:gd name="connsiteY20" fmla="*/ 406400 h 1412875"/>
                <a:gd name="connsiteX21" fmla="*/ 155575 w 3165475"/>
                <a:gd name="connsiteY21" fmla="*/ 415925 h 1412875"/>
                <a:gd name="connsiteX22" fmla="*/ 136525 w 3165475"/>
                <a:gd name="connsiteY22" fmla="*/ 428625 h 1412875"/>
                <a:gd name="connsiteX23" fmla="*/ 117475 w 3165475"/>
                <a:gd name="connsiteY23" fmla="*/ 441325 h 1412875"/>
                <a:gd name="connsiteX24" fmla="*/ 107950 w 3165475"/>
                <a:gd name="connsiteY24" fmla="*/ 444500 h 1412875"/>
                <a:gd name="connsiteX25" fmla="*/ 98425 w 3165475"/>
                <a:gd name="connsiteY25" fmla="*/ 450850 h 1412875"/>
                <a:gd name="connsiteX26" fmla="*/ 88900 w 3165475"/>
                <a:gd name="connsiteY26" fmla="*/ 454025 h 1412875"/>
                <a:gd name="connsiteX27" fmla="*/ 79375 w 3165475"/>
                <a:gd name="connsiteY27" fmla="*/ 463550 h 1412875"/>
                <a:gd name="connsiteX28" fmla="*/ 69850 w 3165475"/>
                <a:gd name="connsiteY28" fmla="*/ 482600 h 1412875"/>
                <a:gd name="connsiteX29" fmla="*/ 63500 w 3165475"/>
                <a:gd name="connsiteY29" fmla="*/ 495300 h 1412875"/>
                <a:gd name="connsiteX30" fmla="*/ 60325 w 3165475"/>
                <a:gd name="connsiteY30" fmla="*/ 504825 h 1412875"/>
                <a:gd name="connsiteX31" fmla="*/ 50800 w 3165475"/>
                <a:gd name="connsiteY31" fmla="*/ 514350 h 1412875"/>
                <a:gd name="connsiteX32" fmla="*/ 44450 w 3165475"/>
                <a:gd name="connsiteY32" fmla="*/ 533400 h 1412875"/>
                <a:gd name="connsiteX33" fmla="*/ 38100 w 3165475"/>
                <a:gd name="connsiteY33" fmla="*/ 542925 h 1412875"/>
                <a:gd name="connsiteX34" fmla="*/ 31750 w 3165475"/>
                <a:gd name="connsiteY34" fmla="*/ 561975 h 1412875"/>
                <a:gd name="connsiteX35" fmla="*/ 25400 w 3165475"/>
                <a:gd name="connsiteY35" fmla="*/ 571500 h 1412875"/>
                <a:gd name="connsiteX36" fmla="*/ 22225 w 3165475"/>
                <a:gd name="connsiteY36" fmla="*/ 581025 h 1412875"/>
                <a:gd name="connsiteX37" fmla="*/ 15875 w 3165475"/>
                <a:gd name="connsiteY37" fmla="*/ 590550 h 1412875"/>
                <a:gd name="connsiteX38" fmla="*/ 9525 w 3165475"/>
                <a:gd name="connsiteY38" fmla="*/ 612775 h 1412875"/>
                <a:gd name="connsiteX39" fmla="*/ 0 w 3165475"/>
                <a:gd name="connsiteY39" fmla="*/ 635000 h 1412875"/>
                <a:gd name="connsiteX40" fmla="*/ 28575 w 3165475"/>
                <a:gd name="connsiteY40" fmla="*/ 657225 h 1412875"/>
                <a:gd name="connsiteX41" fmla="*/ 41275 w 3165475"/>
                <a:gd name="connsiteY41" fmla="*/ 676275 h 1412875"/>
                <a:gd name="connsiteX42" fmla="*/ 66675 w 3165475"/>
                <a:gd name="connsiteY42" fmla="*/ 704850 h 1412875"/>
                <a:gd name="connsiteX43" fmla="*/ 76200 w 3165475"/>
                <a:gd name="connsiteY43" fmla="*/ 714375 h 1412875"/>
                <a:gd name="connsiteX44" fmla="*/ 95250 w 3165475"/>
                <a:gd name="connsiteY44" fmla="*/ 720725 h 1412875"/>
                <a:gd name="connsiteX45" fmla="*/ 111125 w 3165475"/>
                <a:gd name="connsiteY45" fmla="*/ 739775 h 1412875"/>
                <a:gd name="connsiteX46" fmla="*/ 130175 w 3165475"/>
                <a:gd name="connsiteY46" fmla="*/ 752475 h 1412875"/>
                <a:gd name="connsiteX47" fmla="*/ 133350 w 3165475"/>
                <a:gd name="connsiteY47" fmla="*/ 762000 h 1412875"/>
                <a:gd name="connsiteX48" fmla="*/ 161925 w 3165475"/>
                <a:gd name="connsiteY48" fmla="*/ 765175 h 1412875"/>
                <a:gd name="connsiteX49" fmla="*/ 177800 w 3165475"/>
                <a:gd name="connsiteY49" fmla="*/ 771525 h 1412875"/>
                <a:gd name="connsiteX50" fmla="*/ 196850 w 3165475"/>
                <a:gd name="connsiteY50" fmla="*/ 774700 h 1412875"/>
                <a:gd name="connsiteX51" fmla="*/ 215900 w 3165475"/>
                <a:gd name="connsiteY51" fmla="*/ 781050 h 1412875"/>
                <a:gd name="connsiteX52" fmla="*/ 234950 w 3165475"/>
                <a:gd name="connsiteY52" fmla="*/ 790575 h 1412875"/>
                <a:gd name="connsiteX53" fmla="*/ 263525 w 3165475"/>
                <a:gd name="connsiteY53" fmla="*/ 809625 h 1412875"/>
                <a:gd name="connsiteX54" fmla="*/ 273050 w 3165475"/>
                <a:gd name="connsiteY54" fmla="*/ 812800 h 1412875"/>
                <a:gd name="connsiteX55" fmla="*/ 292100 w 3165475"/>
                <a:gd name="connsiteY55" fmla="*/ 822325 h 1412875"/>
                <a:gd name="connsiteX56" fmla="*/ 311150 w 3165475"/>
                <a:gd name="connsiteY56" fmla="*/ 831850 h 1412875"/>
                <a:gd name="connsiteX57" fmla="*/ 320675 w 3165475"/>
                <a:gd name="connsiteY57" fmla="*/ 838200 h 1412875"/>
                <a:gd name="connsiteX58" fmla="*/ 342900 w 3165475"/>
                <a:gd name="connsiteY58" fmla="*/ 847725 h 1412875"/>
                <a:gd name="connsiteX59" fmla="*/ 349250 w 3165475"/>
                <a:gd name="connsiteY59" fmla="*/ 857250 h 1412875"/>
                <a:gd name="connsiteX60" fmla="*/ 352425 w 3165475"/>
                <a:gd name="connsiteY60" fmla="*/ 866775 h 1412875"/>
                <a:gd name="connsiteX61" fmla="*/ 381000 w 3165475"/>
                <a:gd name="connsiteY61" fmla="*/ 889000 h 1412875"/>
                <a:gd name="connsiteX62" fmla="*/ 400050 w 3165475"/>
                <a:gd name="connsiteY62" fmla="*/ 904875 h 1412875"/>
                <a:gd name="connsiteX63" fmla="*/ 412750 w 3165475"/>
                <a:gd name="connsiteY63" fmla="*/ 914400 h 1412875"/>
                <a:gd name="connsiteX64" fmla="*/ 431800 w 3165475"/>
                <a:gd name="connsiteY64" fmla="*/ 927100 h 1412875"/>
                <a:gd name="connsiteX65" fmla="*/ 434975 w 3165475"/>
                <a:gd name="connsiteY65" fmla="*/ 939800 h 1412875"/>
                <a:gd name="connsiteX66" fmla="*/ 441325 w 3165475"/>
                <a:gd name="connsiteY66" fmla="*/ 965200 h 1412875"/>
                <a:gd name="connsiteX67" fmla="*/ 473075 w 3165475"/>
                <a:gd name="connsiteY67" fmla="*/ 1003300 h 1412875"/>
                <a:gd name="connsiteX68" fmla="*/ 501650 w 3165475"/>
                <a:gd name="connsiteY68" fmla="*/ 1022350 h 1412875"/>
                <a:gd name="connsiteX69" fmla="*/ 511175 w 3165475"/>
                <a:gd name="connsiteY69" fmla="*/ 1025525 h 1412875"/>
                <a:gd name="connsiteX70" fmla="*/ 549275 w 3165475"/>
                <a:gd name="connsiteY70" fmla="*/ 1038225 h 1412875"/>
                <a:gd name="connsiteX71" fmla="*/ 549275 w 3165475"/>
                <a:gd name="connsiteY71" fmla="*/ 1038225 h 1412875"/>
                <a:gd name="connsiteX72" fmla="*/ 568325 w 3165475"/>
                <a:gd name="connsiteY72" fmla="*/ 1044575 h 1412875"/>
                <a:gd name="connsiteX73" fmla="*/ 593725 w 3165475"/>
                <a:gd name="connsiteY73" fmla="*/ 1054100 h 1412875"/>
                <a:gd name="connsiteX74" fmla="*/ 609600 w 3165475"/>
                <a:gd name="connsiteY74" fmla="*/ 1060450 h 1412875"/>
                <a:gd name="connsiteX75" fmla="*/ 688975 w 3165475"/>
                <a:gd name="connsiteY75" fmla="*/ 1063625 h 1412875"/>
                <a:gd name="connsiteX76" fmla="*/ 698500 w 3165475"/>
                <a:gd name="connsiteY76" fmla="*/ 1066800 h 1412875"/>
                <a:gd name="connsiteX77" fmla="*/ 746125 w 3165475"/>
                <a:gd name="connsiteY77" fmla="*/ 1060450 h 1412875"/>
                <a:gd name="connsiteX78" fmla="*/ 752475 w 3165475"/>
                <a:gd name="connsiteY78" fmla="*/ 1069975 h 1412875"/>
                <a:gd name="connsiteX79" fmla="*/ 755650 w 3165475"/>
                <a:gd name="connsiteY79" fmla="*/ 1079500 h 1412875"/>
                <a:gd name="connsiteX80" fmla="*/ 758825 w 3165475"/>
                <a:gd name="connsiteY80" fmla="*/ 1092200 h 1412875"/>
                <a:gd name="connsiteX81" fmla="*/ 768350 w 3165475"/>
                <a:gd name="connsiteY81" fmla="*/ 1098550 h 1412875"/>
                <a:gd name="connsiteX82" fmla="*/ 790575 w 3165475"/>
                <a:gd name="connsiteY82" fmla="*/ 1104900 h 1412875"/>
                <a:gd name="connsiteX83" fmla="*/ 803275 w 3165475"/>
                <a:gd name="connsiteY83" fmla="*/ 1111250 h 1412875"/>
                <a:gd name="connsiteX84" fmla="*/ 822325 w 3165475"/>
                <a:gd name="connsiteY84" fmla="*/ 1117600 h 1412875"/>
                <a:gd name="connsiteX85" fmla="*/ 828675 w 3165475"/>
                <a:gd name="connsiteY85" fmla="*/ 1127125 h 1412875"/>
                <a:gd name="connsiteX86" fmla="*/ 838200 w 3165475"/>
                <a:gd name="connsiteY86" fmla="*/ 1136650 h 1412875"/>
                <a:gd name="connsiteX87" fmla="*/ 835025 w 3165475"/>
                <a:gd name="connsiteY87" fmla="*/ 1168400 h 1412875"/>
                <a:gd name="connsiteX88" fmla="*/ 844550 w 3165475"/>
                <a:gd name="connsiteY88" fmla="*/ 1206500 h 1412875"/>
                <a:gd name="connsiteX89" fmla="*/ 854075 w 3165475"/>
                <a:gd name="connsiteY89" fmla="*/ 1209675 h 1412875"/>
                <a:gd name="connsiteX90" fmla="*/ 873125 w 3165475"/>
                <a:gd name="connsiteY90" fmla="*/ 1219200 h 1412875"/>
                <a:gd name="connsiteX91" fmla="*/ 882650 w 3165475"/>
                <a:gd name="connsiteY91" fmla="*/ 1225550 h 1412875"/>
                <a:gd name="connsiteX92" fmla="*/ 901700 w 3165475"/>
                <a:gd name="connsiteY92" fmla="*/ 1231900 h 1412875"/>
                <a:gd name="connsiteX93" fmla="*/ 920750 w 3165475"/>
                <a:gd name="connsiteY93" fmla="*/ 1244600 h 1412875"/>
                <a:gd name="connsiteX94" fmla="*/ 930275 w 3165475"/>
                <a:gd name="connsiteY94" fmla="*/ 1250950 h 1412875"/>
                <a:gd name="connsiteX95" fmla="*/ 933450 w 3165475"/>
                <a:gd name="connsiteY95" fmla="*/ 1260475 h 1412875"/>
                <a:gd name="connsiteX96" fmla="*/ 962025 w 3165475"/>
                <a:gd name="connsiteY96" fmla="*/ 1282700 h 1412875"/>
                <a:gd name="connsiteX97" fmla="*/ 981075 w 3165475"/>
                <a:gd name="connsiteY97" fmla="*/ 1292225 h 1412875"/>
                <a:gd name="connsiteX98" fmla="*/ 996950 w 3165475"/>
                <a:gd name="connsiteY98" fmla="*/ 1308100 h 1412875"/>
                <a:gd name="connsiteX99" fmla="*/ 1000125 w 3165475"/>
                <a:gd name="connsiteY99" fmla="*/ 1317625 h 1412875"/>
                <a:gd name="connsiteX100" fmla="*/ 1012825 w 3165475"/>
                <a:gd name="connsiteY100" fmla="*/ 1336675 h 1412875"/>
                <a:gd name="connsiteX101" fmla="*/ 1019175 w 3165475"/>
                <a:gd name="connsiteY101" fmla="*/ 1355725 h 1412875"/>
                <a:gd name="connsiteX102" fmla="*/ 1025525 w 3165475"/>
                <a:gd name="connsiteY102" fmla="*/ 1365250 h 1412875"/>
                <a:gd name="connsiteX103" fmla="*/ 1028700 w 3165475"/>
                <a:gd name="connsiteY103" fmla="*/ 1374775 h 1412875"/>
                <a:gd name="connsiteX104" fmla="*/ 1044575 w 3165475"/>
                <a:gd name="connsiteY104" fmla="*/ 1393825 h 1412875"/>
                <a:gd name="connsiteX105" fmla="*/ 1054100 w 3165475"/>
                <a:gd name="connsiteY105" fmla="*/ 1412875 h 1412875"/>
                <a:gd name="connsiteX106" fmla="*/ 1057275 w 3165475"/>
                <a:gd name="connsiteY106" fmla="*/ 1403350 h 1412875"/>
                <a:gd name="connsiteX107" fmla="*/ 1063625 w 3165475"/>
                <a:gd name="connsiteY107" fmla="*/ 1393825 h 1412875"/>
                <a:gd name="connsiteX108" fmla="*/ 1076325 w 3165475"/>
                <a:gd name="connsiteY108" fmla="*/ 1374775 h 1412875"/>
                <a:gd name="connsiteX109" fmla="*/ 1085850 w 3165475"/>
                <a:gd name="connsiteY109" fmla="*/ 1371600 h 1412875"/>
                <a:gd name="connsiteX110" fmla="*/ 1152525 w 3165475"/>
                <a:gd name="connsiteY110" fmla="*/ 1365250 h 1412875"/>
                <a:gd name="connsiteX111" fmla="*/ 1181100 w 3165475"/>
                <a:gd name="connsiteY111" fmla="*/ 1358900 h 1412875"/>
                <a:gd name="connsiteX112" fmla="*/ 1200150 w 3165475"/>
                <a:gd name="connsiteY112" fmla="*/ 1346200 h 1412875"/>
                <a:gd name="connsiteX113" fmla="*/ 1209675 w 3165475"/>
                <a:gd name="connsiteY113" fmla="*/ 1339850 h 1412875"/>
                <a:gd name="connsiteX114" fmla="*/ 1222375 w 3165475"/>
                <a:gd name="connsiteY114" fmla="*/ 1320800 h 1412875"/>
                <a:gd name="connsiteX115" fmla="*/ 1241425 w 3165475"/>
                <a:gd name="connsiteY115" fmla="*/ 1314450 h 1412875"/>
                <a:gd name="connsiteX116" fmla="*/ 1282700 w 3165475"/>
                <a:gd name="connsiteY116" fmla="*/ 1317625 h 1412875"/>
                <a:gd name="connsiteX117" fmla="*/ 1320800 w 3165475"/>
                <a:gd name="connsiteY117" fmla="*/ 1311275 h 1412875"/>
                <a:gd name="connsiteX118" fmla="*/ 1349375 w 3165475"/>
                <a:gd name="connsiteY118" fmla="*/ 1292225 h 1412875"/>
                <a:gd name="connsiteX119" fmla="*/ 1371600 w 3165475"/>
                <a:gd name="connsiteY119" fmla="*/ 1276350 h 1412875"/>
                <a:gd name="connsiteX120" fmla="*/ 1381125 w 3165475"/>
                <a:gd name="connsiteY120" fmla="*/ 1266825 h 1412875"/>
                <a:gd name="connsiteX121" fmla="*/ 1384300 w 3165475"/>
                <a:gd name="connsiteY121" fmla="*/ 1257300 h 1412875"/>
                <a:gd name="connsiteX122" fmla="*/ 1416050 w 3165475"/>
                <a:gd name="connsiteY122" fmla="*/ 1241425 h 1412875"/>
                <a:gd name="connsiteX123" fmla="*/ 1460500 w 3165475"/>
                <a:gd name="connsiteY123" fmla="*/ 1231900 h 1412875"/>
                <a:gd name="connsiteX124" fmla="*/ 1470025 w 3165475"/>
                <a:gd name="connsiteY124" fmla="*/ 1228725 h 1412875"/>
                <a:gd name="connsiteX125" fmla="*/ 1479550 w 3165475"/>
                <a:gd name="connsiteY125" fmla="*/ 1219200 h 1412875"/>
                <a:gd name="connsiteX126" fmla="*/ 1482725 w 3165475"/>
                <a:gd name="connsiteY126" fmla="*/ 1209675 h 1412875"/>
                <a:gd name="connsiteX127" fmla="*/ 1492250 w 3165475"/>
                <a:gd name="connsiteY127" fmla="*/ 1203325 h 1412875"/>
                <a:gd name="connsiteX128" fmla="*/ 1539875 w 3165475"/>
                <a:gd name="connsiteY128" fmla="*/ 1196975 h 1412875"/>
                <a:gd name="connsiteX129" fmla="*/ 1549400 w 3165475"/>
                <a:gd name="connsiteY129" fmla="*/ 1193800 h 1412875"/>
                <a:gd name="connsiteX130" fmla="*/ 1558925 w 3165475"/>
                <a:gd name="connsiteY130" fmla="*/ 1187450 h 1412875"/>
                <a:gd name="connsiteX131" fmla="*/ 1571625 w 3165475"/>
                <a:gd name="connsiteY131" fmla="*/ 1184275 h 1412875"/>
                <a:gd name="connsiteX132" fmla="*/ 1581150 w 3165475"/>
                <a:gd name="connsiteY132" fmla="*/ 1181100 h 1412875"/>
                <a:gd name="connsiteX133" fmla="*/ 1612900 w 3165475"/>
                <a:gd name="connsiteY133" fmla="*/ 1149350 h 1412875"/>
                <a:gd name="connsiteX134" fmla="*/ 1619250 w 3165475"/>
                <a:gd name="connsiteY134" fmla="*/ 1130300 h 1412875"/>
                <a:gd name="connsiteX135" fmla="*/ 1622425 w 3165475"/>
                <a:gd name="connsiteY135" fmla="*/ 1120775 h 1412875"/>
                <a:gd name="connsiteX136" fmla="*/ 1628775 w 3165475"/>
                <a:gd name="connsiteY136" fmla="*/ 1111250 h 1412875"/>
                <a:gd name="connsiteX137" fmla="*/ 1657350 w 3165475"/>
                <a:gd name="connsiteY137" fmla="*/ 1089025 h 1412875"/>
                <a:gd name="connsiteX138" fmla="*/ 1666875 w 3165475"/>
                <a:gd name="connsiteY138" fmla="*/ 1069975 h 1412875"/>
                <a:gd name="connsiteX139" fmla="*/ 1673225 w 3165475"/>
                <a:gd name="connsiteY139" fmla="*/ 1060450 h 1412875"/>
                <a:gd name="connsiteX140" fmla="*/ 1676400 w 3165475"/>
                <a:gd name="connsiteY140" fmla="*/ 1050925 h 1412875"/>
                <a:gd name="connsiteX141" fmla="*/ 1682750 w 3165475"/>
                <a:gd name="connsiteY141" fmla="*/ 1041400 h 1412875"/>
                <a:gd name="connsiteX142" fmla="*/ 1711325 w 3165475"/>
                <a:gd name="connsiteY142" fmla="*/ 1016000 h 1412875"/>
                <a:gd name="connsiteX143" fmla="*/ 1717675 w 3165475"/>
                <a:gd name="connsiteY143" fmla="*/ 1006475 h 1412875"/>
                <a:gd name="connsiteX144" fmla="*/ 1727200 w 3165475"/>
                <a:gd name="connsiteY144" fmla="*/ 1003300 h 1412875"/>
                <a:gd name="connsiteX145" fmla="*/ 1736725 w 3165475"/>
                <a:gd name="connsiteY145" fmla="*/ 996950 h 1412875"/>
                <a:gd name="connsiteX146" fmla="*/ 1768475 w 3165475"/>
                <a:gd name="connsiteY146" fmla="*/ 990600 h 1412875"/>
                <a:gd name="connsiteX147" fmla="*/ 1778000 w 3165475"/>
                <a:gd name="connsiteY147" fmla="*/ 984250 h 1412875"/>
                <a:gd name="connsiteX148" fmla="*/ 1793875 w 3165475"/>
                <a:gd name="connsiteY148" fmla="*/ 981075 h 1412875"/>
                <a:gd name="connsiteX149" fmla="*/ 1803400 w 3165475"/>
                <a:gd name="connsiteY149" fmla="*/ 977900 h 1412875"/>
                <a:gd name="connsiteX150" fmla="*/ 1816100 w 3165475"/>
                <a:gd name="connsiteY150" fmla="*/ 974725 h 1412875"/>
                <a:gd name="connsiteX151" fmla="*/ 1825625 w 3165475"/>
                <a:gd name="connsiteY151" fmla="*/ 968375 h 1412875"/>
                <a:gd name="connsiteX152" fmla="*/ 1844675 w 3165475"/>
                <a:gd name="connsiteY152" fmla="*/ 962025 h 1412875"/>
                <a:gd name="connsiteX153" fmla="*/ 1854200 w 3165475"/>
                <a:gd name="connsiteY153" fmla="*/ 955675 h 1412875"/>
                <a:gd name="connsiteX154" fmla="*/ 1876425 w 3165475"/>
                <a:gd name="connsiteY154" fmla="*/ 949325 h 1412875"/>
                <a:gd name="connsiteX155" fmla="*/ 1933575 w 3165475"/>
                <a:gd name="connsiteY155" fmla="*/ 952500 h 1412875"/>
                <a:gd name="connsiteX156" fmla="*/ 1943100 w 3165475"/>
                <a:gd name="connsiteY156" fmla="*/ 955675 h 1412875"/>
                <a:gd name="connsiteX157" fmla="*/ 1968500 w 3165475"/>
                <a:gd name="connsiteY157" fmla="*/ 958850 h 1412875"/>
                <a:gd name="connsiteX158" fmla="*/ 1990725 w 3165475"/>
                <a:gd name="connsiteY158" fmla="*/ 962025 h 1412875"/>
                <a:gd name="connsiteX159" fmla="*/ 2025650 w 3165475"/>
                <a:gd name="connsiteY159" fmla="*/ 974725 h 1412875"/>
                <a:gd name="connsiteX160" fmla="*/ 2035175 w 3165475"/>
                <a:gd name="connsiteY160" fmla="*/ 977900 h 1412875"/>
                <a:gd name="connsiteX161" fmla="*/ 2057400 w 3165475"/>
                <a:gd name="connsiteY161" fmla="*/ 984250 h 1412875"/>
                <a:gd name="connsiteX162" fmla="*/ 2066925 w 3165475"/>
                <a:gd name="connsiteY162" fmla="*/ 993775 h 1412875"/>
                <a:gd name="connsiteX163" fmla="*/ 2076450 w 3165475"/>
                <a:gd name="connsiteY163" fmla="*/ 1000125 h 1412875"/>
                <a:gd name="connsiteX164" fmla="*/ 2082800 w 3165475"/>
                <a:gd name="connsiteY164" fmla="*/ 1009650 h 1412875"/>
                <a:gd name="connsiteX165" fmla="*/ 2101850 w 3165475"/>
                <a:gd name="connsiteY165" fmla="*/ 1022350 h 1412875"/>
                <a:gd name="connsiteX166" fmla="*/ 2133600 w 3165475"/>
                <a:gd name="connsiteY166" fmla="*/ 1028700 h 1412875"/>
                <a:gd name="connsiteX167" fmla="*/ 2143125 w 3165475"/>
                <a:gd name="connsiteY167" fmla="*/ 1035050 h 1412875"/>
                <a:gd name="connsiteX168" fmla="*/ 2149475 w 3165475"/>
                <a:gd name="connsiteY168" fmla="*/ 1063625 h 1412875"/>
                <a:gd name="connsiteX169" fmla="*/ 2159000 w 3165475"/>
                <a:gd name="connsiteY169" fmla="*/ 1066800 h 1412875"/>
                <a:gd name="connsiteX170" fmla="*/ 2276475 w 3165475"/>
                <a:gd name="connsiteY170" fmla="*/ 1066800 h 1412875"/>
                <a:gd name="connsiteX171" fmla="*/ 2289175 w 3165475"/>
                <a:gd name="connsiteY171" fmla="*/ 1069975 h 1412875"/>
                <a:gd name="connsiteX172" fmla="*/ 2305050 w 3165475"/>
                <a:gd name="connsiteY172" fmla="*/ 1073150 h 1412875"/>
                <a:gd name="connsiteX173" fmla="*/ 2428875 w 3165475"/>
                <a:gd name="connsiteY173" fmla="*/ 1079500 h 1412875"/>
                <a:gd name="connsiteX174" fmla="*/ 2447925 w 3165475"/>
                <a:gd name="connsiteY174" fmla="*/ 1089025 h 1412875"/>
                <a:gd name="connsiteX175" fmla="*/ 2457450 w 3165475"/>
                <a:gd name="connsiteY175" fmla="*/ 1111250 h 1412875"/>
                <a:gd name="connsiteX176" fmla="*/ 2463800 w 3165475"/>
                <a:gd name="connsiteY176" fmla="*/ 1120775 h 1412875"/>
                <a:gd name="connsiteX177" fmla="*/ 2473325 w 3165475"/>
                <a:gd name="connsiteY177" fmla="*/ 1149350 h 1412875"/>
                <a:gd name="connsiteX178" fmla="*/ 2476500 w 3165475"/>
                <a:gd name="connsiteY178" fmla="*/ 1158875 h 1412875"/>
                <a:gd name="connsiteX179" fmla="*/ 2479675 w 3165475"/>
                <a:gd name="connsiteY179" fmla="*/ 1168400 h 1412875"/>
                <a:gd name="connsiteX180" fmla="*/ 2505075 w 3165475"/>
                <a:gd name="connsiteY180" fmla="*/ 1200150 h 1412875"/>
                <a:gd name="connsiteX181" fmla="*/ 2533650 w 3165475"/>
                <a:gd name="connsiteY181" fmla="*/ 1196975 h 1412875"/>
                <a:gd name="connsiteX182" fmla="*/ 2543175 w 3165475"/>
                <a:gd name="connsiteY182" fmla="*/ 1193800 h 1412875"/>
                <a:gd name="connsiteX183" fmla="*/ 2559050 w 3165475"/>
                <a:gd name="connsiteY183" fmla="*/ 1190625 h 1412875"/>
                <a:gd name="connsiteX184" fmla="*/ 2619375 w 3165475"/>
                <a:gd name="connsiteY184" fmla="*/ 1193800 h 1412875"/>
                <a:gd name="connsiteX185" fmla="*/ 2638425 w 3165475"/>
                <a:gd name="connsiteY185" fmla="*/ 1200150 h 1412875"/>
                <a:gd name="connsiteX186" fmla="*/ 2651125 w 3165475"/>
                <a:gd name="connsiteY186" fmla="*/ 1219200 h 1412875"/>
                <a:gd name="connsiteX187" fmla="*/ 2679700 w 3165475"/>
                <a:gd name="connsiteY187" fmla="*/ 1235075 h 1412875"/>
                <a:gd name="connsiteX188" fmla="*/ 2689225 w 3165475"/>
                <a:gd name="connsiteY188" fmla="*/ 1241425 h 1412875"/>
                <a:gd name="connsiteX189" fmla="*/ 2698750 w 3165475"/>
                <a:gd name="connsiteY189" fmla="*/ 1244600 h 1412875"/>
                <a:gd name="connsiteX190" fmla="*/ 2708275 w 3165475"/>
                <a:gd name="connsiteY190" fmla="*/ 1254125 h 1412875"/>
                <a:gd name="connsiteX191" fmla="*/ 2736850 w 3165475"/>
                <a:gd name="connsiteY191" fmla="*/ 1270000 h 1412875"/>
                <a:gd name="connsiteX192" fmla="*/ 2746375 w 3165475"/>
                <a:gd name="connsiteY192" fmla="*/ 1266825 h 1412875"/>
                <a:gd name="connsiteX193" fmla="*/ 2762250 w 3165475"/>
                <a:gd name="connsiteY193" fmla="*/ 1250950 h 1412875"/>
                <a:gd name="connsiteX194" fmla="*/ 2765425 w 3165475"/>
                <a:gd name="connsiteY194" fmla="*/ 1241425 h 1412875"/>
                <a:gd name="connsiteX195" fmla="*/ 2784475 w 3165475"/>
                <a:gd name="connsiteY195" fmla="*/ 1225550 h 1412875"/>
                <a:gd name="connsiteX196" fmla="*/ 2809875 w 3165475"/>
                <a:gd name="connsiteY196" fmla="*/ 1203325 h 1412875"/>
                <a:gd name="connsiteX197" fmla="*/ 2828925 w 3165475"/>
                <a:gd name="connsiteY197" fmla="*/ 1196975 h 1412875"/>
                <a:gd name="connsiteX198" fmla="*/ 2838450 w 3165475"/>
                <a:gd name="connsiteY198" fmla="*/ 1193800 h 1412875"/>
                <a:gd name="connsiteX199" fmla="*/ 2889250 w 3165475"/>
                <a:gd name="connsiteY199" fmla="*/ 1196975 h 1412875"/>
                <a:gd name="connsiteX200" fmla="*/ 2898775 w 3165475"/>
                <a:gd name="connsiteY200" fmla="*/ 1200150 h 1412875"/>
                <a:gd name="connsiteX201" fmla="*/ 2930525 w 3165475"/>
                <a:gd name="connsiteY201" fmla="*/ 1209675 h 1412875"/>
                <a:gd name="connsiteX202" fmla="*/ 2962275 w 3165475"/>
                <a:gd name="connsiteY202" fmla="*/ 1216025 h 1412875"/>
                <a:gd name="connsiteX203" fmla="*/ 2978150 w 3165475"/>
                <a:gd name="connsiteY203" fmla="*/ 1219200 h 1412875"/>
                <a:gd name="connsiteX204" fmla="*/ 3000375 w 3165475"/>
                <a:gd name="connsiteY204" fmla="*/ 1228725 h 1412875"/>
                <a:gd name="connsiteX205" fmla="*/ 3009900 w 3165475"/>
                <a:gd name="connsiteY205" fmla="*/ 1235075 h 1412875"/>
                <a:gd name="connsiteX206" fmla="*/ 3022600 w 3165475"/>
                <a:gd name="connsiteY206" fmla="*/ 1238250 h 1412875"/>
                <a:gd name="connsiteX207" fmla="*/ 3032125 w 3165475"/>
                <a:gd name="connsiteY207" fmla="*/ 1241425 h 1412875"/>
                <a:gd name="connsiteX208" fmla="*/ 3041650 w 3165475"/>
                <a:gd name="connsiteY208" fmla="*/ 1247775 h 1412875"/>
                <a:gd name="connsiteX209" fmla="*/ 3067050 w 3165475"/>
                <a:gd name="connsiteY209" fmla="*/ 1257300 h 1412875"/>
                <a:gd name="connsiteX210" fmla="*/ 3089275 w 3165475"/>
                <a:gd name="connsiteY210" fmla="*/ 1260475 h 1412875"/>
                <a:gd name="connsiteX211" fmla="*/ 3095625 w 3165475"/>
                <a:gd name="connsiteY211" fmla="*/ 1247775 h 1412875"/>
                <a:gd name="connsiteX212" fmla="*/ 3105150 w 3165475"/>
                <a:gd name="connsiteY212" fmla="*/ 1241425 h 1412875"/>
                <a:gd name="connsiteX213" fmla="*/ 3114675 w 3165475"/>
                <a:gd name="connsiteY213" fmla="*/ 1231900 h 1412875"/>
                <a:gd name="connsiteX214" fmla="*/ 3124200 w 3165475"/>
                <a:gd name="connsiteY214" fmla="*/ 1225550 h 1412875"/>
                <a:gd name="connsiteX215" fmla="*/ 3133725 w 3165475"/>
                <a:gd name="connsiteY215" fmla="*/ 1222375 h 1412875"/>
                <a:gd name="connsiteX216" fmla="*/ 3165475 w 3165475"/>
                <a:gd name="connsiteY216" fmla="*/ 1219200 h 141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</a:cxnLst>
              <a:rect l="l" t="t" r="r" b="b"/>
              <a:pathLst>
                <a:path w="3165475" h="1412875">
                  <a:moveTo>
                    <a:pt x="361950" y="0"/>
                  </a:moveTo>
                  <a:lnTo>
                    <a:pt x="361950" y="0"/>
                  </a:lnTo>
                  <a:cubicBezTo>
                    <a:pt x="358775" y="8467"/>
                    <a:pt x="357850" y="18166"/>
                    <a:pt x="352425" y="25400"/>
                  </a:cubicBezTo>
                  <a:cubicBezTo>
                    <a:pt x="345147" y="35104"/>
                    <a:pt x="334232" y="37814"/>
                    <a:pt x="323850" y="41275"/>
                  </a:cubicBezTo>
                  <a:cubicBezTo>
                    <a:pt x="320675" y="43392"/>
                    <a:pt x="317256" y="45182"/>
                    <a:pt x="314325" y="47625"/>
                  </a:cubicBezTo>
                  <a:cubicBezTo>
                    <a:pt x="310876" y="50500"/>
                    <a:pt x="308536" y="54659"/>
                    <a:pt x="304800" y="57150"/>
                  </a:cubicBezTo>
                  <a:cubicBezTo>
                    <a:pt x="302015" y="59006"/>
                    <a:pt x="298450" y="59267"/>
                    <a:pt x="295275" y="60325"/>
                  </a:cubicBezTo>
                  <a:lnTo>
                    <a:pt x="276225" y="73025"/>
                  </a:lnTo>
                  <a:lnTo>
                    <a:pt x="266700" y="79375"/>
                  </a:lnTo>
                  <a:cubicBezTo>
                    <a:pt x="249767" y="104775"/>
                    <a:pt x="271992" y="74083"/>
                    <a:pt x="250825" y="95250"/>
                  </a:cubicBezTo>
                  <a:cubicBezTo>
                    <a:pt x="241726" y="104349"/>
                    <a:pt x="246465" y="103971"/>
                    <a:pt x="241300" y="114300"/>
                  </a:cubicBezTo>
                  <a:cubicBezTo>
                    <a:pt x="228990" y="138919"/>
                    <a:pt x="239755" y="109409"/>
                    <a:pt x="231775" y="133350"/>
                  </a:cubicBezTo>
                  <a:cubicBezTo>
                    <a:pt x="230717" y="147108"/>
                    <a:pt x="230752" y="160995"/>
                    <a:pt x="228600" y="174625"/>
                  </a:cubicBezTo>
                  <a:cubicBezTo>
                    <a:pt x="227556" y="181237"/>
                    <a:pt x="222250" y="193675"/>
                    <a:pt x="222250" y="193675"/>
                  </a:cubicBezTo>
                  <a:cubicBezTo>
                    <a:pt x="219880" y="245819"/>
                    <a:pt x="229291" y="247234"/>
                    <a:pt x="212725" y="276225"/>
                  </a:cubicBezTo>
                  <a:cubicBezTo>
                    <a:pt x="210832" y="279538"/>
                    <a:pt x="208492" y="282575"/>
                    <a:pt x="206375" y="285750"/>
                  </a:cubicBezTo>
                  <a:cubicBezTo>
                    <a:pt x="209592" y="305050"/>
                    <a:pt x="213011" y="315316"/>
                    <a:pt x="206375" y="336550"/>
                  </a:cubicBezTo>
                  <a:cubicBezTo>
                    <a:pt x="204099" y="343834"/>
                    <a:pt x="197908" y="349250"/>
                    <a:pt x="193675" y="355600"/>
                  </a:cubicBezTo>
                  <a:lnTo>
                    <a:pt x="187325" y="365125"/>
                  </a:lnTo>
                  <a:cubicBezTo>
                    <a:pt x="186117" y="371163"/>
                    <a:pt x="184229" y="384016"/>
                    <a:pt x="180975" y="390525"/>
                  </a:cubicBezTo>
                  <a:cubicBezTo>
                    <a:pt x="174323" y="403830"/>
                    <a:pt x="175986" y="397329"/>
                    <a:pt x="165100" y="406400"/>
                  </a:cubicBezTo>
                  <a:cubicBezTo>
                    <a:pt x="161651" y="409275"/>
                    <a:pt x="159119" y="413168"/>
                    <a:pt x="155575" y="415925"/>
                  </a:cubicBezTo>
                  <a:cubicBezTo>
                    <a:pt x="149551" y="420610"/>
                    <a:pt x="142875" y="424392"/>
                    <a:pt x="136525" y="428625"/>
                  </a:cubicBezTo>
                  <a:lnTo>
                    <a:pt x="117475" y="441325"/>
                  </a:lnTo>
                  <a:cubicBezTo>
                    <a:pt x="114690" y="443181"/>
                    <a:pt x="111125" y="443442"/>
                    <a:pt x="107950" y="444500"/>
                  </a:cubicBezTo>
                  <a:cubicBezTo>
                    <a:pt x="104775" y="446617"/>
                    <a:pt x="101838" y="449143"/>
                    <a:pt x="98425" y="450850"/>
                  </a:cubicBezTo>
                  <a:cubicBezTo>
                    <a:pt x="95432" y="452347"/>
                    <a:pt x="91685" y="452169"/>
                    <a:pt x="88900" y="454025"/>
                  </a:cubicBezTo>
                  <a:cubicBezTo>
                    <a:pt x="85164" y="456516"/>
                    <a:pt x="82250" y="460101"/>
                    <a:pt x="79375" y="463550"/>
                  </a:cubicBezTo>
                  <a:cubicBezTo>
                    <a:pt x="70402" y="474317"/>
                    <a:pt x="74904" y="470808"/>
                    <a:pt x="69850" y="482600"/>
                  </a:cubicBezTo>
                  <a:cubicBezTo>
                    <a:pt x="67986" y="486950"/>
                    <a:pt x="65364" y="490950"/>
                    <a:pt x="63500" y="495300"/>
                  </a:cubicBezTo>
                  <a:cubicBezTo>
                    <a:pt x="62182" y="498376"/>
                    <a:pt x="62181" y="502040"/>
                    <a:pt x="60325" y="504825"/>
                  </a:cubicBezTo>
                  <a:cubicBezTo>
                    <a:pt x="57834" y="508561"/>
                    <a:pt x="53975" y="511175"/>
                    <a:pt x="50800" y="514350"/>
                  </a:cubicBezTo>
                  <a:cubicBezTo>
                    <a:pt x="48683" y="520700"/>
                    <a:pt x="48163" y="527831"/>
                    <a:pt x="44450" y="533400"/>
                  </a:cubicBezTo>
                  <a:cubicBezTo>
                    <a:pt x="42333" y="536575"/>
                    <a:pt x="39650" y="539438"/>
                    <a:pt x="38100" y="542925"/>
                  </a:cubicBezTo>
                  <a:cubicBezTo>
                    <a:pt x="35382" y="549042"/>
                    <a:pt x="33867" y="555625"/>
                    <a:pt x="31750" y="561975"/>
                  </a:cubicBezTo>
                  <a:cubicBezTo>
                    <a:pt x="30543" y="565595"/>
                    <a:pt x="27107" y="568087"/>
                    <a:pt x="25400" y="571500"/>
                  </a:cubicBezTo>
                  <a:cubicBezTo>
                    <a:pt x="23903" y="574493"/>
                    <a:pt x="23722" y="578032"/>
                    <a:pt x="22225" y="581025"/>
                  </a:cubicBezTo>
                  <a:cubicBezTo>
                    <a:pt x="20518" y="584438"/>
                    <a:pt x="17582" y="587137"/>
                    <a:pt x="15875" y="590550"/>
                  </a:cubicBezTo>
                  <a:cubicBezTo>
                    <a:pt x="13337" y="595625"/>
                    <a:pt x="10881" y="608028"/>
                    <a:pt x="9525" y="612775"/>
                  </a:cubicBezTo>
                  <a:cubicBezTo>
                    <a:pt x="6411" y="623676"/>
                    <a:pt x="5644" y="623711"/>
                    <a:pt x="0" y="635000"/>
                  </a:cubicBezTo>
                  <a:cubicBezTo>
                    <a:pt x="6708" y="668540"/>
                    <a:pt x="-5006" y="634838"/>
                    <a:pt x="28575" y="657225"/>
                  </a:cubicBezTo>
                  <a:cubicBezTo>
                    <a:pt x="34925" y="661458"/>
                    <a:pt x="37042" y="669925"/>
                    <a:pt x="41275" y="676275"/>
                  </a:cubicBezTo>
                  <a:cubicBezTo>
                    <a:pt x="52606" y="693272"/>
                    <a:pt x="44927" y="683102"/>
                    <a:pt x="66675" y="704850"/>
                  </a:cubicBezTo>
                  <a:cubicBezTo>
                    <a:pt x="69850" y="708025"/>
                    <a:pt x="71940" y="712955"/>
                    <a:pt x="76200" y="714375"/>
                  </a:cubicBezTo>
                  <a:lnTo>
                    <a:pt x="95250" y="720725"/>
                  </a:lnTo>
                  <a:cubicBezTo>
                    <a:pt x="100894" y="729192"/>
                    <a:pt x="102663" y="733193"/>
                    <a:pt x="111125" y="739775"/>
                  </a:cubicBezTo>
                  <a:cubicBezTo>
                    <a:pt x="117149" y="744460"/>
                    <a:pt x="130175" y="752475"/>
                    <a:pt x="130175" y="752475"/>
                  </a:cubicBezTo>
                  <a:cubicBezTo>
                    <a:pt x="131233" y="755650"/>
                    <a:pt x="130243" y="760757"/>
                    <a:pt x="133350" y="762000"/>
                  </a:cubicBezTo>
                  <a:cubicBezTo>
                    <a:pt x="142248" y="765559"/>
                    <a:pt x="152554" y="763167"/>
                    <a:pt x="161925" y="765175"/>
                  </a:cubicBezTo>
                  <a:cubicBezTo>
                    <a:pt x="167498" y="766369"/>
                    <a:pt x="172302" y="770025"/>
                    <a:pt x="177800" y="771525"/>
                  </a:cubicBezTo>
                  <a:cubicBezTo>
                    <a:pt x="184011" y="773219"/>
                    <a:pt x="190500" y="773642"/>
                    <a:pt x="196850" y="774700"/>
                  </a:cubicBezTo>
                  <a:cubicBezTo>
                    <a:pt x="203200" y="776817"/>
                    <a:pt x="210331" y="777337"/>
                    <a:pt x="215900" y="781050"/>
                  </a:cubicBezTo>
                  <a:cubicBezTo>
                    <a:pt x="228210" y="789256"/>
                    <a:pt x="221805" y="786193"/>
                    <a:pt x="234950" y="790575"/>
                  </a:cubicBezTo>
                  <a:lnTo>
                    <a:pt x="263525" y="809625"/>
                  </a:lnTo>
                  <a:cubicBezTo>
                    <a:pt x="266310" y="811481"/>
                    <a:pt x="269875" y="811742"/>
                    <a:pt x="273050" y="812800"/>
                  </a:cubicBezTo>
                  <a:cubicBezTo>
                    <a:pt x="300347" y="830998"/>
                    <a:pt x="265810" y="809180"/>
                    <a:pt x="292100" y="822325"/>
                  </a:cubicBezTo>
                  <a:cubicBezTo>
                    <a:pt x="316719" y="834635"/>
                    <a:pt x="287209" y="823870"/>
                    <a:pt x="311150" y="831850"/>
                  </a:cubicBezTo>
                  <a:cubicBezTo>
                    <a:pt x="314325" y="833967"/>
                    <a:pt x="317168" y="836697"/>
                    <a:pt x="320675" y="838200"/>
                  </a:cubicBezTo>
                  <a:cubicBezTo>
                    <a:pt x="349378" y="850501"/>
                    <a:pt x="318987" y="831783"/>
                    <a:pt x="342900" y="847725"/>
                  </a:cubicBezTo>
                  <a:cubicBezTo>
                    <a:pt x="345017" y="850900"/>
                    <a:pt x="347543" y="853837"/>
                    <a:pt x="349250" y="857250"/>
                  </a:cubicBezTo>
                  <a:cubicBezTo>
                    <a:pt x="350747" y="860243"/>
                    <a:pt x="350569" y="863990"/>
                    <a:pt x="352425" y="866775"/>
                  </a:cubicBezTo>
                  <a:cubicBezTo>
                    <a:pt x="358394" y="875728"/>
                    <a:pt x="373431" y="883954"/>
                    <a:pt x="381000" y="889000"/>
                  </a:cubicBezTo>
                  <a:cubicBezTo>
                    <a:pt x="402052" y="903035"/>
                    <a:pt x="378659" y="886540"/>
                    <a:pt x="400050" y="904875"/>
                  </a:cubicBezTo>
                  <a:cubicBezTo>
                    <a:pt x="404068" y="908319"/>
                    <a:pt x="408415" y="911365"/>
                    <a:pt x="412750" y="914400"/>
                  </a:cubicBezTo>
                  <a:cubicBezTo>
                    <a:pt x="419002" y="918777"/>
                    <a:pt x="431800" y="927100"/>
                    <a:pt x="431800" y="927100"/>
                  </a:cubicBezTo>
                  <a:cubicBezTo>
                    <a:pt x="432858" y="931333"/>
                    <a:pt x="434028" y="935540"/>
                    <a:pt x="434975" y="939800"/>
                  </a:cubicBezTo>
                  <a:cubicBezTo>
                    <a:pt x="436018" y="944491"/>
                    <a:pt x="438173" y="959526"/>
                    <a:pt x="441325" y="965200"/>
                  </a:cubicBezTo>
                  <a:cubicBezTo>
                    <a:pt x="448216" y="977603"/>
                    <a:pt x="461326" y="995467"/>
                    <a:pt x="473075" y="1003300"/>
                  </a:cubicBezTo>
                  <a:lnTo>
                    <a:pt x="501650" y="1022350"/>
                  </a:lnTo>
                  <a:cubicBezTo>
                    <a:pt x="504435" y="1024206"/>
                    <a:pt x="508099" y="1024207"/>
                    <a:pt x="511175" y="1025525"/>
                  </a:cubicBezTo>
                  <a:cubicBezTo>
                    <a:pt x="539883" y="1037829"/>
                    <a:pt x="504159" y="1026946"/>
                    <a:pt x="549275" y="1038225"/>
                  </a:cubicBezTo>
                  <a:lnTo>
                    <a:pt x="549275" y="1038225"/>
                  </a:lnTo>
                  <a:lnTo>
                    <a:pt x="568325" y="1044575"/>
                  </a:lnTo>
                  <a:cubicBezTo>
                    <a:pt x="586123" y="1056440"/>
                    <a:pt x="568758" y="1046610"/>
                    <a:pt x="593725" y="1054100"/>
                  </a:cubicBezTo>
                  <a:cubicBezTo>
                    <a:pt x="599184" y="1055738"/>
                    <a:pt x="603929" y="1059883"/>
                    <a:pt x="609600" y="1060450"/>
                  </a:cubicBezTo>
                  <a:cubicBezTo>
                    <a:pt x="635948" y="1063085"/>
                    <a:pt x="662517" y="1062567"/>
                    <a:pt x="688975" y="1063625"/>
                  </a:cubicBezTo>
                  <a:cubicBezTo>
                    <a:pt x="692150" y="1064683"/>
                    <a:pt x="695153" y="1066800"/>
                    <a:pt x="698500" y="1066800"/>
                  </a:cubicBezTo>
                  <a:cubicBezTo>
                    <a:pt x="729576" y="1066800"/>
                    <a:pt x="727230" y="1066748"/>
                    <a:pt x="746125" y="1060450"/>
                  </a:cubicBezTo>
                  <a:cubicBezTo>
                    <a:pt x="748242" y="1063625"/>
                    <a:pt x="750768" y="1066562"/>
                    <a:pt x="752475" y="1069975"/>
                  </a:cubicBezTo>
                  <a:cubicBezTo>
                    <a:pt x="753972" y="1072968"/>
                    <a:pt x="754731" y="1076282"/>
                    <a:pt x="755650" y="1079500"/>
                  </a:cubicBezTo>
                  <a:cubicBezTo>
                    <a:pt x="756849" y="1083696"/>
                    <a:pt x="756404" y="1088569"/>
                    <a:pt x="758825" y="1092200"/>
                  </a:cubicBezTo>
                  <a:cubicBezTo>
                    <a:pt x="760942" y="1095375"/>
                    <a:pt x="764937" y="1096843"/>
                    <a:pt x="768350" y="1098550"/>
                  </a:cubicBezTo>
                  <a:cubicBezTo>
                    <a:pt x="776026" y="1102388"/>
                    <a:pt x="782437" y="1101848"/>
                    <a:pt x="790575" y="1104900"/>
                  </a:cubicBezTo>
                  <a:cubicBezTo>
                    <a:pt x="795007" y="1106562"/>
                    <a:pt x="798881" y="1109492"/>
                    <a:pt x="803275" y="1111250"/>
                  </a:cubicBezTo>
                  <a:cubicBezTo>
                    <a:pt x="809490" y="1113736"/>
                    <a:pt x="822325" y="1117600"/>
                    <a:pt x="822325" y="1117600"/>
                  </a:cubicBezTo>
                  <a:cubicBezTo>
                    <a:pt x="824442" y="1120775"/>
                    <a:pt x="826232" y="1124194"/>
                    <a:pt x="828675" y="1127125"/>
                  </a:cubicBezTo>
                  <a:cubicBezTo>
                    <a:pt x="831550" y="1130574"/>
                    <a:pt x="837517" y="1132212"/>
                    <a:pt x="838200" y="1136650"/>
                  </a:cubicBezTo>
                  <a:cubicBezTo>
                    <a:pt x="839817" y="1147162"/>
                    <a:pt x="836083" y="1157817"/>
                    <a:pt x="835025" y="1168400"/>
                  </a:cubicBezTo>
                  <a:cubicBezTo>
                    <a:pt x="836120" y="1178257"/>
                    <a:pt x="833880" y="1197964"/>
                    <a:pt x="844550" y="1206500"/>
                  </a:cubicBezTo>
                  <a:cubicBezTo>
                    <a:pt x="847163" y="1208591"/>
                    <a:pt x="850900" y="1208617"/>
                    <a:pt x="854075" y="1209675"/>
                  </a:cubicBezTo>
                  <a:cubicBezTo>
                    <a:pt x="881372" y="1227873"/>
                    <a:pt x="846835" y="1206055"/>
                    <a:pt x="873125" y="1219200"/>
                  </a:cubicBezTo>
                  <a:cubicBezTo>
                    <a:pt x="876538" y="1220907"/>
                    <a:pt x="879163" y="1224000"/>
                    <a:pt x="882650" y="1225550"/>
                  </a:cubicBezTo>
                  <a:cubicBezTo>
                    <a:pt x="888767" y="1228268"/>
                    <a:pt x="901700" y="1231900"/>
                    <a:pt x="901700" y="1231900"/>
                  </a:cubicBezTo>
                  <a:lnTo>
                    <a:pt x="920750" y="1244600"/>
                  </a:lnTo>
                  <a:lnTo>
                    <a:pt x="930275" y="1250950"/>
                  </a:lnTo>
                  <a:cubicBezTo>
                    <a:pt x="931333" y="1254125"/>
                    <a:pt x="931594" y="1257690"/>
                    <a:pt x="933450" y="1260475"/>
                  </a:cubicBezTo>
                  <a:cubicBezTo>
                    <a:pt x="939419" y="1269428"/>
                    <a:pt x="954456" y="1277654"/>
                    <a:pt x="962025" y="1282700"/>
                  </a:cubicBezTo>
                  <a:cubicBezTo>
                    <a:pt x="974335" y="1290906"/>
                    <a:pt x="967930" y="1287843"/>
                    <a:pt x="981075" y="1292225"/>
                  </a:cubicBezTo>
                  <a:cubicBezTo>
                    <a:pt x="990600" y="1298575"/>
                    <a:pt x="991658" y="1297517"/>
                    <a:pt x="996950" y="1308100"/>
                  </a:cubicBezTo>
                  <a:cubicBezTo>
                    <a:pt x="998447" y="1311093"/>
                    <a:pt x="998500" y="1314699"/>
                    <a:pt x="1000125" y="1317625"/>
                  </a:cubicBezTo>
                  <a:cubicBezTo>
                    <a:pt x="1003831" y="1324296"/>
                    <a:pt x="1010412" y="1329435"/>
                    <a:pt x="1012825" y="1336675"/>
                  </a:cubicBezTo>
                  <a:cubicBezTo>
                    <a:pt x="1014942" y="1343025"/>
                    <a:pt x="1015462" y="1350156"/>
                    <a:pt x="1019175" y="1355725"/>
                  </a:cubicBezTo>
                  <a:cubicBezTo>
                    <a:pt x="1021292" y="1358900"/>
                    <a:pt x="1023818" y="1361837"/>
                    <a:pt x="1025525" y="1365250"/>
                  </a:cubicBezTo>
                  <a:cubicBezTo>
                    <a:pt x="1027022" y="1368243"/>
                    <a:pt x="1027203" y="1371782"/>
                    <a:pt x="1028700" y="1374775"/>
                  </a:cubicBezTo>
                  <a:cubicBezTo>
                    <a:pt x="1033120" y="1383616"/>
                    <a:pt x="1037553" y="1386803"/>
                    <a:pt x="1044575" y="1393825"/>
                  </a:cubicBezTo>
                  <a:cubicBezTo>
                    <a:pt x="1045358" y="1396174"/>
                    <a:pt x="1049997" y="1412875"/>
                    <a:pt x="1054100" y="1412875"/>
                  </a:cubicBezTo>
                  <a:cubicBezTo>
                    <a:pt x="1057447" y="1412875"/>
                    <a:pt x="1055778" y="1406343"/>
                    <a:pt x="1057275" y="1403350"/>
                  </a:cubicBezTo>
                  <a:cubicBezTo>
                    <a:pt x="1058982" y="1399937"/>
                    <a:pt x="1061918" y="1397238"/>
                    <a:pt x="1063625" y="1393825"/>
                  </a:cubicBezTo>
                  <a:cubicBezTo>
                    <a:pt x="1069450" y="1382175"/>
                    <a:pt x="1062783" y="1383803"/>
                    <a:pt x="1076325" y="1374775"/>
                  </a:cubicBezTo>
                  <a:cubicBezTo>
                    <a:pt x="1079110" y="1372919"/>
                    <a:pt x="1082583" y="1372326"/>
                    <a:pt x="1085850" y="1371600"/>
                  </a:cubicBezTo>
                  <a:cubicBezTo>
                    <a:pt x="1108185" y="1366637"/>
                    <a:pt x="1129144" y="1366809"/>
                    <a:pt x="1152525" y="1365250"/>
                  </a:cubicBezTo>
                  <a:cubicBezTo>
                    <a:pt x="1157694" y="1364389"/>
                    <a:pt x="1174400" y="1362622"/>
                    <a:pt x="1181100" y="1358900"/>
                  </a:cubicBezTo>
                  <a:cubicBezTo>
                    <a:pt x="1187771" y="1355194"/>
                    <a:pt x="1193800" y="1350433"/>
                    <a:pt x="1200150" y="1346200"/>
                  </a:cubicBezTo>
                  <a:lnTo>
                    <a:pt x="1209675" y="1339850"/>
                  </a:lnTo>
                  <a:cubicBezTo>
                    <a:pt x="1213908" y="1333500"/>
                    <a:pt x="1215135" y="1323213"/>
                    <a:pt x="1222375" y="1320800"/>
                  </a:cubicBezTo>
                  <a:lnTo>
                    <a:pt x="1241425" y="1314450"/>
                  </a:lnTo>
                  <a:cubicBezTo>
                    <a:pt x="1255183" y="1315508"/>
                    <a:pt x="1268901" y="1317625"/>
                    <a:pt x="1282700" y="1317625"/>
                  </a:cubicBezTo>
                  <a:cubicBezTo>
                    <a:pt x="1297565" y="1317625"/>
                    <a:pt x="1307424" y="1314619"/>
                    <a:pt x="1320800" y="1311275"/>
                  </a:cubicBezTo>
                  <a:lnTo>
                    <a:pt x="1349375" y="1292225"/>
                  </a:lnTo>
                  <a:cubicBezTo>
                    <a:pt x="1356913" y="1287199"/>
                    <a:pt x="1364708" y="1282257"/>
                    <a:pt x="1371600" y="1276350"/>
                  </a:cubicBezTo>
                  <a:cubicBezTo>
                    <a:pt x="1375009" y="1273428"/>
                    <a:pt x="1377950" y="1270000"/>
                    <a:pt x="1381125" y="1266825"/>
                  </a:cubicBezTo>
                  <a:cubicBezTo>
                    <a:pt x="1382183" y="1263650"/>
                    <a:pt x="1381933" y="1259667"/>
                    <a:pt x="1384300" y="1257300"/>
                  </a:cubicBezTo>
                  <a:cubicBezTo>
                    <a:pt x="1395760" y="1245840"/>
                    <a:pt x="1402362" y="1244358"/>
                    <a:pt x="1416050" y="1241425"/>
                  </a:cubicBezTo>
                  <a:cubicBezTo>
                    <a:pt x="1430630" y="1238301"/>
                    <a:pt x="1446001" y="1236042"/>
                    <a:pt x="1460500" y="1231900"/>
                  </a:cubicBezTo>
                  <a:cubicBezTo>
                    <a:pt x="1463718" y="1230981"/>
                    <a:pt x="1466850" y="1229783"/>
                    <a:pt x="1470025" y="1228725"/>
                  </a:cubicBezTo>
                  <a:cubicBezTo>
                    <a:pt x="1473200" y="1225550"/>
                    <a:pt x="1477059" y="1222936"/>
                    <a:pt x="1479550" y="1219200"/>
                  </a:cubicBezTo>
                  <a:cubicBezTo>
                    <a:pt x="1481406" y="1216415"/>
                    <a:pt x="1480634" y="1212288"/>
                    <a:pt x="1482725" y="1209675"/>
                  </a:cubicBezTo>
                  <a:cubicBezTo>
                    <a:pt x="1485109" y="1206695"/>
                    <a:pt x="1488743" y="1204828"/>
                    <a:pt x="1492250" y="1203325"/>
                  </a:cubicBezTo>
                  <a:cubicBezTo>
                    <a:pt x="1503577" y="1198471"/>
                    <a:pt x="1534663" y="1197449"/>
                    <a:pt x="1539875" y="1196975"/>
                  </a:cubicBezTo>
                  <a:cubicBezTo>
                    <a:pt x="1543050" y="1195917"/>
                    <a:pt x="1546407" y="1195297"/>
                    <a:pt x="1549400" y="1193800"/>
                  </a:cubicBezTo>
                  <a:cubicBezTo>
                    <a:pt x="1552813" y="1192093"/>
                    <a:pt x="1555418" y="1188953"/>
                    <a:pt x="1558925" y="1187450"/>
                  </a:cubicBezTo>
                  <a:cubicBezTo>
                    <a:pt x="1562936" y="1185731"/>
                    <a:pt x="1567429" y="1185474"/>
                    <a:pt x="1571625" y="1184275"/>
                  </a:cubicBezTo>
                  <a:cubicBezTo>
                    <a:pt x="1574843" y="1183356"/>
                    <a:pt x="1577975" y="1182158"/>
                    <a:pt x="1581150" y="1181100"/>
                  </a:cubicBezTo>
                  <a:cubicBezTo>
                    <a:pt x="1606550" y="1164167"/>
                    <a:pt x="1595967" y="1174750"/>
                    <a:pt x="1612900" y="1149350"/>
                  </a:cubicBezTo>
                  <a:cubicBezTo>
                    <a:pt x="1616613" y="1143781"/>
                    <a:pt x="1617133" y="1136650"/>
                    <a:pt x="1619250" y="1130300"/>
                  </a:cubicBezTo>
                  <a:cubicBezTo>
                    <a:pt x="1620308" y="1127125"/>
                    <a:pt x="1620569" y="1123560"/>
                    <a:pt x="1622425" y="1120775"/>
                  </a:cubicBezTo>
                  <a:cubicBezTo>
                    <a:pt x="1624542" y="1117600"/>
                    <a:pt x="1625903" y="1113763"/>
                    <a:pt x="1628775" y="1111250"/>
                  </a:cubicBezTo>
                  <a:cubicBezTo>
                    <a:pt x="1650560" y="1092188"/>
                    <a:pt x="1643017" y="1106224"/>
                    <a:pt x="1657350" y="1089025"/>
                  </a:cubicBezTo>
                  <a:cubicBezTo>
                    <a:pt x="1668724" y="1075376"/>
                    <a:pt x="1659715" y="1084294"/>
                    <a:pt x="1666875" y="1069975"/>
                  </a:cubicBezTo>
                  <a:cubicBezTo>
                    <a:pt x="1668582" y="1066562"/>
                    <a:pt x="1671518" y="1063863"/>
                    <a:pt x="1673225" y="1060450"/>
                  </a:cubicBezTo>
                  <a:cubicBezTo>
                    <a:pt x="1674722" y="1057457"/>
                    <a:pt x="1674903" y="1053918"/>
                    <a:pt x="1676400" y="1050925"/>
                  </a:cubicBezTo>
                  <a:cubicBezTo>
                    <a:pt x="1678107" y="1047512"/>
                    <a:pt x="1680215" y="1044252"/>
                    <a:pt x="1682750" y="1041400"/>
                  </a:cubicBezTo>
                  <a:cubicBezTo>
                    <a:pt x="1698567" y="1023606"/>
                    <a:pt x="1696848" y="1025651"/>
                    <a:pt x="1711325" y="1016000"/>
                  </a:cubicBezTo>
                  <a:cubicBezTo>
                    <a:pt x="1713442" y="1012825"/>
                    <a:pt x="1714695" y="1008859"/>
                    <a:pt x="1717675" y="1006475"/>
                  </a:cubicBezTo>
                  <a:cubicBezTo>
                    <a:pt x="1720288" y="1004384"/>
                    <a:pt x="1724207" y="1004797"/>
                    <a:pt x="1727200" y="1003300"/>
                  </a:cubicBezTo>
                  <a:cubicBezTo>
                    <a:pt x="1730613" y="1001593"/>
                    <a:pt x="1733312" y="998657"/>
                    <a:pt x="1736725" y="996950"/>
                  </a:cubicBezTo>
                  <a:cubicBezTo>
                    <a:pt x="1745591" y="992517"/>
                    <a:pt x="1760285" y="991770"/>
                    <a:pt x="1768475" y="990600"/>
                  </a:cubicBezTo>
                  <a:cubicBezTo>
                    <a:pt x="1771650" y="988483"/>
                    <a:pt x="1774427" y="985590"/>
                    <a:pt x="1778000" y="984250"/>
                  </a:cubicBezTo>
                  <a:cubicBezTo>
                    <a:pt x="1783053" y="982355"/>
                    <a:pt x="1788640" y="982384"/>
                    <a:pt x="1793875" y="981075"/>
                  </a:cubicBezTo>
                  <a:cubicBezTo>
                    <a:pt x="1797122" y="980263"/>
                    <a:pt x="1800182" y="978819"/>
                    <a:pt x="1803400" y="977900"/>
                  </a:cubicBezTo>
                  <a:cubicBezTo>
                    <a:pt x="1807596" y="976701"/>
                    <a:pt x="1811867" y="975783"/>
                    <a:pt x="1816100" y="974725"/>
                  </a:cubicBezTo>
                  <a:cubicBezTo>
                    <a:pt x="1819275" y="972608"/>
                    <a:pt x="1822138" y="969925"/>
                    <a:pt x="1825625" y="968375"/>
                  </a:cubicBezTo>
                  <a:cubicBezTo>
                    <a:pt x="1831742" y="965657"/>
                    <a:pt x="1844675" y="962025"/>
                    <a:pt x="1844675" y="962025"/>
                  </a:cubicBezTo>
                  <a:cubicBezTo>
                    <a:pt x="1847850" y="959908"/>
                    <a:pt x="1850787" y="957382"/>
                    <a:pt x="1854200" y="955675"/>
                  </a:cubicBezTo>
                  <a:cubicBezTo>
                    <a:pt x="1858755" y="953398"/>
                    <a:pt x="1872356" y="950342"/>
                    <a:pt x="1876425" y="949325"/>
                  </a:cubicBezTo>
                  <a:cubicBezTo>
                    <a:pt x="1895475" y="950383"/>
                    <a:pt x="1914582" y="950691"/>
                    <a:pt x="1933575" y="952500"/>
                  </a:cubicBezTo>
                  <a:cubicBezTo>
                    <a:pt x="1936907" y="952817"/>
                    <a:pt x="1939807" y="955076"/>
                    <a:pt x="1943100" y="955675"/>
                  </a:cubicBezTo>
                  <a:cubicBezTo>
                    <a:pt x="1951495" y="957201"/>
                    <a:pt x="1960042" y="957722"/>
                    <a:pt x="1968500" y="958850"/>
                  </a:cubicBezTo>
                  <a:lnTo>
                    <a:pt x="1990725" y="962025"/>
                  </a:lnTo>
                  <a:cubicBezTo>
                    <a:pt x="2010693" y="975337"/>
                    <a:pt x="1989273" y="962599"/>
                    <a:pt x="2025650" y="974725"/>
                  </a:cubicBezTo>
                  <a:cubicBezTo>
                    <a:pt x="2028825" y="975783"/>
                    <a:pt x="2031957" y="976981"/>
                    <a:pt x="2035175" y="977900"/>
                  </a:cubicBezTo>
                  <a:cubicBezTo>
                    <a:pt x="2063082" y="985873"/>
                    <a:pt x="2034562" y="976637"/>
                    <a:pt x="2057400" y="984250"/>
                  </a:cubicBezTo>
                  <a:cubicBezTo>
                    <a:pt x="2060575" y="987425"/>
                    <a:pt x="2063476" y="990900"/>
                    <a:pt x="2066925" y="993775"/>
                  </a:cubicBezTo>
                  <a:cubicBezTo>
                    <a:pt x="2069856" y="996218"/>
                    <a:pt x="2073752" y="997427"/>
                    <a:pt x="2076450" y="1000125"/>
                  </a:cubicBezTo>
                  <a:cubicBezTo>
                    <a:pt x="2079148" y="1002823"/>
                    <a:pt x="2079928" y="1007137"/>
                    <a:pt x="2082800" y="1009650"/>
                  </a:cubicBezTo>
                  <a:cubicBezTo>
                    <a:pt x="2088543" y="1014676"/>
                    <a:pt x="2095500" y="1018117"/>
                    <a:pt x="2101850" y="1022350"/>
                  </a:cubicBezTo>
                  <a:cubicBezTo>
                    <a:pt x="2107895" y="1026380"/>
                    <a:pt x="2131718" y="1028431"/>
                    <a:pt x="2133600" y="1028700"/>
                  </a:cubicBezTo>
                  <a:cubicBezTo>
                    <a:pt x="2136775" y="1030817"/>
                    <a:pt x="2141008" y="1031875"/>
                    <a:pt x="2143125" y="1035050"/>
                  </a:cubicBezTo>
                  <a:cubicBezTo>
                    <a:pt x="2148537" y="1043169"/>
                    <a:pt x="2144063" y="1055506"/>
                    <a:pt x="2149475" y="1063625"/>
                  </a:cubicBezTo>
                  <a:cubicBezTo>
                    <a:pt x="2151331" y="1066410"/>
                    <a:pt x="2155825" y="1065742"/>
                    <a:pt x="2159000" y="1066800"/>
                  </a:cubicBezTo>
                  <a:cubicBezTo>
                    <a:pt x="2210939" y="1060308"/>
                    <a:pt x="2190032" y="1061561"/>
                    <a:pt x="2276475" y="1066800"/>
                  </a:cubicBezTo>
                  <a:cubicBezTo>
                    <a:pt x="2280831" y="1067064"/>
                    <a:pt x="2284915" y="1069028"/>
                    <a:pt x="2289175" y="1069975"/>
                  </a:cubicBezTo>
                  <a:cubicBezTo>
                    <a:pt x="2294443" y="1071146"/>
                    <a:pt x="2299666" y="1072783"/>
                    <a:pt x="2305050" y="1073150"/>
                  </a:cubicBezTo>
                  <a:cubicBezTo>
                    <a:pt x="2346284" y="1075961"/>
                    <a:pt x="2428875" y="1079500"/>
                    <a:pt x="2428875" y="1079500"/>
                  </a:cubicBezTo>
                  <a:cubicBezTo>
                    <a:pt x="2435376" y="1081667"/>
                    <a:pt x="2443191" y="1083344"/>
                    <a:pt x="2447925" y="1089025"/>
                  </a:cubicBezTo>
                  <a:cubicBezTo>
                    <a:pt x="2456183" y="1098935"/>
                    <a:pt x="2452487" y="1101324"/>
                    <a:pt x="2457450" y="1111250"/>
                  </a:cubicBezTo>
                  <a:cubicBezTo>
                    <a:pt x="2459157" y="1114663"/>
                    <a:pt x="2462250" y="1117288"/>
                    <a:pt x="2463800" y="1120775"/>
                  </a:cubicBezTo>
                  <a:lnTo>
                    <a:pt x="2473325" y="1149350"/>
                  </a:lnTo>
                  <a:lnTo>
                    <a:pt x="2476500" y="1158875"/>
                  </a:lnTo>
                  <a:cubicBezTo>
                    <a:pt x="2477558" y="1162050"/>
                    <a:pt x="2477819" y="1165615"/>
                    <a:pt x="2479675" y="1168400"/>
                  </a:cubicBezTo>
                  <a:cubicBezTo>
                    <a:pt x="2495696" y="1192431"/>
                    <a:pt x="2486979" y="1182054"/>
                    <a:pt x="2505075" y="1200150"/>
                  </a:cubicBezTo>
                  <a:cubicBezTo>
                    <a:pt x="2514600" y="1199092"/>
                    <a:pt x="2524197" y="1198551"/>
                    <a:pt x="2533650" y="1196975"/>
                  </a:cubicBezTo>
                  <a:cubicBezTo>
                    <a:pt x="2536951" y="1196425"/>
                    <a:pt x="2539928" y="1194612"/>
                    <a:pt x="2543175" y="1193800"/>
                  </a:cubicBezTo>
                  <a:cubicBezTo>
                    <a:pt x="2548410" y="1192491"/>
                    <a:pt x="2553758" y="1191683"/>
                    <a:pt x="2559050" y="1190625"/>
                  </a:cubicBezTo>
                  <a:cubicBezTo>
                    <a:pt x="2579158" y="1191683"/>
                    <a:pt x="2599382" y="1191401"/>
                    <a:pt x="2619375" y="1193800"/>
                  </a:cubicBezTo>
                  <a:cubicBezTo>
                    <a:pt x="2626021" y="1194597"/>
                    <a:pt x="2638425" y="1200150"/>
                    <a:pt x="2638425" y="1200150"/>
                  </a:cubicBezTo>
                  <a:lnTo>
                    <a:pt x="2651125" y="1219200"/>
                  </a:lnTo>
                  <a:cubicBezTo>
                    <a:pt x="2657363" y="1228558"/>
                    <a:pt x="2669774" y="1231766"/>
                    <a:pt x="2679700" y="1235075"/>
                  </a:cubicBezTo>
                  <a:cubicBezTo>
                    <a:pt x="2682875" y="1237192"/>
                    <a:pt x="2685812" y="1239718"/>
                    <a:pt x="2689225" y="1241425"/>
                  </a:cubicBezTo>
                  <a:cubicBezTo>
                    <a:pt x="2692218" y="1242922"/>
                    <a:pt x="2695965" y="1242744"/>
                    <a:pt x="2698750" y="1244600"/>
                  </a:cubicBezTo>
                  <a:cubicBezTo>
                    <a:pt x="2702486" y="1247091"/>
                    <a:pt x="2704731" y="1251368"/>
                    <a:pt x="2708275" y="1254125"/>
                  </a:cubicBezTo>
                  <a:cubicBezTo>
                    <a:pt x="2724651" y="1266862"/>
                    <a:pt x="2722479" y="1265210"/>
                    <a:pt x="2736850" y="1270000"/>
                  </a:cubicBezTo>
                  <a:cubicBezTo>
                    <a:pt x="2740025" y="1268942"/>
                    <a:pt x="2744008" y="1269192"/>
                    <a:pt x="2746375" y="1266825"/>
                  </a:cubicBezTo>
                  <a:cubicBezTo>
                    <a:pt x="2765992" y="1247208"/>
                    <a:pt x="2739912" y="1258396"/>
                    <a:pt x="2762250" y="1250950"/>
                  </a:cubicBezTo>
                  <a:cubicBezTo>
                    <a:pt x="2763308" y="1247775"/>
                    <a:pt x="2763569" y="1244210"/>
                    <a:pt x="2765425" y="1241425"/>
                  </a:cubicBezTo>
                  <a:cubicBezTo>
                    <a:pt x="2770314" y="1234091"/>
                    <a:pt x="2777447" y="1230236"/>
                    <a:pt x="2784475" y="1225550"/>
                  </a:cubicBezTo>
                  <a:cubicBezTo>
                    <a:pt x="2791883" y="1214438"/>
                    <a:pt x="2794000" y="1208617"/>
                    <a:pt x="2809875" y="1203325"/>
                  </a:cubicBezTo>
                  <a:lnTo>
                    <a:pt x="2828925" y="1196975"/>
                  </a:lnTo>
                  <a:lnTo>
                    <a:pt x="2838450" y="1193800"/>
                  </a:lnTo>
                  <a:cubicBezTo>
                    <a:pt x="2855383" y="1194858"/>
                    <a:pt x="2872377" y="1195199"/>
                    <a:pt x="2889250" y="1196975"/>
                  </a:cubicBezTo>
                  <a:cubicBezTo>
                    <a:pt x="2892578" y="1197325"/>
                    <a:pt x="2895557" y="1199231"/>
                    <a:pt x="2898775" y="1200150"/>
                  </a:cubicBezTo>
                  <a:cubicBezTo>
                    <a:pt x="2932364" y="1209747"/>
                    <a:pt x="2885254" y="1194585"/>
                    <a:pt x="2930525" y="1209675"/>
                  </a:cubicBezTo>
                  <a:cubicBezTo>
                    <a:pt x="2940764" y="1213088"/>
                    <a:pt x="2951692" y="1213908"/>
                    <a:pt x="2962275" y="1216025"/>
                  </a:cubicBezTo>
                  <a:lnTo>
                    <a:pt x="2978150" y="1219200"/>
                  </a:lnTo>
                  <a:cubicBezTo>
                    <a:pt x="3002063" y="1235142"/>
                    <a:pt x="2971672" y="1216424"/>
                    <a:pt x="3000375" y="1228725"/>
                  </a:cubicBezTo>
                  <a:cubicBezTo>
                    <a:pt x="3003882" y="1230228"/>
                    <a:pt x="3006393" y="1233572"/>
                    <a:pt x="3009900" y="1235075"/>
                  </a:cubicBezTo>
                  <a:cubicBezTo>
                    <a:pt x="3013911" y="1236794"/>
                    <a:pt x="3018404" y="1237051"/>
                    <a:pt x="3022600" y="1238250"/>
                  </a:cubicBezTo>
                  <a:cubicBezTo>
                    <a:pt x="3025818" y="1239169"/>
                    <a:pt x="3028950" y="1240367"/>
                    <a:pt x="3032125" y="1241425"/>
                  </a:cubicBezTo>
                  <a:cubicBezTo>
                    <a:pt x="3035300" y="1243542"/>
                    <a:pt x="3038237" y="1246068"/>
                    <a:pt x="3041650" y="1247775"/>
                  </a:cubicBezTo>
                  <a:cubicBezTo>
                    <a:pt x="3049243" y="1251571"/>
                    <a:pt x="3058806" y="1254552"/>
                    <a:pt x="3067050" y="1257300"/>
                  </a:cubicBezTo>
                  <a:cubicBezTo>
                    <a:pt x="3074628" y="1262352"/>
                    <a:pt x="3079252" y="1268828"/>
                    <a:pt x="3089275" y="1260475"/>
                  </a:cubicBezTo>
                  <a:cubicBezTo>
                    <a:pt x="3092911" y="1257445"/>
                    <a:pt x="3092595" y="1251411"/>
                    <a:pt x="3095625" y="1247775"/>
                  </a:cubicBezTo>
                  <a:cubicBezTo>
                    <a:pt x="3098068" y="1244844"/>
                    <a:pt x="3102219" y="1243868"/>
                    <a:pt x="3105150" y="1241425"/>
                  </a:cubicBezTo>
                  <a:cubicBezTo>
                    <a:pt x="3108599" y="1238550"/>
                    <a:pt x="3111226" y="1234775"/>
                    <a:pt x="3114675" y="1231900"/>
                  </a:cubicBezTo>
                  <a:cubicBezTo>
                    <a:pt x="3117606" y="1229457"/>
                    <a:pt x="3120787" y="1227257"/>
                    <a:pt x="3124200" y="1225550"/>
                  </a:cubicBezTo>
                  <a:cubicBezTo>
                    <a:pt x="3127193" y="1224053"/>
                    <a:pt x="3130424" y="1222925"/>
                    <a:pt x="3133725" y="1222375"/>
                  </a:cubicBezTo>
                  <a:cubicBezTo>
                    <a:pt x="3153476" y="1219083"/>
                    <a:pt x="3153807" y="1219200"/>
                    <a:pt x="3165475" y="1219200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45" name="Freeform 20"/>
            <p:cNvSpPr/>
            <p:nvPr>
              <p:custDataLst>
                <p:tags r:id="rId5"/>
              </p:custDataLst>
            </p:nvPr>
          </p:nvSpPr>
          <p:spPr bwMode="gray">
            <a:xfrm>
              <a:off x="2575889" y="1395100"/>
              <a:ext cx="178865" cy="283381"/>
            </a:xfrm>
            <a:custGeom>
              <a:avLst/>
              <a:gdLst>
                <a:gd name="connsiteX0" fmla="*/ 61315 w 194665"/>
                <a:gd name="connsiteY0" fmla="*/ 317882 h 317882"/>
                <a:gd name="connsiteX1" fmla="*/ 61315 w 194665"/>
                <a:gd name="connsiteY1" fmla="*/ 317882 h 317882"/>
                <a:gd name="connsiteX2" fmla="*/ 990 w 194665"/>
                <a:gd name="connsiteY2" fmla="*/ 314707 h 317882"/>
                <a:gd name="connsiteX3" fmla="*/ 10515 w 194665"/>
                <a:gd name="connsiteY3" fmla="*/ 305182 h 317882"/>
                <a:gd name="connsiteX4" fmla="*/ 16865 w 194665"/>
                <a:gd name="connsiteY4" fmla="*/ 292482 h 317882"/>
                <a:gd name="connsiteX5" fmla="*/ 26390 w 194665"/>
                <a:gd name="connsiteY5" fmla="*/ 273432 h 317882"/>
                <a:gd name="connsiteX6" fmla="*/ 35915 w 194665"/>
                <a:gd name="connsiteY6" fmla="*/ 267082 h 317882"/>
                <a:gd name="connsiteX7" fmla="*/ 48615 w 194665"/>
                <a:gd name="connsiteY7" fmla="*/ 244857 h 317882"/>
                <a:gd name="connsiteX8" fmla="*/ 58140 w 194665"/>
                <a:gd name="connsiteY8" fmla="*/ 238507 h 317882"/>
                <a:gd name="connsiteX9" fmla="*/ 74015 w 194665"/>
                <a:gd name="connsiteY9" fmla="*/ 219457 h 317882"/>
                <a:gd name="connsiteX10" fmla="*/ 93065 w 194665"/>
                <a:gd name="connsiteY10" fmla="*/ 232157 h 317882"/>
                <a:gd name="connsiteX11" fmla="*/ 99415 w 194665"/>
                <a:gd name="connsiteY11" fmla="*/ 222632 h 317882"/>
                <a:gd name="connsiteX12" fmla="*/ 102590 w 194665"/>
                <a:gd name="connsiteY12" fmla="*/ 213107 h 317882"/>
                <a:gd name="connsiteX13" fmla="*/ 105765 w 194665"/>
                <a:gd name="connsiteY13" fmla="*/ 108332 h 317882"/>
                <a:gd name="connsiteX14" fmla="*/ 115290 w 194665"/>
                <a:gd name="connsiteY14" fmla="*/ 98807 h 317882"/>
                <a:gd name="connsiteX15" fmla="*/ 124815 w 194665"/>
                <a:gd name="connsiteY15" fmla="*/ 70232 h 317882"/>
                <a:gd name="connsiteX16" fmla="*/ 127990 w 194665"/>
                <a:gd name="connsiteY16" fmla="*/ 60707 h 317882"/>
                <a:gd name="connsiteX17" fmla="*/ 140690 w 194665"/>
                <a:gd name="connsiteY17" fmla="*/ 41657 h 317882"/>
                <a:gd name="connsiteX18" fmla="*/ 150215 w 194665"/>
                <a:gd name="connsiteY18" fmla="*/ 22607 h 317882"/>
                <a:gd name="connsiteX19" fmla="*/ 159740 w 194665"/>
                <a:gd name="connsiteY19" fmla="*/ 13082 h 317882"/>
                <a:gd name="connsiteX20" fmla="*/ 166090 w 194665"/>
                <a:gd name="connsiteY20" fmla="*/ 3557 h 317882"/>
                <a:gd name="connsiteX21" fmla="*/ 194665 w 194665"/>
                <a:gd name="connsiteY21" fmla="*/ 382 h 317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4665" h="317882">
                  <a:moveTo>
                    <a:pt x="61315" y="317882"/>
                  </a:moveTo>
                  <a:lnTo>
                    <a:pt x="61315" y="317882"/>
                  </a:lnTo>
                  <a:cubicBezTo>
                    <a:pt x="41207" y="316824"/>
                    <a:pt x="20525" y="319591"/>
                    <a:pt x="990" y="314707"/>
                  </a:cubicBezTo>
                  <a:cubicBezTo>
                    <a:pt x="-3366" y="313618"/>
                    <a:pt x="7905" y="308836"/>
                    <a:pt x="10515" y="305182"/>
                  </a:cubicBezTo>
                  <a:cubicBezTo>
                    <a:pt x="13266" y="301331"/>
                    <a:pt x="15001" y="296832"/>
                    <a:pt x="16865" y="292482"/>
                  </a:cubicBezTo>
                  <a:cubicBezTo>
                    <a:pt x="20738" y="283444"/>
                    <a:pt x="18763" y="281059"/>
                    <a:pt x="26390" y="273432"/>
                  </a:cubicBezTo>
                  <a:cubicBezTo>
                    <a:pt x="29088" y="270734"/>
                    <a:pt x="32740" y="269199"/>
                    <a:pt x="35915" y="267082"/>
                  </a:cubicBezTo>
                  <a:cubicBezTo>
                    <a:pt x="38405" y="262102"/>
                    <a:pt x="44127" y="249345"/>
                    <a:pt x="48615" y="244857"/>
                  </a:cubicBezTo>
                  <a:cubicBezTo>
                    <a:pt x="51313" y="242159"/>
                    <a:pt x="54965" y="240624"/>
                    <a:pt x="58140" y="238507"/>
                  </a:cubicBezTo>
                  <a:cubicBezTo>
                    <a:pt x="59817" y="235992"/>
                    <a:pt x="70222" y="219036"/>
                    <a:pt x="74015" y="219457"/>
                  </a:cubicBezTo>
                  <a:cubicBezTo>
                    <a:pt x="81600" y="220300"/>
                    <a:pt x="93065" y="232157"/>
                    <a:pt x="93065" y="232157"/>
                  </a:cubicBezTo>
                  <a:cubicBezTo>
                    <a:pt x="95182" y="228982"/>
                    <a:pt x="97708" y="226045"/>
                    <a:pt x="99415" y="222632"/>
                  </a:cubicBezTo>
                  <a:cubicBezTo>
                    <a:pt x="100912" y="219639"/>
                    <a:pt x="102404" y="216449"/>
                    <a:pt x="102590" y="213107"/>
                  </a:cubicBezTo>
                  <a:cubicBezTo>
                    <a:pt x="104528" y="178220"/>
                    <a:pt x="101906" y="143059"/>
                    <a:pt x="105765" y="108332"/>
                  </a:cubicBezTo>
                  <a:cubicBezTo>
                    <a:pt x="106261" y="103869"/>
                    <a:pt x="112115" y="101982"/>
                    <a:pt x="115290" y="98807"/>
                  </a:cubicBezTo>
                  <a:cubicBezTo>
                    <a:pt x="121184" y="63440"/>
                    <a:pt x="113654" y="92554"/>
                    <a:pt x="124815" y="70232"/>
                  </a:cubicBezTo>
                  <a:cubicBezTo>
                    <a:pt x="126312" y="67239"/>
                    <a:pt x="126365" y="63633"/>
                    <a:pt x="127990" y="60707"/>
                  </a:cubicBezTo>
                  <a:cubicBezTo>
                    <a:pt x="131696" y="54036"/>
                    <a:pt x="138277" y="48897"/>
                    <a:pt x="140690" y="41657"/>
                  </a:cubicBezTo>
                  <a:cubicBezTo>
                    <a:pt x="143872" y="32111"/>
                    <a:pt x="143376" y="30813"/>
                    <a:pt x="150215" y="22607"/>
                  </a:cubicBezTo>
                  <a:cubicBezTo>
                    <a:pt x="153090" y="19158"/>
                    <a:pt x="156865" y="16531"/>
                    <a:pt x="159740" y="13082"/>
                  </a:cubicBezTo>
                  <a:cubicBezTo>
                    <a:pt x="162183" y="10151"/>
                    <a:pt x="163110" y="5941"/>
                    <a:pt x="166090" y="3557"/>
                  </a:cubicBezTo>
                  <a:cubicBezTo>
                    <a:pt x="172569" y="-1626"/>
                    <a:pt x="189478" y="382"/>
                    <a:pt x="194665" y="382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46" name="Freeform 21"/>
            <p:cNvSpPr/>
            <p:nvPr>
              <p:custDataLst>
                <p:tags r:id="rId6"/>
              </p:custDataLst>
            </p:nvPr>
          </p:nvSpPr>
          <p:spPr bwMode="gray">
            <a:xfrm>
              <a:off x="2524287" y="1851134"/>
              <a:ext cx="271309" cy="169824"/>
            </a:xfrm>
            <a:custGeom>
              <a:avLst/>
              <a:gdLst>
                <a:gd name="connsiteX0" fmla="*/ 295275 w 295275"/>
                <a:gd name="connsiteY0" fmla="*/ 168275 h 190500"/>
                <a:gd name="connsiteX1" fmla="*/ 295275 w 295275"/>
                <a:gd name="connsiteY1" fmla="*/ 168275 h 190500"/>
                <a:gd name="connsiteX2" fmla="*/ 266700 w 295275"/>
                <a:gd name="connsiteY2" fmla="*/ 171450 h 190500"/>
                <a:gd name="connsiteX3" fmla="*/ 215900 w 295275"/>
                <a:gd name="connsiteY3" fmla="*/ 177800 h 190500"/>
                <a:gd name="connsiteX4" fmla="*/ 187325 w 295275"/>
                <a:gd name="connsiteY4" fmla="*/ 187325 h 190500"/>
                <a:gd name="connsiteX5" fmla="*/ 177800 w 295275"/>
                <a:gd name="connsiteY5" fmla="*/ 190500 h 190500"/>
                <a:gd name="connsiteX6" fmla="*/ 142875 w 295275"/>
                <a:gd name="connsiteY6" fmla="*/ 187325 h 190500"/>
                <a:gd name="connsiteX7" fmla="*/ 133350 w 295275"/>
                <a:gd name="connsiteY7" fmla="*/ 168275 h 190500"/>
                <a:gd name="connsiteX8" fmla="*/ 114300 w 295275"/>
                <a:gd name="connsiteY8" fmla="*/ 149225 h 190500"/>
                <a:gd name="connsiteX9" fmla="*/ 95250 w 295275"/>
                <a:gd name="connsiteY9" fmla="*/ 133350 h 190500"/>
                <a:gd name="connsiteX10" fmla="*/ 88900 w 295275"/>
                <a:gd name="connsiteY10" fmla="*/ 123825 h 190500"/>
                <a:gd name="connsiteX11" fmla="*/ 57150 w 295275"/>
                <a:gd name="connsiteY11" fmla="*/ 101600 h 190500"/>
                <a:gd name="connsiteX12" fmla="*/ 47625 w 295275"/>
                <a:gd name="connsiteY12" fmla="*/ 95250 h 190500"/>
                <a:gd name="connsiteX13" fmla="*/ 28575 w 295275"/>
                <a:gd name="connsiteY13" fmla="*/ 82550 h 190500"/>
                <a:gd name="connsiteX14" fmla="*/ 19050 w 295275"/>
                <a:gd name="connsiteY14" fmla="*/ 76200 h 190500"/>
                <a:gd name="connsiteX15" fmla="*/ 6350 w 295275"/>
                <a:gd name="connsiteY15" fmla="*/ 73025 h 190500"/>
                <a:gd name="connsiteX16" fmla="*/ 0 w 295275"/>
                <a:gd name="connsiteY16" fmla="*/ 63500 h 190500"/>
                <a:gd name="connsiteX17" fmla="*/ 9525 w 295275"/>
                <a:gd name="connsiteY17" fmla="*/ 6350 h 190500"/>
                <a:gd name="connsiteX18" fmla="*/ 15875 w 295275"/>
                <a:gd name="connsiteY18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95275" h="190500">
                  <a:moveTo>
                    <a:pt x="295275" y="168275"/>
                  </a:moveTo>
                  <a:lnTo>
                    <a:pt x="295275" y="168275"/>
                  </a:lnTo>
                  <a:lnTo>
                    <a:pt x="266700" y="171450"/>
                  </a:lnTo>
                  <a:cubicBezTo>
                    <a:pt x="239658" y="174025"/>
                    <a:pt x="235688" y="171863"/>
                    <a:pt x="215900" y="177800"/>
                  </a:cubicBezTo>
                  <a:cubicBezTo>
                    <a:pt x="206283" y="180685"/>
                    <a:pt x="196850" y="184150"/>
                    <a:pt x="187325" y="187325"/>
                  </a:cubicBezTo>
                  <a:lnTo>
                    <a:pt x="177800" y="190500"/>
                  </a:lnTo>
                  <a:cubicBezTo>
                    <a:pt x="166158" y="189442"/>
                    <a:pt x="154048" y="190763"/>
                    <a:pt x="142875" y="187325"/>
                  </a:cubicBezTo>
                  <a:cubicBezTo>
                    <a:pt x="135916" y="185184"/>
                    <a:pt x="136637" y="172502"/>
                    <a:pt x="133350" y="168275"/>
                  </a:cubicBezTo>
                  <a:cubicBezTo>
                    <a:pt x="127837" y="161186"/>
                    <a:pt x="120650" y="155575"/>
                    <a:pt x="114300" y="149225"/>
                  </a:cubicBezTo>
                  <a:cubicBezTo>
                    <a:pt x="102077" y="137002"/>
                    <a:pt x="108511" y="142191"/>
                    <a:pt x="95250" y="133350"/>
                  </a:cubicBezTo>
                  <a:cubicBezTo>
                    <a:pt x="93133" y="130175"/>
                    <a:pt x="91598" y="126523"/>
                    <a:pt x="88900" y="123825"/>
                  </a:cubicBezTo>
                  <a:cubicBezTo>
                    <a:pt x="84199" y="119124"/>
                    <a:pt x="60262" y="103675"/>
                    <a:pt x="57150" y="101600"/>
                  </a:cubicBezTo>
                  <a:cubicBezTo>
                    <a:pt x="53975" y="99483"/>
                    <a:pt x="50323" y="97948"/>
                    <a:pt x="47625" y="95250"/>
                  </a:cubicBezTo>
                  <a:cubicBezTo>
                    <a:pt x="35733" y="83358"/>
                    <a:pt x="42360" y="87145"/>
                    <a:pt x="28575" y="82550"/>
                  </a:cubicBezTo>
                  <a:cubicBezTo>
                    <a:pt x="25400" y="80433"/>
                    <a:pt x="22557" y="77703"/>
                    <a:pt x="19050" y="76200"/>
                  </a:cubicBezTo>
                  <a:cubicBezTo>
                    <a:pt x="15039" y="74481"/>
                    <a:pt x="9981" y="75446"/>
                    <a:pt x="6350" y="73025"/>
                  </a:cubicBezTo>
                  <a:cubicBezTo>
                    <a:pt x="3175" y="70908"/>
                    <a:pt x="2117" y="66675"/>
                    <a:pt x="0" y="63500"/>
                  </a:cubicBezTo>
                  <a:cubicBezTo>
                    <a:pt x="2278" y="29324"/>
                    <a:pt x="-5374" y="24974"/>
                    <a:pt x="9525" y="6350"/>
                  </a:cubicBezTo>
                  <a:cubicBezTo>
                    <a:pt x="11395" y="4013"/>
                    <a:pt x="13758" y="2117"/>
                    <a:pt x="15875" y="0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47" name="Freeform 22"/>
            <p:cNvSpPr/>
            <p:nvPr>
              <p:custDataLst>
                <p:tags r:id="rId7"/>
              </p:custDataLst>
            </p:nvPr>
          </p:nvSpPr>
          <p:spPr bwMode="gray">
            <a:xfrm>
              <a:off x="3510334" y="2524773"/>
              <a:ext cx="2797692" cy="873135"/>
            </a:xfrm>
            <a:custGeom>
              <a:avLst/>
              <a:gdLst>
                <a:gd name="connsiteX0" fmla="*/ 0 w 3044825"/>
                <a:gd name="connsiteY0" fmla="*/ 0 h 974725"/>
                <a:gd name="connsiteX1" fmla="*/ 0 w 3044825"/>
                <a:gd name="connsiteY1" fmla="*/ 0 h 974725"/>
                <a:gd name="connsiteX2" fmla="*/ 22225 w 3044825"/>
                <a:gd name="connsiteY2" fmla="*/ 19050 h 974725"/>
                <a:gd name="connsiteX3" fmla="*/ 38100 w 3044825"/>
                <a:gd name="connsiteY3" fmla="*/ 38100 h 974725"/>
                <a:gd name="connsiteX4" fmla="*/ 53975 w 3044825"/>
                <a:gd name="connsiteY4" fmla="*/ 53975 h 974725"/>
                <a:gd name="connsiteX5" fmla="*/ 69850 w 3044825"/>
                <a:gd name="connsiteY5" fmla="*/ 66675 h 974725"/>
                <a:gd name="connsiteX6" fmla="*/ 95250 w 3044825"/>
                <a:gd name="connsiteY6" fmla="*/ 79375 h 974725"/>
                <a:gd name="connsiteX7" fmla="*/ 114300 w 3044825"/>
                <a:gd name="connsiteY7" fmla="*/ 92075 h 974725"/>
                <a:gd name="connsiteX8" fmla="*/ 123825 w 3044825"/>
                <a:gd name="connsiteY8" fmla="*/ 95250 h 974725"/>
                <a:gd name="connsiteX9" fmla="*/ 146050 w 3044825"/>
                <a:gd name="connsiteY9" fmla="*/ 111125 h 974725"/>
                <a:gd name="connsiteX10" fmla="*/ 155575 w 3044825"/>
                <a:gd name="connsiteY10" fmla="*/ 114300 h 974725"/>
                <a:gd name="connsiteX11" fmla="*/ 180975 w 3044825"/>
                <a:gd name="connsiteY11" fmla="*/ 123825 h 974725"/>
                <a:gd name="connsiteX12" fmla="*/ 200025 w 3044825"/>
                <a:gd name="connsiteY12" fmla="*/ 130175 h 974725"/>
                <a:gd name="connsiteX13" fmla="*/ 212725 w 3044825"/>
                <a:gd name="connsiteY13" fmla="*/ 133350 h 974725"/>
                <a:gd name="connsiteX14" fmla="*/ 231775 w 3044825"/>
                <a:gd name="connsiteY14" fmla="*/ 139700 h 974725"/>
                <a:gd name="connsiteX15" fmla="*/ 250825 w 3044825"/>
                <a:gd name="connsiteY15" fmla="*/ 142875 h 974725"/>
                <a:gd name="connsiteX16" fmla="*/ 279400 w 3044825"/>
                <a:gd name="connsiteY16" fmla="*/ 152400 h 974725"/>
                <a:gd name="connsiteX17" fmla="*/ 298450 w 3044825"/>
                <a:gd name="connsiteY17" fmla="*/ 155575 h 974725"/>
                <a:gd name="connsiteX18" fmla="*/ 317500 w 3044825"/>
                <a:gd name="connsiteY18" fmla="*/ 161925 h 974725"/>
                <a:gd name="connsiteX19" fmla="*/ 327025 w 3044825"/>
                <a:gd name="connsiteY19" fmla="*/ 165100 h 974725"/>
                <a:gd name="connsiteX20" fmla="*/ 336550 w 3044825"/>
                <a:gd name="connsiteY20" fmla="*/ 171450 h 974725"/>
                <a:gd name="connsiteX21" fmla="*/ 346075 w 3044825"/>
                <a:gd name="connsiteY21" fmla="*/ 180975 h 974725"/>
                <a:gd name="connsiteX22" fmla="*/ 355600 w 3044825"/>
                <a:gd name="connsiteY22" fmla="*/ 184150 h 974725"/>
                <a:gd name="connsiteX23" fmla="*/ 377825 w 3044825"/>
                <a:gd name="connsiteY23" fmla="*/ 196850 h 974725"/>
                <a:gd name="connsiteX24" fmla="*/ 396875 w 3044825"/>
                <a:gd name="connsiteY24" fmla="*/ 212725 h 974725"/>
                <a:gd name="connsiteX25" fmla="*/ 409575 w 3044825"/>
                <a:gd name="connsiteY25" fmla="*/ 219075 h 974725"/>
                <a:gd name="connsiteX26" fmla="*/ 428625 w 3044825"/>
                <a:gd name="connsiteY26" fmla="*/ 231775 h 974725"/>
                <a:gd name="connsiteX27" fmla="*/ 447675 w 3044825"/>
                <a:gd name="connsiteY27" fmla="*/ 244475 h 974725"/>
                <a:gd name="connsiteX28" fmla="*/ 466725 w 3044825"/>
                <a:gd name="connsiteY28" fmla="*/ 257175 h 974725"/>
                <a:gd name="connsiteX29" fmla="*/ 476250 w 3044825"/>
                <a:gd name="connsiteY29" fmla="*/ 263525 h 974725"/>
                <a:gd name="connsiteX30" fmla="*/ 495300 w 3044825"/>
                <a:gd name="connsiteY30" fmla="*/ 279400 h 974725"/>
                <a:gd name="connsiteX31" fmla="*/ 504825 w 3044825"/>
                <a:gd name="connsiteY31" fmla="*/ 282575 h 974725"/>
                <a:gd name="connsiteX32" fmla="*/ 514350 w 3044825"/>
                <a:gd name="connsiteY32" fmla="*/ 288925 h 974725"/>
                <a:gd name="connsiteX33" fmla="*/ 533400 w 3044825"/>
                <a:gd name="connsiteY33" fmla="*/ 298450 h 974725"/>
                <a:gd name="connsiteX34" fmla="*/ 549275 w 3044825"/>
                <a:gd name="connsiteY34" fmla="*/ 282575 h 974725"/>
                <a:gd name="connsiteX35" fmla="*/ 558800 w 3044825"/>
                <a:gd name="connsiteY35" fmla="*/ 279400 h 974725"/>
                <a:gd name="connsiteX36" fmla="*/ 590550 w 3044825"/>
                <a:gd name="connsiteY36" fmla="*/ 276225 h 974725"/>
                <a:gd name="connsiteX37" fmla="*/ 603250 w 3044825"/>
                <a:gd name="connsiteY37" fmla="*/ 234950 h 974725"/>
                <a:gd name="connsiteX38" fmla="*/ 622300 w 3044825"/>
                <a:gd name="connsiteY38" fmla="*/ 225425 h 974725"/>
                <a:gd name="connsiteX39" fmla="*/ 638175 w 3044825"/>
                <a:gd name="connsiteY39" fmla="*/ 209550 h 974725"/>
                <a:gd name="connsiteX40" fmla="*/ 657225 w 3044825"/>
                <a:gd name="connsiteY40" fmla="*/ 203200 h 974725"/>
                <a:gd name="connsiteX41" fmla="*/ 676275 w 3044825"/>
                <a:gd name="connsiteY41" fmla="*/ 190500 h 974725"/>
                <a:gd name="connsiteX42" fmla="*/ 685800 w 3044825"/>
                <a:gd name="connsiteY42" fmla="*/ 180975 h 974725"/>
                <a:gd name="connsiteX43" fmla="*/ 711200 w 3044825"/>
                <a:gd name="connsiteY43" fmla="*/ 174625 h 974725"/>
                <a:gd name="connsiteX44" fmla="*/ 736600 w 3044825"/>
                <a:gd name="connsiteY44" fmla="*/ 177800 h 974725"/>
                <a:gd name="connsiteX45" fmla="*/ 752475 w 3044825"/>
                <a:gd name="connsiteY45" fmla="*/ 193675 h 974725"/>
                <a:gd name="connsiteX46" fmla="*/ 762000 w 3044825"/>
                <a:gd name="connsiteY46" fmla="*/ 196850 h 974725"/>
                <a:gd name="connsiteX47" fmla="*/ 873125 w 3044825"/>
                <a:gd name="connsiteY47" fmla="*/ 193675 h 974725"/>
                <a:gd name="connsiteX48" fmla="*/ 908050 w 3044825"/>
                <a:gd name="connsiteY48" fmla="*/ 196850 h 974725"/>
                <a:gd name="connsiteX49" fmla="*/ 927100 w 3044825"/>
                <a:gd name="connsiteY49" fmla="*/ 215900 h 974725"/>
                <a:gd name="connsiteX50" fmla="*/ 936625 w 3044825"/>
                <a:gd name="connsiteY50" fmla="*/ 225425 h 974725"/>
                <a:gd name="connsiteX51" fmla="*/ 946150 w 3044825"/>
                <a:gd name="connsiteY51" fmla="*/ 234950 h 974725"/>
                <a:gd name="connsiteX52" fmla="*/ 955675 w 3044825"/>
                <a:gd name="connsiteY52" fmla="*/ 241300 h 974725"/>
                <a:gd name="connsiteX53" fmla="*/ 1162050 w 3044825"/>
                <a:gd name="connsiteY53" fmla="*/ 244475 h 974725"/>
                <a:gd name="connsiteX54" fmla="*/ 1184275 w 3044825"/>
                <a:gd name="connsiteY54" fmla="*/ 266700 h 974725"/>
                <a:gd name="connsiteX55" fmla="*/ 1196975 w 3044825"/>
                <a:gd name="connsiteY55" fmla="*/ 285750 h 974725"/>
                <a:gd name="connsiteX56" fmla="*/ 1206500 w 3044825"/>
                <a:gd name="connsiteY56" fmla="*/ 292100 h 974725"/>
                <a:gd name="connsiteX57" fmla="*/ 1225550 w 3044825"/>
                <a:gd name="connsiteY57" fmla="*/ 307975 h 974725"/>
                <a:gd name="connsiteX58" fmla="*/ 1257300 w 3044825"/>
                <a:gd name="connsiteY58" fmla="*/ 301625 h 974725"/>
                <a:gd name="connsiteX59" fmla="*/ 1266825 w 3044825"/>
                <a:gd name="connsiteY59" fmla="*/ 295275 h 974725"/>
                <a:gd name="connsiteX60" fmla="*/ 1295400 w 3044825"/>
                <a:gd name="connsiteY60" fmla="*/ 292100 h 974725"/>
                <a:gd name="connsiteX61" fmla="*/ 1320800 w 3044825"/>
                <a:gd name="connsiteY61" fmla="*/ 276225 h 974725"/>
                <a:gd name="connsiteX62" fmla="*/ 1339850 w 3044825"/>
                <a:gd name="connsiteY62" fmla="*/ 273050 h 974725"/>
                <a:gd name="connsiteX63" fmla="*/ 1346200 w 3044825"/>
                <a:gd name="connsiteY63" fmla="*/ 263525 h 974725"/>
                <a:gd name="connsiteX64" fmla="*/ 1368425 w 3044825"/>
                <a:gd name="connsiteY64" fmla="*/ 254000 h 974725"/>
                <a:gd name="connsiteX65" fmla="*/ 1377950 w 3044825"/>
                <a:gd name="connsiteY65" fmla="*/ 247650 h 974725"/>
                <a:gd name="connsiteX66" fmla="*/ 1387475 w 3044825"/>
                <a:gd name="connsiteY66" fmla="*/ 244475 h 974725"/>
                <a:gd name="connsiteX67" fmla="*/ 1409700 w 3044825"/>
                <a:gd name="connsiteY67" fmla="*/ 228600 h 974725"/>
                <a:gd name="connsiteX68" fmla="*/ 1425575 w 3044825"/>
                <a:gd name="connsiteY68" fmla="*/ 225425 h 974725"/>
                <a:gd name="connsiteX69" fmla="*/ 1435100 w 3044825"/>
                <a:gd name="connsiteY69" fmla="*/ 222250 h 974725"/>
                <a:gd name="connsiteX70" fmla="*/ 1447800 w 3044825"/>
                <a:gd name="connsiteY70" fmla="*/ 219075 h 974725"/>
                <a:gd name="connsiteX71" fmla="*/ 1470025 w 3044825"/>
                <a:gd name="connsiteY71" fmla="*/ 209550 h 974725"/>
                <a:gd name="connsiteX72" fmla="*/ 1479550 w 3044825"/>
                <a:gd name="connsiteY72" fmla="*/ 206375 h 974725"/>
                <a:gd name="connsiteX73" fmla="*/ 1508125 w 3044825"/>
                <a:gd name="connsiteY73" fmla="*/ 190500 h 974725"/>
                <a:gd name="connsiteX74" fmla="*/ 1527175 w 3044825"/>
                <a:gd name="connsiteY74" fmla="*/ 180975 h 974725"/>
                <a:gd name="connsiteX75" fmla="*/ 1539875 w 3044825"/>
                <a:gd name="connsiteY75" fmla="*/ 184150 h 974725"/>
                <a:gd name="connsiteX76" fmla="*/ 1558925 w 3044825"/>
                <a:gd name="connsiteY76" fmla="*/ 190500 h 974725"/>
                <a:gd name="connsiteX77" fmla="*/ 1568450 w 3044825"/>
                <a:gd name="connsiteY77" fmla="*/ 196850 h 974725"/>
                <a:gd name="connsiteX78" fmla="*/ 1600200 w 3044825"/>
                <a:gd name="connsiteY78" fmla="*/ 203200 h 974725"/>
                <a:gd name="connsiteX79" fmla="*/ 1657350 w 3044825"/>
                <a:gd name="connsiteY79" fmla="*/ 212725 h 974725"/>
                <a:gd name="connsiteX80" fmla="*/ 1695450 w 3044825"/>
                <a:gd name="connsiteY80" fmla="*/ 238125 h 974725"/>
                <a:gd name="connsiteX81" fmla="*/ 1708150 w 3044825"/>
                <a:gd name="connsiteY81" fmla="*/ 247650 h 974725"/>
                <a:gd name="connsiteX82" fmla="*/ 1711325 w 3044825"/>
                <a:gd name="connsiteY82" fmla="*/ 266700 h 974725"/>
                <a:gd name="connsiteX83" fmla="*/ 1724025 w 3044825"/>
                <a:gd name="connsiteY83" fmla="*/ 273050 h 974725"/>
                <a:gd name="connsiteX84" fmla="*/ 1743075 w 3044825"/>
                <a:gd name="connsiteY84" fmla="*/ 279400 h 974725"/>
                <a:gd name="connsiteX85" fmla="*/ 1752600 w 3044825"/>
                <a:gd name="connsiteY85" fmla="*/ 282575 h 974725"/>
                <a:gd name="connsiteX86" fmla="*/ 1774825 w 3044825"/>
                <a:gd name="connsiteY86" fmla="*/ 288925 h 974725"/>
                <a:gd name="connsiteX87" fmla="*/ 1793875 w 3044825"/>
                <a:gd name="connsiteY87" fmla="*/ 301625 h 974725"/>
                <a:gd name="connsiteX88" fmla="*/ 1797050 w 3044825"/>
                <a:gd name="connsiteY88" fmla="*/ 317500 h 974725"/>
                <a:gd name="connsiteX89" fmla="*/ 1920875 w 3044825"/>
                <a:gd name="connsiteY89" fmla="*/ 374650 h 974725"/>
                <a:gd name="connsiteX90" fmla="*/ 1968500 w 3044825"/>
                <a:gd name="connsiteY90" fmla="*/ 381000 h 974725"/>
                <a:gd name="connsiteX91" fmla="*/ 1987550 w 3044825"/>
                <a:gd name="connsiteY91" fmla="*/ 393700 h 974725"/>
                <a:gd name="connsiteX92" fmla="*/ 1997075 w 3044825"/>
                <a:gd name="connsiteY92" fmla="*/ 412750 h 974725"/>
                <a:gd name="connsiteX93" fmla="*/ 2003425 w 3044825"/>
                <a:gd name="connsiteY93" fmla="*/ 422275 h 974725"/>
                <a:gd name="connsiteX94" fmla="*/ 2006600 w 3044825"/>
                <a:gd name="connsiteY94" fmla="*/ 431800 h 974725"/>
                <a:gd name="connsiteX95" fmla="*/ 2019300 w 3044825"/>
                <a:gd name="connsiteY95" fmla="*/ 460375 h 974725"/>
                <a:gd name="connsiteX96" fmla="*/ 2032000 w 3044825"/>
                <a:gd name="connsiteY96" fmla="*/ 479425 h 974725"/>
                <a:gd name="connsiteX97" fmla="*/ 2063750 w 3044825"/>
                <a:gd name="connsiteY97" fmla="*/ 511175 h 974725"/>
                <a:gd name="connsiteX98" fmla="*/ 2073275 w 3044825"/>
                <a:gd name="connsiteY98" fmla="*/ 520700 h 974725"/>
                <a:gd name="connsiteX99" fmla="*/ 2095500 w 3044825"/>
                <a:gd name="connsiteY99" fmla="*/ 546100 h 974725"/>
                <a:gd name="connsiteX100" fmla="*/ 2101850 w 3044825"/>
                <a:gd name="connsiteY100" fmla="*/ 555625 h 974725"/>
                <a:gd name="connsiteX101" fmla="*/ 2111375 w 3044825"/>
                <a:gd name="connsiteY101" fmla="*/ 561975 h 974725"/>
                <a:gd name="connsiteX102" fmla="*/ 2114550 w 3044825"/>
                <a:gd name="connsiteY102" fmla="*/ 571500 h 974725"/>
                <a:gd name="connsiteX103" fmla="*/ 2124075 w 3044825"/>
                <a:gd name="connsiteY103" fmla="*/ 581025 h 974725"/>
                <a:gd name="connsiteX104" fmla="*/ 2146300 w 3044825"/>
                <a:gd name="connsiteY104" fmla="*/ 596900 h 974725"/>
                <a:gd name="connsiteX105" fmla="*/ 2155825 w 3044825"/>
                <a:gd name="connsiteY105" fmla="*/ 600075 h 974725"/>
                <a:gd name="connsiteX106" fmla="*/ 2171700 w 3044825"/>
                <a:gd name="connsiteY106" fmla="*/ 619125 h 974725"/>
                <a:gd name="connsiteX107" fmla="*/ 2178050 w 3044825"/>
                <a:gd name="connsiteY107" fmla="*/ 628650 h 974725"/>
                <a:gd name="connsiteX108" fmla="*/ 2197100 w 3044825"/>
                <a:gd name="connsiteY108" fmla="*/ 638175 h 974725"/>
                <a:gd name="connsiteX109" fmla="*/ 2222500 w 3044825"/>
                <a:gd name="connsiteY109" fmla="*/ 644525 h 974725"/>
                <a:gd name="connsiteX110" fmla="*/ 2247900 w 3044825"/>
                <a:gd name="connsiteY110" fmla="*/ 647700 h 974725"/>
                <a:gd name="connsiteX111" fmla="*/ 2266950 w 3044825"/>
                <a:gd name="connsiteY111" fmla="*/ 650875 h 974725"/>
                <a:gd name="connsiteX112" fmla="*/ 2317750 w 3044825"/>
                <a:gd name="connsiteY112" fmla="*/ 654050 h 974725"/>
                <a:gd name="connsiteX113" fmla="*/ 2333625 w 3044825"/>
                <a:gd name="connsiteY113" fmla="*/ 669925 h 974725"/>
                <a:gd name="connsiteX114" fmla="*/ 2346325 w 3044825"/>
                <a:gd name="connsiteY114" fmla="*/ 695325 h 974725"/>
                <a:gd name="connsiteX115" fmla="*/ 2359025 w 3044825"/>
                <a:gd name="connsiteY115" fmla="*/ 714375 h 974725"/>
                <a:gd name="connsiteX116" fmla="*/ 2365375 w 3044825"/>
                <a:gd name="connsiteY116" fmla="*/ 723900 h 974725"/>
                <a:gd name="connsiteX117" fmla="*/ 2374900 w 3044825"/>
                <a:gd name="connsiteY117" fmla="*/ 733425 h 974725"/>
                <a:gd name="connsiteX118" fmla="*/ 2381250 w 3044825"/>
                <a:gd name="connsiteY118" fmla="*/ 742950 h 974725"/>
                <a:gd name="connsiteX119" fmla="*/ 2390775 w 3044825"/>
                <a:gd name="connsiteY119" fmla="*/ 749300 h 974725"/>
                <a:gd name="connsiteX120" fmla="*/ 2413000 w 3044825"/>
                <a:gd name="connsiteY120" fmla="*/ 771525 h 974725"/>
                <a:gd name="connsiteX121" fmla="*/ 2419350 w 3044825"/>
                <a:gd name="connsiteY121" fmla="*/ 781050 h 974725"/>
                <a:gd name="connsiteX122" fmla="*/ 2428875 w 3044825"/>
                <a:gd name="connsiteY122" fmla="*/ 787400 h 974725"/>
                <a:gd name="connsiteX123" fmla="*/ 2444750 w 3044825"/>
                <a:gd name="connsiteY123" fmla="*/ 806450 h 974725"/>
                <a:gd name="connsiteX124" fmla="*/ 2454275 w 3044825"/>
                <a:gd name="connsiteY124" fmla="*/ 812800 h 974725"/>
                <a:gd name="connsiteX125" fmla="*/ 2470150 w 3044825"/>
                <a:gd name="connsiteY125" fmla="*/ 828675 h 974725"/>
                <a:gd name="connsiteX126" fmla="*/ 2486025 w 3044825"/>
                <a:gd name="connsiteY126" fmla="*/ 844550 h 974725"/>
                <a:gd name="connsiteX127" fmla="*/ 2501900 w 3044825"/>
                <a:gd name="connsiteY127" fmla="*/ 863600 h 974725"/>
                <a:gd name="connsiteX128" fmla="*/ 2517775 w 3044825"/>
                <a:gd name="connsiteY128" fmla="*/ 879475 h 974725"/>
                <a:gd name="connsiteX129" fmla="*/ 2520950 w 3044825"/>
                <a:gd name="connsiteY129" fmla="*/ 889000 h 974725"/>
                <a:gd name="connsiteX130" fmla="*/ 2536825 w 3044825"/>
                <a:gd name="connsiteY130" fmla="*/ 908050 h 974725"/>
                <a:gd name="connsiteX131" fmla="*/ 2540000 w 3044825"/>
                <a:gd name="connsiteY131" fmla="*/ 917575 h 974725"/>
                <a:gd name="connsiteX132" fmla="*/ 2559050 w 3044825"/>
                <a:gd name="connsiteY132" fmla="*/ 930275 h 974725"/>
                <a:gd name="connsiteX133" fmla="*/ 2578100 w 3044825"/>
                <a:gd name="connsiteY133" fmla="*/ 939800 h 974725"/>
                <a:gd name="connsiteX134" fmla="*/ 2606675 w 3044825"/>
                <a:gd name="connsiteY134" fmla="*/ 962025 h 974725"/>
                <a:gd name="connsiteX135" fmla="*/ 2616200 w 3044825"/>
                <a:gd name="connsiteY135" fmla="*/ 968375 h 974725"/>
                <a:gd name="connsiteX136" fmla="*/ 2625725 w 3044825"/>
                <a:gd name="connsiteY136" fmla="*/ 974725 h 974725"/>
                <a:gd name="connsiteX137" fmla="*/ 2705100 w 3044825"/>
                <a:gd name="connsiteY137" fmla="*/ 958850 h 974725"/>
                <a:gd name="connsiteX138" fmla="*/ 2705100 w 3044825"/>
                <a:gd name="connsiteY138" fmla="*/ 958850 h 974725"/>
                <a:gd name="connsiteX139" fmla="*/ 2724150 w 3044825"/>
                <a:gd name="connsiteY139" fmla="*/ 952500 h 974725"/>
                <a:gd name="connsiteX140" fmla="*/ 2736850 w 3044825"/>
                <a:gd name="connsiteY140" fmla="*/ 949325 h 974725"/>
                <a:gd name="connsiteX141" fmla="*/ 2755900 w 3044825"/>
                <a:gd name="connsiteY141" fmla="*/ 942975 h 974725"/>
                <a:gd name="connsiteX142" fmla="*/ 2762250 w 3044825"/>
                <a:gd name="connsiteY142" fmla="*/ 923925 h 974725"/>
                <a:gd name="connsiteX143" fmla="*/ 2771775 w 3044825"/>
                <a:gd name="connsiteY143" fmla="*/ 914400 h 974725"/>
                <a:gd name="connsiteX144" fmla="*/ 2784475 w 3044825"/>
                <a:gd name="connsiteY144" fmla="*/ 895350 h 974725"/>
                <a:gd name="connsiteX145" fmla="*/ 2794000 w 3044825"/>
                <a:gd name="connsiteY145" fmla="*/ 885825 h 974725"/>
                <a:gd name="connsiteX146" fmla="*/ 2813050 w 3044825"/>
                <a:gd name="connsiteY146" fmla="*/ 869950 h 974725"/>
                <a:gd name="connsiteX147" fmla="*/ 2825750 w 3044825"/>
                <a:gd name="connsiteY147" fmla="*/ 854075 h 974725"/>
                <a:gd name="connsiteX148" fmla="*/ 2841625 w 3044825"/>
                <a:gd name="connsiteY148" fmla="*/ 838200 h 974725"/>
                <a:gd name="connsiteX149" fmla="*/ 2863850 w 3044825"/>
                <a:gd name="connsiteY149" fmla="*/ 822325 h 974725"/>
                <a:gd name="connsiteX150" fmla="*/ 2882900 w 3044825"/>
                <a:gd name="connsiteY150" fmla="*/ 815975 h 974725"/>
                <a:gd name="connsiteX151" fmla="*/ 2905125 w 3044825"/>
                <a:gd name="connsiteY151" fmla="*/ 809625 h 974725"/>
                <a:gd name="connsiteX152" fmla="*/ 2921000 w 3044825"/>
                <a:gd name="connsiteY152" fmla="*/ 806450 h 974725"/>
                <a:gd name="connsiteX153" fmla="*/ 2930525 w 3044825"/>
                <a:gd name="connsiteY153" fmla="*/ 803275 h 974725"/>
                <a:gd name="connsiteX154" fmla="*/ 2943225 w 3044825"/>
                <a:gd name="connsiteY154" fmla="*/ 800100 h 974725"/>
                <a:gd name="connsiteX155" fmla="*/ 2955925 w 3044825"/>
                <a:gd name="connsiteY155" fmla="*/ 793750 h 974725"/>
                <a:gd name="connsiteX156" fmla="*/ 2965450 w 3044825"/>
                <a:gd name="connsiteY156" fmla="*/ 790575 h 974725"/>
                <a:gd name="connsiteX157" fmla="*/ 2974975 w 3044825"/>
                <a:gd name="connsiteY157" fmla="*/ 781050 h 974725"/>
                <a:gd name="connsiteX158" fmla="*/ 2984500 w 3044825"/>
                <a:gd name="connsiteY158" fmla="*/ 774700 h 974725"/>
                <a:gd name="connsiteX159" fmla="*/ 2987675 w 3044825"/>
                <a:gd name="connsiteY159" fmla="*/ 765175 h 974725"/>
                <a:gd name="connsiteX160" fmla="*/ 2997200 w 3044825"/>
                <a:gd name="connsiteY160" fmla="*/ 755650 h 974725"/>
                <a:gd name="connsiteX161" fmla="*/ 3006725 w 3044825"/>
                <a:gd name="connsiteY161" fmla="*/ 698500 h 974725"/>
                <a:gd name="connsiteX162" fmla="*/ 3013075 w 3044825"/>
                <a:gd name="connsiteY162" fmla="*/ 688975 h 974725"/>
                <a:gd name="connsiteX163" fmla="*/ 3032125 w 3044825"/>
                <a:gd name="connsiteY163" fmla="*/ 676275 h 974725"/>
                <a:gd name="connsiteX164" fmla="*/ 3044825 w 3044825"/>
                <a:gd name="connsiteY164" fmla="*/ 673100 h 974725"/>
                <a:gd name="connsiteX0" fmla="*/ 0 w 3044825"/>
                <a:gd name="connsiteY0" fmla="*/ 0 h 974725"/>
                <a:gd name="connsiteX1" fmla="*/ 0 w 3044825"/>
                <a:gd name="connsiteY1" fmla="*/ 0 h 974725"/>
                <a:gd name="connsiteX2" fmla="*/ 22225 w 3044825"/>
                <a:gd name="connsiteY2" fmla="*/ 19050 h 974725"/>
                <a:gd name="connsiteX3" fmla="*/ 38100 w 3044825"/>
                <a:gd name="connsiteY3" fmla="*/ 38100 h 974725"/>
                <a:gd name="connsiteX4" fmla="*/ 53975 w 3044825"/>
                <a:gd name="connsiteY4" fmla="*/ 53975 h 974725"/>
                <a:gd name="connsiteX5" fmla="*/ 69850 w 3044825"/>
                <a:gd name="connsiteY5" fmla="*/ 66675 h 974725"/>
                <a:gd name="connsiteX6" fmla="*/ 95250 w 3044825"/>
                <a:gd name="connsiteY6" fmla="*/ 79375 h 974725"/>
                <a:gd name="connsiteX7" fmla="*/ 114300 w 3044825"/>
                <a:gd name="connsiteY7" fmla="*/ 92075 h 974725"/>
                <a:gd name="connsiteX8" fmla="*/ 123825 w 3044825"/>
                <a:gd name="connsiteY8" fmla="*/ 95250 h 974725"/>
                <a:gd name="connsiteX9" fmla="*/ 146050 w 3044825"/>
                <a:gd name="connsiteY9" fmla="*/ 111125 h 974725"/>
                <a:gd name="connsiteX10" fmla="*/ 155575 w 3044825"/>
                <a:gd name="connsiteY10" fmla="*/ 114300 h 974725"/>
                <a:gd name="connsiteX11" fmla="*/ 180975 w 3044825"/>
                <a:gd name="connsiteY11" fmla="*/ 123825 h 974725"/>
                <a:gd name="connsiteX12" fmla="*/ 200025 w 3044825"/>
                <a:gd name="connsiteY12" fmla="*/ 130175 h 974725"/>
                <a:gd name="connsiteX13" fmla="*/ 212725 w 3044825"/>
                <a:gd name="connsiteY13" fmla="*/ 133350 h 974725"/>
                <a:gd name="connsiteX14" fmla="*/ 231775 w 3044825"/>
                <a:gd name="connsiteY14" fmla="*/ 139700 h 974725"/>
                <a:gd name="connsiteX15" fmla="*/ 250825 w 3044825"/>
                <a:gd name="connsiteY15" fmla="*/ 142875 h 974725"/>
                <a:gd name="connsiteX16" fmla="*/ 279400 w 3044825"/>
                <a:gd name="connsiteY16" fmla="*/ 152400 h 974725"/>
                <a:gd name="connsiteX17" fmla="*/ 298450 w 3044825"/>
                <a:gd name="connsiteY17" fmla="*/ 155575 h 974725"/>
                <a:gd name="connsiteX18" fmla="*/ 317500 w 3044825"/>
                <a:gd name="connsiteY18" fmla="*/ 161925 h 974725"/>
                <a:gd name="connsiteX19" fmla="*/ 327025 w 3044825"/>
                <a:gd name="connsiteY19" fmla="*/ 165100 h 974725"/>
                <a:gd name="connsiteX20" fmla="*/ 336550 w 3044825"/>
                <a:gd name="connsiteY20" fmla="*/ 171450 h 974725"/>
                <a:gd name="connsiteX21" fmla="*/ 346075 w 3044825"/>
                <a:gd name="connsiteY21" fmla="*/ 180975 h 974725"/>
                <a:gd name="connsiteX22" fmla="*/ 355600 w 3044825"/>
                <a:gd name="connsiteY22" fmla="*/ 184150 h 974725"/>
                <a:gd name="connsiteX23" fmla="*/ 377825 w 3044825"/>
                <a:gd name="connsiteY23" fmla="*/ 196850 h 974725"/>
                <a:gd name="connsiteX24" fmla="*/ 396875 w 3044825"/>
                <a:gd name="connsiteY24" fmla="*/ 212725 h 974725"/>
                <a:gd name="connsiteX25" fmla="*/ 409575 w 3044825"/>
                <a:gd name="connsiteY25" fmla="*/ 219075 h 974725"/>
                <a:gd name="connsiteX26" fmla="*/ 428625 w 3044825"/>
                <a:gd name="connsiteY26" fmla="*/ 231775 h 974725"/>
                <a:gd name="connsiteX27" fmla="*/ 447675 w 3044825"/>
                <a:gd name="connsiteY27" fmla="*/ 244475 h 974725"/>
                <a:gd name="connsiteX28" fmla="*/ 466725 w 3044825"/>
                <a:gd name="connsiteY28" fmla="*/ 257175 h 974725"/>
                <a:gd name="connsiteX29" fmla="*/ 476250 w 3044825"/>
                <a:gd name="connsiteY29" fmla="*/ 263525 h 974725"/>
                <a:gd name="connsiteX30" fmla="*/ 495300 w 3044825"/>
                <a:gd name="connsiteY30" fmla="*/ 279400 h 974725"/>
                <a:gd name="connsiteX31" fmla="*/ 504825 w 3044825"/>
                <a:gd name="connsiteY31" fmla="*/ 282575 h 974725"/>
                <a:gd name="connsiteX32" fmla="*/ 514350 w 3044825"/>
                <a:gd name="connsiteY32" fmla="*/ 288925 h 974725"/>
                <a:gd name="connsiteX33" fmla="*/ 533400 w 3044825"/>
                <a:gd name="connsiteY33" fmla="*/ 298450 h 974725"/>
                <a:gd name="connsiteX34" fmla="*/ 549275 w 3044825"/>
                <a:gd name="connsiteY34" fmla="*/ 282575 h 974725"/>
                <a:gd name="connsiteX35" fmla="*/ 558800 w 3044825"/>
                <a:gd name="connsiteY35" fmla="*/ 279400 h 974725"/>
                <a:gd name="connsiteX36" fmla="*/ 590550 w 3044825"/>
                <a:gd name="connsiteY36" fmla="*/ 276225 h 974725"/>
                <a:gd name="connsiteX37" fmla="*/ 603250 w 3044825"/>
                <a:gd name="connsiteY37" fmla="*/ 234950 h 974725"/>
                <a:gd name="connsiteX38" fmla="*/ 622300 w 3044825"/>
                <a:gd name="connsiteY38" fmla="*/ 225425 h 974725"/>
                <a:gd name="connsiteX39" fmla="*/ 638175 w 3044825"/>
                <a:gd name="connsiteY39" fmla="*/ 209550 h 974725"/>
                <a:gd name="connsiteX40" fmla="*/ 657225 w 3044825"/>
                <a:gd name="connsiteY40" fmla="*/ 203200 h 974725"/>
                <a:gd name="connsiteX41" fmla="*/ 676275 w 3044825"/>
                <a:gd name="connsiteY41" fmla="*/ 190500 h 974725"/>
                <a:gd name="connsiteX42" fmla="*/ 685800 w 3044825"/>
                <a:gd name="connsiteY42" fmla="*/ 180975 h 974725"/>
                <a:gd name="connsiteX43" fmla="*/ 711200 w 3044825"/>
                <a:gd name="connsiteY43" fmla="*/ 174625 h 974725"/>
                <a:gd name="connsiteX44" fmla="*/ 736600 w 3044825"/>
                <a:gd name="connsiteY44" fmla="*/ 177800 h 974725"/>
                <a:gd name="connsiteX45" fmla="*/ 752475 w 3044825"/>
                <a:gd name="connsiteY45" fmla="*/ 193675 h 974725"/>
                <a:gd name="connsiteX46" fmla="*/ 762000 w 3044825"/>
                <a:gd name="connsiteY46" fmla="*/ 196850 h 974725"/>
                <a:gd name="connsiteX47" fmla="*/ 873125 w 3044825"/>
                <a:gd name="connsiteY47" fmla="*/ 193675 h 974725"/>
                <a:gd name="connsiteX48" fmla="*/ 908050 w 3044825"/>
                <a:gd name="connsiteY48" fmla="*/ 196850 h 974725"/>
                <a:gd name="connsiteX49" fmla="*/ 927100 w 3044825"/>
                <a:gd name="connsiteY49" fmla="*/ 215900 h 974725"/>
                <a:gd name="connsiteX50" fmla="*/ 936625 w 3044825"/>
                <a:gd name="connsiteY50" fmla="*/ 225425 h 974725"/>
                <a:gd name="connsiteX51" fmla="*/ 946150 w 3044825"/>
                <a:gd name="connsiteY51" fmla="*/ 234950 h 974725"/>
                <a:gd name="connsiteX52" fmla="*/ 955675 w 3044825"/>
                <a:gd name="connsiteY52" fmla="*/ 241300 h 974725"/>
                <a:gd name="connsiteX53" fmla="*/ 1162050 w 3044825"/>
                <a:gd name="connsiteY53" fmla="*/ 244475 h 974725"/>
                <a:gd name="connsiteX54" fmla="*/ 1184275 w 3044825"/>
                <a:gd name="connsiteY54" fmla="*/ 266700 h 974725"/>
                <a:gd name="connsiteX55" fmla="*/ 1196975 w 3044825"/>
                <a:gd name="connsiteY55" fmla="*/ 285750 h 974725"/>
                <a:gd name="connsiteX56" fmla="*/ 1206500 w 3044825"/>
                <a:gd name="connsiteY56" fmla="*/ 292100 h 974725"/>
                <a:gd name="connsiteX57" fmla="*/ 1225550 w 3044825"/>
                <a:gd name="connsiteY57" fmla="*/ 307975 h 974725"/>
                <a:gd name="connsiteX58" fmla="*/ 1257300 w 3044825"/>
                <a:gd name="connsiteY58" fmla="*/ 301625 h 974725"/>
                <a:gd name="connsiteX59" fmla="*/ 1266825 w 3044825"/>
                <a:gd name="connsiteY59" fmla="*/ 295275 h 974725"/>
                <a:gd name="connsiteX60" fmla="*/ 1295400 w 3044825"/>
                <a:gd name="connsiteY60" fmla="*/ 292100 h 974725"/>
                <a:gd name="connsiteX61" fmla="*/ 1320800 w 3044825"/>
                <a:gd name="connsiteY61" fmla="*/ 276225 h 974725"/>
                <a:gd name="connsiteX62" fmla="*/ 1339850 w 3044825"/>
                <a:gd name="connsiteY62" fmla="*/ 273050 h 974725"/>
                <a:gd name="connsiteX63" fmla="*/ 1346200 w 3044825"/>
                <a:gd name="connsiteY63" fmla="*/ 263525 h 974725"/>
                <a:gd name="connsiteX64" fmla="*/ 1368425 w 3044825"/>
                <a:gd name="connsiteY64" fmla="*/ 254000 h 974725"/>
                <a:gd name="connsiteX65" fmla="*/ 1377950 w 3044825"/>
                <a:gd name="connsiteY65" fmla="*/ 247650 h 974725"/>
                <a:gd name="connsiteX66" fmla="*/ 1387475 w 3044825"/>
                <a:gd name="connsiteY66" fmla="*/ 244475 h 974725"/>
                <a:gd name="connsiteX67" fmla="*/ 1409700 w 3044825"/>
                <a:gd name="connsiteY67" fmla="*/ 228600 h 974725"/>
                <a:gd name="connsiteX68" fmla="*/ 1425575 w 3044825"/>
                <a:gd name="connsiteY68" fmla="*/ 225425 h 974725"/>
                <a:gd name="connsiteX69" fmla="*/ 1435100 w 3044825"/>
                <a:gd name="connsiteY69" fmla="*/ 222250 h 974725"/>
                <a:gd name="connsiteX70" fmla="*/ 1447800 w 3044825"/>
                <a:gd name="connsiteY70" fmla="*/ 219075 h 974725"/>
                <a:gd name="connsiteX71" fmla="*/ 1470025 w 3044825"/>
                <a:gd name="connsiteY71" fmla="*/ 209550 h 974725"/>
                <a:gd name="connsiteX72" fmla="*/ 1479550 w 3044825"/>
                <a:gd name="connsiteY72" fmla="*/ 206375 h 974725"/>
                <a:gd name="connsiteX73" fmla="*/ 1508125 w 3044825"/>
                <a:gd name="connsiteY73" fmla="*/ 190500 h 974725"/>
                <a:gd name="connsiteX74" fmla="*/ 1527175 w 3044825"/>
                <a:gd name="connsiteY74" fmla="*/ 180975 h 974725"/>
                <a:gd name="connsiteX75" fmla="*/ 1539875 w 3044825"/>
                <a:gd name="connsiteY75" fmla="*/ 184150 h 974725"/>
                <a:gd name="connsiteX76" fmla="*/ 1558925 w 3044825"/>
                <a:gd name="connsiteY76" fmla="*/ 190500 h 974725"/>
                <a:gd name="connsiteX77" fmla="*/ 1568450 w 3044825"/>
                <a:gd name="connsiteY77" fmla="*/ 196850 h 974725"/>
                <a:gd name="connsiteX78" fmla="*/ 1600200 w 3044825"/>
                <a:gd name="connsiteY78" fmla="*/ 203200 h 974725"/>
                <a:gd name="connsiteX79" fmla="*/ 1657350 w 3044825"/>
                <a:gd name="connsiteY79" fmla="*/ 212725 h 974725"/>
                <a:gd name="connsiteX80" fmla="*/ 1695450 w 3044825"/>
                <a:gd name="connsiteY80" fmla="*/ 238125 h 974725"/>
                <a:gd name="connsiteX81" fmla="*/ 1708150 w 3044825"/>
                <a:gd name="connsiteY81" fmla="*/ 247650 h 974725"/>
                <a:gd name="connsiteX82" fmla="*/ 1711325 w 3044825"/>
                <a:gd name="connsiteY82" fmla="*/ 266700 h 974725"/>
                <a:gd name="connsiteX83" fmla="*/ 1724025 w 3044825"/>
                <a:gd name="connsiteY83" fmla="*/ 273050 h 974725"/>
                <a:gd name="connsiteX84" fmla="*/ 1743075 w 3044825"/>
                <a:gd name="connsiteY84" fmla="*/ 279400 h 974725"/>
                <a:gd name="connsiteX85" fmla="*/ 1752600 w 3044825"/>
                <a:gd name="connsiteY85" fmla="*/ 282575 h 974725"/>
                <a:gd name="connsiteX86" fmla="*/ 1774825 w 3044825"/>
                <a:gd name="connsiteY86" fmla="*/ 288925 h 974725"/>
                <a:gd name="connsiteX87" fmla="*/ 1793875 w 3044825"/>
                <a:gd name="connsiteY87" fmla="*/ 301625 h 974725"/>
                <a:gd name="connsiteX88" fmla="*/ 1797050 w 3044825"/>
                <a:gd name="connsiteY88" fmla="*/ 317500 h 974725"/>
                <a:gd name="connsiteX89" fmla="*/ 1920875 w 3044825"/>
                <a:gd name="connsiteY89" fmla="*/ 374650 h 974725"/>
                <a:gd name="connsiteX90" fmla="*/ 1968500 w 3044825"/>
                <a:gd name="connsiteY90" fmla="*/ 381000 h 974725"/>
                <a:gd name="connsiteX91" fmla="*/ 1987550 w 3044825"/>
                <a:gd name="connsiteY91" fmla="*/ 393700 h 974725"/>
                <a:gd name="connsiteX92" fmla="*/ 1997075 w 3044825"/>
                <a:gd name="connsiteY92" fmla="*/ 412750 h 974725"/>
                <a:gd name="connsiteX93" fmla="*/ 2003425 w 3044825"/>
                <a:gd name="connsiteY93" fmla="*/ 422275 h 974725"/>
                <a:gd name="connsiteX94" fmla="*/ 2006600 w 3044825"/>
                <a:gd name="connsiteY94" fmla="*/ 431800 h 974725"/>
                <a:gd name="connsiteX95" fmla="*/ 2019300 w 3044825"/>
                <a:gd name="connsiteY95" fmla="*/ 460375 h 974725"/>
                <a:gd name="connsiteX96" fmla="*/ 2032000 w 3044825"/>
                <a:gd name="connsiteY96" fmla="*/ 479425 h 974725"/>
                <a:gd name="connsiteX97" fmla="*/ 2063750 w 3044825"/>
                <a:gd name="connsiteY97" fmla="*/ 511175 h 974725"/>
                <a:gd name="connsiteX98" fmla="*/ 2073275 w 3044825"/>
                <a:gd name="connsiteY98" fmla="*/ 520700 h 974725"/>
                <a:gd name="connsiteX99" fmla="*/ 2095500 w 3044825"/>
                <a:gd name="connsiteY99" fmla="*/ 546100 h 974725"/>
                <a:gd name="connsiteX100" fmla="*/ 2101850 w 3044825"/>
                <a:gd name="connsiteY100" fmla="*/ 555625 h 974725"/>
                <a:gd name="connsiteX101" fmla="*/ 2111375 w 3044825"/>
                <a:gd name="connsiteY101" fmla="*/ 561975 h 974725"/>
                <a:gd name="connsiteX102" fmla="*/ 2114550 w 3044825"/>
                <a:gd name="connsiteY102" fmla="*/ 571500 h 974725"/>
                <a:gd name="connsiteX103" fmla="*/ 2124075 w 3044825"/>
                <a:gd name="connsiteY103" fmla="*/ 581025 h 974725"/>
                <a:gd name="connsiteX104" fmla="*/ 2146300 w 3044825"/>
                <a:gd name="connsiteY104" fmla="*/ 596900 h 974725"/>
                <a:gd name="connsiteX105" fmla="*/ 2155825 w 3044825"/>
                <a:gd name="connsiteY105" fmla="*/ 600075 h 974725"/>
                <a:gd name="connsiteX106" fmla="*/ 2171700 w 3044825"/>
                <a:gd name="connsiteY106" fmla="*/ 619125 h 974725"/>
                <a:gd name="connsiteX107" fmla="*/ 2178050 w 3044825"/>
                <a:gd name="connsiteY107" fmla="*/ 628650 h 974725"/>
                <a:gd name="connsiteX108" fmla="*/ 2197100 w 3044825"/>
                <a:gd name="connsiteY108" fmla="*/ 638175 h 974725"/>
                <a:gd name="connsiteX109" fmla="*/ 2222500 w 3044825"/>
                <a:gd name="connsiteY109" fmla="*/ 644525 h 974725"/>
                <a:gd name="connsiteX110" fmla="*/ 2247900 w 3044825"/>
                <a:gd name="connsiteY110" fmla="*/ 647700 h 974725"/>
                <a:gd name="connsiteX111" fmla="*/ 2266950 w 3044825"/>
                <a:gd name="connsiteY111" fmla="*/ 650875 h 974725"/>
                <a:gd name="connsiteX112" fmla="*/ 2317750 w 3044825"/>
                <a:gd name="connsiteY112" fmla="*/ 654050 h 974725"/>
                <a:gd name="connsiteX113" fmla="*/ 2333625 w 3044825"/>
                <a:gd name="connsiteY113" fmla="*/ 669925 h 974725"/>
                <a:gd name="connsiteX114" fmla="*/ 2346325 w 3044825"/>
                <a:gd name="connsiteY114" fmla="*/ 695325 h 974725"/>
                <a:gd name="connsiteX115" fmla="*/ 2359025 w 3044825"/>
                <a:gd name="connsiteY115" fmla="*/ 714375 h 974725"/>
                <a:gd name="connsiteX116" fmla="*/ 2365375 w 3044825"/>
                <a:gd name="connsiteY116" fmla="*/ 723900 h 974725"/>
                <a:gd name="connsiteX117" fmla="*/ 2374900 w 3044825"/>
                <a:gd name="connsiteY117" fmla="*/ 733425 h 974725"/>
                <a:gd name="connsiteX118" fmla="*/ 2381250 w 3044825"/>
                <a:gd name="connsiteY118" fmla="*/ 742950 h 974725"/>
                <a:gd name="connsiteX119" fmla="*/ 2390775 w 3044825"/>
                <a:gd name="connsiteY119" fmla="*/ 749300 h 974725"/>
                <a:gd name="connsiteX120" fmla="*/ 2413000 w 3044825"/>
                <a:gd name="connsiteY120" fmla="*/ 771525 h 974725"/>
                <a:gd name="connsiteX121" fmla="*/ 2419350 w 3044825"/>
                <a:gd name="connsiteY121" fmla="*/ 781050 h 974725"/>
                <a:gd name="connsiteX122" fmla="*/ 2428875 w 3044825"/>
                <a:gd name="connsiteY122" fmla="*/ 787400 h 974725"/>
                <a:gd name="connsiteX123" fmla="*/ 2444750 w 3044825"/>
                <a:gd name="connsiteY123" fmla="*/ 806450 h 974725"/>
                <a:gd name="connsiteX124" fmla="*/ 2454275 w 3044825"/>
                <a:gd name="connsiteY124" fmla="*/ 812800 h 974725"/>
                <a:gd name="connsiteX125" fmla="*/ 2470150 w 3044825"/>
                <a:gd name="connsiteY125" fmla="*/ 828675 h 974725"/>
                <a:gd name="connsiteX126" fmla="*/ 2486025 w 3044825"/>
                <a:gd name="connsiteY126" fmla="*/ 844550 h 974725"/>
                <a:gd name="connsiteX127" fmla="*/ 2501900 w 3044825"/>
                <a:gd name="connsiteY127" fmla="*/ 863600 h 974725"/>
                <a:gd name="connsiteX128" fmla="*/ 2517775 w 3044825"/>
                <a:gd name="connsiteY128" fmla="*/ 879475 h 974725"/>
                <a:gd name="connsiteX129" fmla="*/ 2520950 w 3044825"/>
                <a:gd name="connsiteY129" fmla="*/ 889000 h 974725"/>
                <a:gd name="connsiteX130" fmla="*/ 2536825 w 3044825"/>
                <a:gd name="connsiteY130" fmla="*/ 908050 h 974725"/>
                <a:gd name="connsiteX131" fmla="*/ 2540000 w 3044825"/>
                <a:gd name="connsiteY131" fmla="*/ 917575 h 974725"/>
                <a:gd name="connsiteX132" fmla="*/ 2559050 w 3044825"/>
                <a:gd name="connsiteY132" fmla="*/ 930275 h 974725"/>
                <a:gd name="connsiteX133" fmla="*/ 2578100 w 3044825"/>
                <a:gd name="connsiteY133" fmla="*/ 939800 h 974725"/>
                <a:gd name="connsiteX134" fmla="*/ 2606675 w 3044825"/>
                <a:gd name="connsiteY134" fmla="*/ 962025 h 974725"/>
                <a:gd name="connsiteX135" fmla="*/ 2616200 w 3044825"/>
                <a:gd name="connsiteY135" fmla="*/ 968375 h 974725"/>
                <a:gd name="connsiteX136" fmla="*/ 2625725 w 3044825"/>
                <a:gd name="connsiteY136" fmla="*/ 974725 h 974725"/>
                <a:gd name="connsiteX137" fmla="*/ 2705100 w 3044825"/>
                <a:gd name="connsiteY137" fmla="*/ 958850 h 974725"/>
                <a:gd name="connsiteX138" fmla="*/ 2705100 w 3044825"/>
                <a:gd name="connsiteY138" fmla="*/ 958850 h 974725"/>
                <a:gd name="connsiteX139" fmla="*/ 2724150 w 3044825"/>
                <a:gd name="connsiteY139" fmla="*/ 952500 h 974725"/>
                <a:gd name="connsiteX140" fmla="*/ 2736850 w 3044825"/>
                <a:gd name="connsiteY140" fmla="*/ 949325 h 974725"/>
                <a:gd name="connsiteX141" fmla="*/ 2762250 w 3044825"/>
                <a:gd name="connsiteY141" fmla="*/ 923925 h 974725"/>
                <a:gd name="connsiteX142" fmla="*/ 2771775 w 3044825"/>
                <a:gd name="connsiteY142" fmla="*/ 914400 h 974725"/>
                <a:gd name="connsiteX143" fmla="*/ 2784475 w 3044825"/>
                <a:gd name="connsiteY143" fmla="*/ 895350 h 974725"/>
                <a:gd name="connsiteX144" fmla="*/ 2794000 w 3044825"/>
                <a:gd name="connsiteY144" fmla="*/ 885825 h 974725"/>
                <a:gd name="connsiteX145" fmla="*/ 2813050 w 3044825"/>
                <a:gd name="connsiteY145" fmla="*/ 869950 h 974725"/>
                <a:gd name="connsiteX146" fmla="*/ 2825750 w 3044825"/>
                <a:gd name="connsiteY146" fmla="*/ 854075 h 974725"/>
                <a:gd name="connsiteX147" fmla="*/ 2841625 w 3044825"/>
                <a:gd name="connsiteY147" fmla="*/ 838200 h 974725"/>
                <a:gd name="connsiteX148" fmla="*/ 2863850 w 3044825"/>
                <a:gd name="connsiteY148" fmla="*/ 822325 h 974725"/>
                <a:gd name="connsiteX149" fmla="*/ 2882900 w 3044825"/>
                <a:gd name="connsiteY149" fmla="*/ 815975 h 974725"/>
                <a:gd name="connsiteX150" fmla="*/ 2905125 w 3044825"/>
                <a:gd name="connsiteY150" fmla="*/ 809625 h 974725"/>
                <a:gd name="connsiteX151" fmla="*/ 2921000 w 3044825"/>
                <a:gd name="connsiteY151" fmla="*/ 806450 h 974725"/>
                <a:gd name="connsiteX152" fmla="*/ 2930525 w 3044825"/>
                <a:gd name="connsiteY152" fmla="*/ 803275 h 974725"/>
                <a:gd name="connsiteX153" fmla="*/ 2943225 w 3044825"/>
                <a:gd name="connsiteY153" fmla="*/ 800100 h 974725"/>
                <a:gd name="connsiteX154" fmla="*/ 2955925 w 3044825"/>
                <a:gd name="connsiteY154" fmla="*/ 793750 h 974725"/>
                <a:gd name="connsiteX155" fmla="*/ 2965450 w 3044825"/>
                <a:gd name="connsiteY155" fmla="*/ 790575 h 974725"/>
                <a:gd name="connsiteX156" fmla="*/ 2974975 w 3044825"/>
                <a:gd name="connsiteY156" fmla="*/ 781050 h 974725"/>
                <a:gd name="connsiteX157" fmla="*/ 2984500 w 3044825"/>
                <a:gd name="connsiteY157" fmla="*/ 774700 h 974725"/>
                <a:gd name="connsiteX158" fmla="*/ 2987675 w 3044825"/>
                <a:gd name="connsiteY158" fmla="*/ 765175 h 974725"/>
                <a:gd name="connsiteX159" fmla="*/ 2997200 w 3044825"/>
                <a:gd name="connsiteY159" fmla="*/ 755650 h 974725"/>
                <a:gd name="connsiteX160" fmla="*/ 3006725 w 3044825"/>
                <a:gd name="connsiteY160" fmla="*/ 698500 h 974725"/>
                <a:gd name="connsiteX161" fmla="*/ 3013075 w 3044825"/>
                <a:gd name="connsiteY161" fmla="*/ 688975 h 974725"/>
                <a:gd name="connsiteX162" fmla="*/ 3032125 w 3044825"/>
                <a:gd name="connsiteY162" fmla="*/ 676275 h 974725"/>
                <a:gd name="connsiteX163" fmla="*/ 3044825 w 3044825"/>
                <a:gd name="connsiteY163" fmla="*/ 673100 h 974725"/>
                <a:gd name="connsiteX0" fmla="*/ 0 w 3044825"/>
                <a:gd name="connsiteY0" fmla="*/ 0 h 974725"/>
                <a:gd name="connsiteX1" fmla="*/ 0 w 3044825"/>
                <a:gd name="connsiteY1" fmla="*/ 0 h 974725"/>
                <a:gd name="connsiteX2" fmla="*/ 22225 w 3044825"/>
                <a:gd name="connsiteY2" fmla="*/ 19050 h 974725"/>
                <a:gd name="connsiteX3" fmla="*/ 38100 w 3044825"/>
                <a:gd name="connsiteY3" fmla="*/ 38100 h 974725"/>
                <a:gd name="connsiteX4" fmla="*/ 53975 w 3044825"/>
                <a:gd name="connsiteY4" fmla="*/ 53975 h 974725"/>
                <a:gd name="connsiteX5" fmla="*/ 69850 w 3044825"/>
                <a:gd name="connsiteY5" fmla="*/ 66675 h 974725"/>
                <a:gd name="connsiteX6" fmla="*/ 95250 w 3044825"/>
                <a:gd name="connsiteY6" fmla="*/ 79375 h 974725"/>
                <a:gd name="connsiteX7" fmla="*/ 114300 w 3044825"/>
                <a:gd name="connsiteY7" fmla="*/ 92075 h 974725"/>
                <a:gd name="connsiteX8" fmla="*/ 123825 w 3044825"/>
                <a:gd name="connsiteY8" fmla="*/ 95250 h 974725"/>
                <a:gd name="connsiteX9" fmla="*/ 146050 w 3044825"/>
                <a:gd name="connsiteY9" fmla="*/ 111125 h 974725"/>
                <a:gd name="connsiteX10" fmla="*/ 155575 w 3044825"/>
                <a:gd name="connsiteY10" fmla="*/ 114300 h 974725"/>
                <a:gd name="connsiteX11" fmla="*/ 180975 w 3044825"/>
                <a:gd name="connsiteY11" fmla="*/ 123825 h 974725"/>
                <a:gd name="connsiteX12" fmla="*/ 200025 w 3044825"/>
                <a:gd name="connsiteY12" fmla="*/ 130175 h 974725"/>
                <a:gd name="connsiteX13" fmla="*/ 212725 w 3044825"/>
                <a:gd name="connsiteY13" fmla="*/ 133350 h 974725"/>
                <a:gd name="connsiteX14" fmla="*/ 231775 w 3044825"/>
                <a:gd name="connsiteY14" fmla="*/ 139700 h 974725"/>
                <a:gd name="connsiteX15" fmla="*/ 250825 w 3044825"/>
                <a:gd name="connsiteY15" fmla="*/ 142875 h 974725"/>
                <a:gd name="connsiteX16" fmla="*/ 279400 w 3044825"/>
                <a:gd name="connsiteY16" fmla="*/ 152400 h 974725"/>
                <a:gd name="connsiteX17" fmla="*/ 298450 w 3044825"/>
                <a:gd name="connsiteY17" fmla="*/ 155575 h 974725"/>
                <a:gd name="connsiteX18" fmla="*/ 317500 w 3044825"/>
                <a:gd name="connsiteY18" fmla="*/ 161925 h 974725"/>
                <a:gd name="connsiteX19" fmla="*/ 327025 w 3044825"/>
                <a:gd name="connsiteY19" fmla="*/ 165100 h 974725"/>
                <a:gd name="connsiteX20" fmla="*/ 336550 w 3044825"/>
                <a:gd name="connsiteY20" fmla="*/ 171450 h 974725"/>
                <a:gd name="connsiteX21" fmla="*/ 346075 w 3044825"/>
                <a:gd name="connsiteY21" fmla="*/ 180975 h 974725"/>
                <a:gd name="connsiteX22" fmla="*/ 355600 w 3044825"/>
                <a:gd name="connsiteY22" fmla="*/ 184150 h 974725"/>
                <a:gd name="connsiteX23" fmla="*/ 377825 w 3044825"/>
                <a:gd name="connsiteY23" fmla="*/ 196850 h 974725"/>
                <a:gd name="connsiteX24" fmla="*/ 396875 w 3044825"/>
                <a:gd name="connsiteY24" fmla="*/ 212725 h 974725"/>
                <a:gd name="connsiteX25" fmla="*/ 409575 w 3044825"/>
                <a:gd name="connsiteY25" fmla="*/ 219075 h 974725"/>
                <a:gd name="connsiteX26" fmla="*/ 428625 w 3044825"/>
                <a:gd name="connsiteY26" fmla="*/ 231775 h 974725"/>
                <a:gd name="connsiteX27" fmla="*/ 447675 w 3044825"/>
                <a:gd name="connsiteY27" fmla="*/ 244475 h 974725"/>
                <a:gd name="connsiteX28" fmla="*/ 466725 w 3044825"/>
                <a:gd name="connsiteY28" fmla="*/ 257175 h 974725"/>
                <a:gd name="connsiteX29" fmla="*/ 476250 w 3044825"/>
                <a:gd name="connsiteY29" fmla="*/ 263525 h 974725"/>
                <a:gd name="connsiteX30" fmla="*/ 495300 w 3044825"/>
                <a:gd name="connsiteY30" fmla="*/ 279400 h 974725"/>
                <a:gd name="connsiteX31" fmla="*/ 504825 w 3044825"/>
                <a:gd name="connsiteY31" fmla="*/ 282575 h 974725"/>
                <a:gd name="connsiteX32" fmla="*/ 514350 w 3044825"/>
                <a:gd name="connsiteY32" fmla="*/ 288925 h 974725"/>
                <a:gd name="connsiteX33" fmla="*/ 533400 w 3044825"/>
                <a:gd name="connsiteY33" fmla="*/ 298450 h 974725"/>
                <a:gd name="connsiteX34" fmla="*/ 549275 w 3044825"/>
                <a:gd name="connsiteY34" fmla="*/ 282575 h 974725"/>
                <a:gd name="connsiteX35" fmla="*/ 558800 w 3044825"/>
                <a:gd name="connsiteY35" fmla="*/ 279400 h 974725"/>
                <a:gd name="connsiteX36" fmla="*/ 590550 w 3044825"/>
                <a:gd name="connsiteY36" fmla="*/ 276225 h 974725"/>
                <a:gd name="connsiteX37" fmla="*/ 603250 w 3044825"/>
                <a:gd name="connsiteY37" fmla="*/ 234950 h 974725"/>
                <a:gd name="connsiteX38" fmla="*/ 622300 w 3044825"/>
                <a:gd name="connsiteY38" fmla="*/ 225425 h 974725"/>
                <a:gd name="connsiteX39" fmla="*/ 638175 w 3044825"/>
                <a:gd name="connsiteY39" fmla="*/ 209550 h 974725"/>
                <a:gd name="connsiteX40" fmla="*/ 657225 w 3044825"/>
                <a:gd name="connsiteY40" fmla="*/ 203200 h 974725"/>
                <a:gd name="connsiteX41" fmla="*/ 676275 w 3044825"/>
                <a:gd name="connsiteY41" fmla="*/ 190500 h 974725"/>
                <a:gd name="connsiteX42" fmla="*/ 685800 w 3044825"/>
                <a:gd name="connsiteY42" fmla="*/ 180975 h 974725"/>
                <a:gd name="connsiteX43" fmla="*/ 711200 w 3044825"/>
                <a:gd name="connsiteY43" fmla="*/ 174625 h 974725"/>
                <a:gd name="connsiteX44" fmla="*/ 736600 w 3044825"/>
                <a:gd name="connsiteY44" fmla="*/ 177800 h 974725"/>
                <a:gd name="connsiteX45" fmla="*/ 752475 w 3044825"/>
                <a:gd name="connsiteY45" fmla="*/ 193675 h 974725"/>
                <a:gd name="connsiteX46" fmla="*/ 762000 w 3044825"/>
                <a:gd name="connsiteY46" fmla="*/ 196850 h 974725"/>
                <a:gd name="connsiteX47" fmla="*/ 873125 w 3044825"/>
                <a:gd name="connsiteY47" fmla="*/ 193675 h 974725"/>
                <a:gd name="connsiteX48" fmla="*/ 908050 w 3044825"/>
                <a:gd name="connsiteY48" fmla="*/ 196850 h 974725"/>
                <a:gd name="connsiteX49" fmla="*/ 927100 w 3044825"/>
                <a:gd name="connsiteY49" fmla="*/ 215900 h 974725"/>
                <a:gd name="connsiteX50" fmla="*/ 936625 w 3044825"/>
                <a:gd name="connsiteY50" fmla="*/ 225425 h 974725"/>
                <a:gd name="connsiteX51" fmla="*/ 946150 w 3044825"/>
                <a:gd name="connsiteY51" fmla="*/ 234950 h 974725"/>
                <a:gd name="connsiteX52" fmla="*/ 955675 w 3044825"/>
                <a:gd name="connsiteY52" fmla="*/ 241300 h 974725"/>
                <a:gd name="connsiteX53" fmla="*/ 1162050 w 3044825"/>
                <a:gd name="connsiteY53" fmla="*/ 244475 h 974725"/>
                <a:gd name="connsiteX54" fmla="*/ 1184275 w 3044825"/>
                <a:gd name="connsiteY54" fmla="*/ 266700 h 974725"/>
                <a:gd name="connsiteX55" fmla="*/ 1196975 w 3044825"/>
                <a:gd name="connsiteY55" fmla="*/ 285750 h 974725"/>
                <a:gd name="connsiteX56" fmla="*/ 1206500 w 3044825"/>
                <a:gd name="connsiteY56" fmla="*/ 292100 h 974725"/>
                <a:gd name="connsiteX57" fmla="*/ 1225550 w 3044825"/>
                <a:gd name="connsiteY57" fmla="*/ 307975 h 974725"/>
                <a:gd name="connsiteX58" fmla="*/ 1257300 w 3044825"/>
                <a:gd name="connsiteY58" fmla="*/ 301625 h 974725"/>
                <a:gd name="connsiteX59" fmla="*/ 1266825 w 3044825"/>
                <a:gd name="connsiteY59" fmla="*/ 295275 h 974725"/>
                <a:gd name="connsiteX60" fmla="*/ 1295400 w 3044825"/>
                <a:gd name="connsiteY60" fmla="*/ 292100 h 974725"/>
                <a:gd name="connsiteX61" fmla="*/ 1320800 w 3044825"/>
                <a:gd name="connsiteY61" fmla="*/ 276225 h 974725"/>
                <a:gd name="connsiteX62" fmla="*/ 1339850 w 3044825"/>
                <a:gd name="connsiteY62" fmla="*/ 273050 h 974725"/>
                <a:gd name="connsiteX63" fmla="*/ 1346200 w 3044825"/>
                <a:gd name="connsiteY63" fmla="*/ 263525 h 974725"/>
                <a:gd name="connsiteX64" fmla="*/ 1368425 w 3044825"/>
                <a:gd name="connsiteY64" fmla="*/ 254000 h 974725"/>
                <a:gd name="connsiteX65" fmla="*/ 1377950 w 3044825"/>
                <a:gd name="connsiteY65" fmla="*/ 247650 h 974725"/>
                <a:gd name="connsiteX66" fmla="*/ 1387475 w 3044825"/>
                <a:gd name="connsiteY66" fmla="*/ 244475 h 974725"/>
                <a:gd name="connsiteX67" fmla="*/ 1409700 w 3044825"/>
                <a:gd name="connsiteY67" fmla="*/ 228600 h 974725"/>
                <a:gd name="connsiteX68" fmla="*/ 1425575 w 3044825"/>
                <a:gd name="connsiteY68" fmla="*/ 225425 h 974725"/>
                <a:gd name="connsiteX69" fmla="*/ 1435100 w 3044825"/>
                <a:gd name="connsiteY69" fmla="*/ 222250 h 974725"/>
                <a:gd name="connsiteX70" fmla="*/ 1447800 w 3044825"/>
                <a:gd name="connsiteY70" fmla="*/ 219075 h 974725"/>
                <a:gd name="connsiteX71" fmla="*/ 1470025 w 3044825"/>
                <a:gd name="connsiteY71" fmla="*/ 209550 h 974725"/>
                <a:gd name="connsiteX72" fmla="*/ 1479550 w 3044825"/>
                <a:gd name="connsiteY72" fmla="*/ 206375 h 974725"/>
                <a:gd name="connsiteX73" fmla="*/ 1508125 w 3044825"/>
                <a:gd name="connsiteY73" fmla="*/ 190500 h 974725"/>
                <a:gd name="connsiteX74" fmla="*/ 1527175 w 3044825"/>
                <a:gd name="connsiteY74" fmla="*/ 180975 h 974725"/>
                <a:gd name="connsiteX75" fmla="*/ 1539875 w 3044825"/>
                <a:gd name="connsiteY75" fmla="*/ 184150 h 974725"/>
                <a:gd name="connsiteX76" fmla="*/ 1558925 w 3044825"/>
                <a:gd name="connsiteY76" fmla="*/ 190500 h 974725"/>
                <a:gd name="connsiteX77" fmla="*/ 1568450 w 3044825"/>
                <a:gd name="connsiteY77" fmla="*/ 196850 h 974725"/>
                <a:gd name="connsiteX78" fmla="*/ 1600200 w 3044825"/>
                <a:gd name="connsiteY78" fmla="*/ 203200 h 974725"/>
                <a:gd name="connsiteX79" fmla="*/ 1657350 w 3044825"/>
                <a:gd name="connsiteY79" fmla="*/ 212725 h 974725"/>
                <a:gd name="connsiteX80" fmla="*/ 1695450 w 3044825"/>
                <a:gd name="connsiteY80" fmla="*/ 238125 h 974725"/>
                <a:gd name="connsiteX81" fmla="*/ 1708150 w 3044825"/>
                <a:gd name="connsiteY81" fmla="*/ 247650 h 974725"/>
                <a:gd name="connsiteX82" fmla="*/ 1711325 w 3044825"/>
                <a:gd name="connsiteY82" fmla="*/ 266700 h 974725"/>
                <a:gd name="connsiteX83" fmla="*/ 1724025 w 3044825"/>
                <a:gd name="connsiteY83" fmla="*/ 273050 h 974725"/>
                <a:gd name="connsiteX84" fmla="*/ 1743075 w 3044825"/>
                <a:gd name="connsiteY84" fmla="*/ 279400 h 974725"/>
                <a:gd name="connsiteX85" fmla="*/ 1752600 w 3044825"/>
                <a:gd name="connsiteY85" fmla="*/ 282575 h 974725"/>
                <a:gd name="connsiteX86" fmla="*/ 1774825 w 3044825"/>
                <a:gd name="connsiteY86" fmla="*/ 288925 h 974725"/>
                <a:gd name="connsiteX87" fmla="*/ 1793875 w 3044825"/>
                <a:gd name="connsiteY87" fmla="*/ 301625 h 974725"/>
                <a:gd name="connsiteX88" fmla="*/ 1797050 w 3044825"/>
                <a:gd name="connsiteY88" fmla="*/ 317500 h 974725"/>
                <a:gd name="connsiteX89" fmla="*/ 1920875 w 3044825"/>
                <a:gd name="connsiteY89" fmla="*/ 374650 h 974725"/>
                <a:gd name="connsiteX90" fmla="*/ 1968500 w 3044825"/>
                <a:gd name="connsiteY90" fmla="*/ 381000 h 974725"/>
                <a:gd name="connsiteX91" fmla="*/ 1987550 w 3044825"/>
                <a:gd name="connsiteY91" fmla="*/ 393700 h 974725"/>
                <a:gd name="connsiteX92" fmla="*/ 1997075 w 3044825"/>
                <a:gd name="connsiteY92" fmla="*/ 412750 h 974725"/>
                <a:gd name="connsiteX93" fmla="*/ 2003425 w 3044825"/>
                <a:gd name="connsiteY93" fmla="*/ 422275 h 974725"/>
                <a:gd name="connsiteX94" fmla="*/ 2006600 w 3044825"/>
                <a:gd name="connsiteY94" fmla="*/ 431800 h 974725"/>
                <a:gd name="connsiteX95" fmla="*/ 2019300 w 3044825"/>
                <a:gd name="connsiteY95" fmla="*/ 460375 h 974725"/>
                <a:gd name="connsiteX96" fmla="*/ 2032000 w 3044825"/>
                <a:gd name="connsiteY96" fmla="*/ 479425 h 974725"/>
                <a:gd name="connsiteX97" fmla="*/ 2063750 w 3044825"/>
                <a:gd name="connsiteY97" fmla="*/ 511175 h 974725"/>
                <a:gd name="connsiteX98" fmla="*/ 2073275 w 3044825"/>
                <a:gd name="connsiteY98" fmla="*/ 520700 h 974725"/>
                <a:gd name="connsiteX99" fmla="*/ 2095500 w 3044825"/>
                <a:gd name="connsiteY99" fmla="*/ 546100 h 974725"/>
                <a:gd name="connsiteX100" fmla="*/ 2101850 w 3044825"/>
                <a:gd name="connsiteY100" fmla="*/ 555625 h 974725"/>
                <a:gd name="connsiteX101" fmla="*/ 2111375 w 3044825"/>
                <a:gd name="connsiteY101" fmla="*/ 561975 h 974725"/>
                <a:gd name="connsiteX102" fmla="*/ 2114550 w 3044825"/>
                <a:gd name="connsiteY102" fmla="*/ 571500 h 974725"/>
                <a:gd name="connsiteX103" fmla="*/ 2124075 w 3044825"/>
                <a:gd name="connsiteY103" fmla="*/ 581025 h 974725"/>
                <a:gd name="connsiteX104" fmla="*/ 2146300 w 3044825"/>
                <a:gd name="connsiteY104" fmla="*/ 596900 h 974725"/>
                <a:gd name="connsiteX105" fmla="*/ 2155825 w 3044825"/>
                <a:gd name="connsiteY105" fmla="*/ 600075 h 974725"/>
                <a:gd name="connsiteX106" fmla="*/ 2171700 w 3044825"/>
                <a:gd name="connsiteY106" fmla="*/ 619125 h 974725"/>
                <a:gd name="connsiteX107" fmla="*/ 2178050 w 3044825"/>
                <a:gd name="connsiteY107" fmla="*/ 628650 h 974725"/>
                <a:gd name="connsiteX108" fmla="*/ 2197100 w 3044825"/>
                <a:gd name="connsiteY108" fmla="*/ 638175 h 974725"/>
                <a:gd name="connsiteX109" fmla="*/ 2222500 w 3044825"/>
                <a:gd name="connsiteY109" fmla="*/ 644525 h 974725"/>
                <a:gd name="connsiteX110" fmla="*/ 2247900 w 3044825"/>
                <a:gd name="connsiteY110" fmla="*/ 647700 h 974725"/>
                <a:gd name="connsiteX111" fmla="*/ 2266950 w 3044825"/>
                <a:gd name="connsiteY111" fmla="*/ 650875 h 974725"/>
                <a:gd name="connsiteX112" fmla="*/ 2317750 w 3044825"/>
                <a:gd name="connsiteY112" fmla="*/ 654050 h 974725"/>
                <a:gd name="connsiteX113" fmla="*/ 2333625 w 3044825"/>
                <a:gd name="connsiteY113" fmla="*/ 669925 h 974725"/>
                <a:gd name="connsiteX114" fmla="*/ 2346325 w 3044825"/>
                <a:gd name="connsiteY114" fmla="*/ 695325 h 974725"/>
                <a:gd name="connsiteX115" fmla="*/ 2359025 w 3044825"/>
                <a:gd name="connsiteY115" fmla="*/ 714375 h 974725"/>
                <a:gd name="connsiteX116" fmla="*/ 2365375 w 3044825"/>
                <a:gd name="connsiteY116" fmla="*/ 723900 h 974725"/>
                <a:gd name="connsiteX117" fmla="*/ 2374900 w 3044825"/>
                <a:gd name="connsiteY117" fmla="*/ 733425 h 974725"/>
                <a:gd name="connsiteX118" fmla="*/ 2381250 w 3044825"/>
                <a:gd name="connsiteY118" fmla="*/ 742950 h 974725"/>
                <a:gd name="connsiteX119" fmla="*/ 2390775 w 3044825"/>
                <a:gd name="connsiteY119" fmla="*/ 749300 h 974725"/>
                <a:gd name="connsiteX120" fmla="*/ 2413000 w 3044825"/>
                <a:gd name="connsiteY120" fmla="*/ 771525 h 974725"/>
                <a:gd name="connsiteX121" fmla="*/ 2419350 w 3044825"/>
                <a:gd name="connsiteY121" fmla="*/ 781050 h 974725"/>
                <a:gd name="connsiteX122" fmla="*/ 2428875 w 3044825"/>
                <a:gd name="connsiteY122" fmla="*/ 787400 h 974725"/>
                <a:gd name="connsiteX123" fmla="*/ 2444750 w 3044825"/>
                <a:gd name="connsiteY123" fmla="*/ 806450 h 974725"/>
                <a:gd name="connsiteX124" fmla="*/ 2454275 w 3044825"/>
                <a:gd name="connsiteY124" fmla="*/ 812800 h 974725"/>
                <a:gd name="connsiteX125" fmla="*/ 2470150 w 3044825"/>
                <a:gd name="connsiteY125" fmla="*/ 828675 h 974725"/>
                <a:gd name="connsiteX126" fmla="*/ 2486025 w 3044825"/>
                <a:gd name="connsiteY126" fmla="*/ 844550 h 974725"/>
                <a:gd name="connsiteX127" fmla="*/ 2501900 w 3044825"/>
                <a:gd name="connsiteY127" fmla="*/ 863600 h 974725"/>
                <a:gd name="connsiteX128" fmla="*/ 2517775 w 3044825"/>
                <a:gd name="connsiteY128" fmla="*/ 879475 h 974725"/>
                <a:gd name="connsiteX129" fmla="*/ 2520950 w 3044825"/>
                <a:gd name="connsiteY129" fmla="*/ 889000 h 974725"/>
                <a:gd name="connsiteX130" fmla="*/ 2536825 w 3044825"/>
                <a:gd name="connsiteY130" fmla="*/ 908050 h 974725"/>
                <a:gd name="connsiteX131" fmla="*/ 2540000 w 3044825"/>
                <a:gd name="connsiteY131" fmla="*/ 917575 h 974725"/>
                <a:gd name="connsiteX132" fmla="*/ 2559050 w 3044825"/>
                <a:gd name="connsiteY132" fmla="*/ 930275 h 974725"/>
                <a:gd name="connsiteX133" fmla="*/ 2578100 w 3044825"/>
                <a:gd name="connsiteY133" fmla="*/ 939800 h 974725"/>
                <a:gd name="connsiteX134" fmla="*/ 2606675 w 3044825"/>
                <a:gd name="connsiteY134" fmla="*/ 962025 h 974725"/>
                <a:gd name="connsiteX135" fmla="*/ 2616200 w 3044825"/>
                <a:gd name="connsiteY135" fmla="*/ 968375 h 974725"/>
                <a:gd name="connsiteX136" fmla="*/ 2625725 w 3044825"/>
                <a:gd name="connsiteY136" fmla="*/ 974725 h 974725"/>
                <a:gd name="connsiteX137" fmla="*/ 2705100 w 3044825"/>
                <a:gd name="connsiteY137" fmla="*/ 958850 h 974725"/>
                <a:gd name="connsiteX138" fmla="*/ 2705100 w 3044825"/>
                <a:gd name="connsiteY138" fmla="*/ 958850 h 974725"/>
                <a:gd name="connsiteX139" fmla="*/ 2724150 w 3044825"/>
                <a:gd name="connsiteY139" fmla="*/ 952500 h 974725"/>
                <a:gd name="connsiteX140" fmla="*/ 2762250 w 3044825"/>
                <a:gd name="connsiteY140" fmla="*/ 923925 h 974725"/>
                <a:gd name="connsiteX141" fmla="*/ 2771775 w 3044825"/>
                <a:gd name="connsiteY141" fmla="*/ 914400 h 974725"/>
                <a:gd name="connsiteX142" fmla="*/ 2784475 w 3044825"/>
                <a:gd name="connsiteY142" fmla="*/ 895350 h 974725"/>
                <a:gd name="connsiteX143" fmla="*/ 2794000 w 3044825"/>
                <a:gd name="connsiteY143" fmla="*/ 885825 h 974725"/>
                <a:gd name="connsiteX144" fmla="*/ 2813050 w 3044825"/>
                <a:gd name="connsiteY144" fmla="*/ 869950 h 974725"/>
                <a:gd name="connsiteX145" fmla="*/ 2825750 w 3044825"/>
                <a:gd name="connsiteY145" fmla="*/ 854075 h 974725"/>
                <a:gd name="connsiteX146" fmla="*/ 2841625 w 3044825"/>
                <a:gd name="connsiteY146" fmla="*/ 838200 h 974725"/>
                <a:gd name="connsiteX147" fmla="*/ 2863850 w 3044825"/>
                <a:gd name="connsiteY147" fmla="*/ 822325 h 974725"/>
                <a:gd name="connsiteX148" fmla="*/ 2882900 w 3044825"/>
                <a:gd name="connsiteY148" fmla="*/ 815975 h 974725"/>
                <a:gd name="connsiteX149" fmla="*/ 2905125 w 3044825"/>
                <a:gd name="connsiteY149" fmla="*/ 809625 h 974725"/>
                <a:gd name="connsiteX150" fmla="*/ 2921000 w 3044825"/>
                <a:gd name="connsiteY150" fmla="*/ 806450 h 974725"/>
                <a:gd name="connsiteX151" fmla="*/ 2930525 w 3044825"/>
                <a:gd name="connsiteY151" fmla="*/ 803275 h 974725"/>
                <a:gd name="connsiteX152" fmla="*/ 2943225 w 3044825"/>
                <a:gd name="connsiteY152" fmla="*/ 800100 h 974725"/>
                <a:gd name="connsiteX153" fmla="*/ 2955925 w 3044825"/>
                <a:gd name="connsiteY153" fmla="*/ 793750 h 974725"/>
                <a:gd name="connsiteX154" fmla="*/ 2965450 w 3044825"/>
                <a:gd name="connsiteY154" fmla="*/ 790575 h 974725"/>
                <a:gd name="connsiteX155" fmla="*/ 2974975 w 3044825"/>
                <a:gd name="connsiteY155" fmla="*/ 781050 h 974725"/>
                <a:gd name="connsiteX156" fmla="*/ 2984500 w 3044825"/>
                <a:gd name="connsiteY156" fmla="*/ 774700 h 974725"/>
                <a:gd name="connsiteX157" fmla="*/ 2987675 w 3044825"/>
                <a:gd name="connsiteY157" fmla="*/ 765175 h 974725"/>
                <a:gd name="connsiteX158" fmla="*/ 2997200 w 3044825"/>
                <a:gd name="connsiteY158" fmla="*/ 755650 h 974725"/>
                <a:gd name="connsiteX159" fmla="*/ 3006725 w 3044825"/>
                <a:gd name="connsiteY159" fmla="*/ 698500 h 974725"/>
                <a:gd name="connsiteX160" fmla="*/ 3013075 w 3044825"/>
                <a:gd name="connsiteY160" fmla="*/ 688975 h 974725"/>
                <a:gd name="connsiteX161" fmla="*/ 3032125 w 3044825"/>
                <a:gd name="connsiteY161" fmla="*/ 676275 h 974725"/>
                <a:gd name="connsiteX162" fmla="*/ 3044825 w 3044825"/>
                <a:gd name="connsiteY162" fmla="*/ 673100 h 974725"/>
                <a:gd name="connsiteX0" fmla="*/ 0 w 3044825"/>
                <a:gd name="connsiteY0" fmla="*/ 0 h 974725"/>
                <a:gd name="connsiteX1" fmla="*/ 0 w 3044825"/>
                <a:gd name="connsiteY1" fmla="*/ 0 h 974725"/>
                <a:gd name="connsiteX2" fmla="*/ 22225 w 3044825"/>
                <a:gd name="connsiteY2" fmla="*/ 19050 h 974725"/>
                <a:gd name="connsiteX3" fmla="*/ 38100 w 3044825"/>
                <a:gd name="connsiteY3" fmla="*/ 38100 h 974725"/>
                <a:gd name="connsiteX4" fmla="*/ 53975 w 3044825"/>
                <a:gd name="connsiteY4" fmla="*/ 53975 h 974725"/>
                <a:gd name="connsiteX5" fmla="*/ 69850 w 3044825"/>
                <a:gd name="connsiteY5" fmla="*/ 66675 h 974725"/>
                <a:gd name="connsiteX6" fmla="*/ 95250 w 3044825"/>
                <a:gd name="connsiteY6" fmla="*/ 79375 h 974725"/>
                <a:gd name="connsiteX7" fmla="*/ 114300 w 3044825"/>
                <a:gd name="connsiteY7" fmla="*/ 92075 h 974725"/>
                <a:gd name="connsiteX8" fmla="*/ 123825 w 3044825"/>
                <a:gd name="connsiteY8" fmla="*/ 95250 h 974725"/>
                <a:gd name="connsiteX9" fmla="*/ 146050 w 3044825"/>
                <a:gd name="connsiteY9" fmla="*/ 111125 h 974725"/>
                <a:gd name="connsiteX10" fmla="*/ 155575 w 3044825"/>
                <a:gd name="connsiteY10" fmla="*/ 114300 h 974725"/>
                <a:gd name="connsiteX11" fmla="*/ 180975 w 3044825"/>
                <a:gd name="connsiteY11" fmla="*/ 123825 h 974725"/>
                <a:gd name="connsiteX12" fmla="*/ 200025 w 3044825"/>
                <a:gd name="connsiteY12" fmla="*/ 130175 h 974725"/>
                <a:gd name="connsiteX13" fmla="*/ 212725 w 3044825"/>
                <a:gd name="connsiteY13" fmla="*/ 133350 h 974725"/>
                <a:gd name="connsiteX14" fmla="*/ 231775 w 3044825"/>
                <a:gd name="connsiteY14" fmla="*/ 139700 h 974725"/>
                <a:gd name="connsiteX15" fmla="*/ 250825 w 3044825"/>
                <a:gd name="connsiteY15" fmla="*/ 142875 h 974725"/>
                <a:gd name="connsiteX16" fmla="*/ 279400 w 3044825"/>
                <a:gd name="connsiteY16" fmla="*/ 152400 h 974725"/>
                <a:gd name="connsiteX17" fmla="*/ 298450 w 3044825"/>
                <a:gd name="connsiteY17" fmla="*/ 155575 h 974725"/>
                <a:gd name="connsiteX18" fmla="*/ 317500 w 3044825"/>
                <a:gd name="connsiteY18" fmla="*/ 161925 h 974725"/>
                <a:gd name="connsiteX19" fmla="*/ 327025 w 3044825"/>
                <a:gd name="connsiteY19" fmla="*/ 165100 h 974725"/>
                <a:gd name="connsiteX20" fmla="*/ 336550 w 3044825"/>
                <a:gd name="connsiteY20" fmla="*/ 171450 h 974725"/>
                <a:gd name="connsiteX21" fmla="*/ 346075 w 3044825"/>
                <a:gd name="connsiteY21" fmla="*/ 180975 h 974725"/>
                <a:gd name="connsiteX22" fmla="*/ 355600 w 3044825"/>
                <a:gd name="connsiteY22" fmla="*/ 184150 h 974725"/>
                <a:gd name="connsiteX23" fmla="*/ 377825 w 3044825"/>
                <a:gd name="connsiteY23" fmla="*/ 196850 h 974725"/>
                <a:gd name="connsiteX24" fmla="*/ 396875 w 3044825"/>
                <a:gd name="connsiteY24" fmla="*/ 212725 h 974725"/>
                <a:gd name="connsiteX25" fmla="*/ 409575 w 3044825"/>
                <a:gd name="connsiteY25" fmla="*/ 219075 h 974725"/>
                <a:gd name="connsiteX26" fmla="*/ 428625 w 3044825"/>
                <a:gd name="connsiteY26" fmla="*/ 231775 h 974725"/>
                <a:gd name="connsiteX27" fmla="*/ 447675 w 3044825"/>
                <a:gd name="connsiteY27" fmla="*/ 244475 h 974725"/>
                <a:gd name="connsiteX28" fmla="*/ 466725 w 3044825"/>
                <a:gd name="connsiteY28" fmla="*/ 257175 h 974725"/>
                <a:gd name="connsiteX29" fmla="*/ 476250 w 3044825"/>
                <a:gd name="connsiteY29" fmla="*/ 263525 h 974725"/>
                <a:gd name="connsiteX30" fmla="*/ 495300 w 3044825"/>
                <a:gd name="connsiteY30" fmla="*/ 279400 h 974725"/>
                <a:gd name="connsiteX31" fmla="*/ 504825 w 3044825"/>
                <a:gd name="connsiteY31" fmla="*/ 282575 h 974725"/>
                <a:gd name="connsiteX32" fmla="*/ 514350 w 3044825"/>
                <a:gd name="connsiteY32" fmla="*/ 288925 h 974725"/>
                <a:gd name="connsiteX33" fmla="*/ 533400 w 3044825"/>
                <a:gd name="connsiteY33" fmla="*/ 298450 h 974725"/>
                <a:gd name="connsiteX34" fmla="*/ 549275 w 3044825"/>
                <a:gd name="connsiteY34" fmla="*/ 282575 h 974725"/>
                <a:gd name="connsiteX35" fmla="*/ 558800 w 3044825"/>
                <a:gd name="connsiteY35" fmla="*/ 279400 h 974725"/>
                <a:gd name="connsiteX36" fmla="*/ 590550 w 3044825"/>
                <a:gd name="connsiteY36" fmla="*/ 276225 h 974725"/>
                <a:gd name="connsiteX37" fmla="*/ 603250 w 3044825"/>
                <a:gd name="connsiteY37" fmla="*/ 234950 h 974725"/>
                <a:gd name="connsiteX38" fmla="*/ 622300 w 3044825"/>
                <a:gd name="connsiteY38" fmla="*/ 225425 h 974725"/>
                <a:gd name="connsiteX39" fmla="*/ 638175 w 3044825"/>
                <a:gd name="connsiteY39" fmla="*/ 209550 h 974725"/>
                <a:gd name="connsiteX40" fmla="*/ 657225 w 3044825"/>
                <a:gd name="connsiteY40" fmla="*/ 203200 h 974725"/>
                <a:gd name="connsiteX41" fmla="*/ 676275 w 3044825"/>
                <a:gd name="connsiteY41" fmla="*/ 190500 h 974725"/>
                <a:gd name="connsiteX42" fmla="*/ 685800 w 3044825"/>
                <a:gd name="connsiteY42" fmla="*/ 180975 h 974725"/>
                <a:gd name="connsiteX43" fmla="*/ 711200 w 3044825"/>
                <a:gd name="connsiteY43" fmla="*/ 174625 h 974725"/>
                <a:gd name="connsiteX44" fmla="*/ 736600 w 3044825"/>
                <a:gd name="connsiteY44" fmla="*/ 177800 h 974725"/>
                <a:gd name="connsiteX45" fmla="*/ 752475 w 3044825"/>
                <a:gd name="connsiteY45" fmla="*/ 193675 h 974725"/>
                <a:gd name="connsiteX46" fmla="*/ 762000 w 3044825"/>
                <a:gd name="connsiteY46" fmla="*/ 196850 h 974725"/>
                <a:gd name="connsiteX47" fmla="*/ 873125 w 3044825"/>
                <a:gd name="connsiteY47" fmla="*/ 193675 h 974725"/>
                <a:gd name="connsiteX48" fmla="*/ 908050 w 3044825"/>
                <a:gd name="connsiteY48" fmla="*/ 196850 h 974725"/>
                <a:gd name="connsiteX49" fmla="*/ 927100 w 3044825"/>
                <a:gd name="connsiteY49" fmla="*/ 215900 h 974725"/>
                <a:gd name="connsiteX50" fmla="*/ 936625 w 3044825"/>
                <a:gd name="connsiteY50" fmla="*/ 225425 h 974725"/>
                <a:gd name="connsiteX51" fmla="*/ 946150 w 3044825"/>
                <a:gd name="connsiteY51" fmla="*/ 234950 h 974725"/>
                <a:gd name="connsiteX52" fmla="*/ 955675 w 3044825"/>
                <a:gd name="connsiteY52" fmla="*/ 241300 h 974725"/>
                <a:gd name="connsiteX53" fmla="*/ 1162050 w 3044825"/>
                <a:gd name="connsiteY53" fmla="*/ 244475 h 974725"/>
                <a:gd name="connsiteX54" fmla="*/ 1184275 w 3044825"/>
                <a:gd name="connsiteY54" fmla="*/ 266700 h 974725"/>
                <a:gd name="connsiteX55" fmla="*/ 1196975 w 3044825"/>
                <a:gd name="connsiteY55" fmla="*/ 285750 h 974725"/>
                <a:gd name="connsiteX56" fmla="*/ 1206500 w 3044825"/>
                <a:gd name="connsiteY56" fmla="*/ 292100 h 974725"/>
                <a:gd name="connsiteX57" fmla="*/ 1225550 w 3044825"/>
                <a:gd name="connsiteY57" fmla="*/ 307975 h 974725"/>
                <a:gd name="connsiteX58" fmla="*/ 1257300 w 3044825"/>
                <a:gd name="connsiteY58" fmla="*/ 301625 h 974725"/>
                <a:gd name="connsiteX59" fmla="*/ 1266825 w 3044825"/>
                <a:gd name="connsiteY59" fmla="*/ 295275 h 974725"/>
                <a:gd name="connsiteX60" fmla="*/ 1295400 w 3044825"/>
                <a:gd name="connsiteY60" fmla="*/ 292100 h 974725"/>
                <a:gd name="connsiteX61" fmla="*/ 1320800 w 3044825"/>
                <a:gd name="connsiteY61" fmla="*/ 276225 h 974725"/>
                <a:gd name="connsiteX62" fmla="*/ 1339850 w 3044825"/>
                <a:gd name="connsiteY62" fmla="*/ 273050 h 974725"/>
                <a:gd name="connsiteX63" fmla="*/ 1346200 w 3044825"/>
                <a:gd name="connsiteY63" fmla="*/ 263525 h 974725"/>
                <a:gd name="connsiteX64" fmla="*/ 1368425 w 3044825"/>
                <a:gd name="connsiteY64" fmla="*/ 254000 h 974725"/>
                <a:gd name="connsiteX65" fmla="*/ 1377950 w 3044825"/>
                <a:gd name="connsiteY65" fmla="*/ 247650 h 974725"/>
                <a:gd name="connsiteX66" fmla="*/ 1387475 w 3044825"/>
                <a:gd name="connsiteY66" fmla="*/ 244475 h 974725"/>
                <a:gd name="connsiteX67" fmla="*/ 1409700 w 3044825"/>
                <a:gd name="connsiteY67" fmla="*/ 228600 h 974725"/>
                <a:gd name="connsiteX68" fmla="*/ 1425575 w 3044825"/>
                <a:gd name="connsiteY68" fmla="*/ 225425 h 974725"/>
                <a:gd name="connsiteX69" fmla="*/ 1435100 w 3044825"/>
                <a:gd name="connsiteY69" fmla="*/ 222250 h 974725"/>
                <a:gd name="connsiteX70" fmla="*/ 1447800 w 3044825"/>
                <a:gd name="connsiteY70" fmla="*/ 219075 h 974725"/>
                <a:gd name="connsiteX71" fmla="*/ 1470025 w 3044825"/>
                <a:gd name="connsiteY71" fmla="*/ 209550 h 974725"/>
                <a:gd name="connsiteX72" fmla="*/ 1479550 w 3044825"/>
                <a:gd name="connsiteY72" fmla="*/ 206375 h 974725"/>
                <a:gd name="connsiteX73" fmla="*/ 1508125 w 3044825"/>
                <a:gd name="connsiteY73" fmla="*/ 190500 h 974725"/>
                <a:gd name="connsiteX74" fmla="*/ 1527175 w 3044825"/>
                <a:gd name="connsiteY74" fmla="*/ 180975 h 974725"/>
                <a:gd name="connsiteX75" fmla="*/ 1539875 w 3044825"/>
                <a:gd name="connsiteY75" fmla="*/ 184150 h 974725"/>
                <a:gd name="connsiteX76" fmla="*/ 1558925 w 3044825"/>
                <a:gd name="connsiteY76" fmla="*/ 190500 h 974725"/>
                <a:gd name="connsiteX77" fmla="*/ 1568450 w 3044825"/>
                <a:gd name="connsiteY77" fmla="*/ 196850 h 974725"/>
                <a:gd name="connsiteX78" fmla="*/ 1600200 w 3044825"/>
                <a:gd name="connsiteY78" fmla="*/ 203200 h 974725"/>
                <a:gd name="connsiteX79" fmla="*/ 1657350 w 3044825"/>
                <a:gd name="connsiteY79" fmla="*/ 212725 h 974725"/>
                <a:gd name="connsiteX80" fmla="*/ 1695450 w 3044825"/>
                <a:gd name="connsiteY80" fmla="*/ 238125 h 974725"/>
                <a:gd name="connsiteX81" fmla="*/ 1708150 w 3044825"/>
                <a:gd name="connsiteY81" fmla="*/ 247650 h 974725"/>
                <a:gd name="connsiteX82" fmla="*/ 1711325 w 3044825"/>
                <a:gd name="connsiteY82" fmla="*/ 266700 h 974725"/>
                <a:gd name="connsiteX83" fmla="*/ 1724025 w 3044825"/>
                <a:gd name="connsiteY83" fmla="*/ 273050 h 974725"/>
                <a:gd name="connsiteX84" fmla="*/ 1743075 w 3044825"/>
                <a:gd name="connsiteY84" fmla="*/ 279400 h 974725"/>
                <a:gd name="connsiteX85" fmla="*/ 1752600 w 3044825"/>
                <a:gd name="connsiteY85" fmla="*/ 282575 h 974725"/>
                <a:gd name="connsiteX86" fmla="*/ 1774825 w 3044825"/>
                <a:gd name="connsiteY86" fmla="*/ 288925 h 974725"/>
                <a:gd name="connsiteX87" fmla="*/ 1793875 w 3044825"/>
                <a:gd name="connsiteY87" fmla="*/ 301625 h 974725"/>
                <a:gd name="connsiteX88" fmla="*/ 1797050 w 3044825"/>
                <a:gd name="connsiteY88" fmla="*/ 317500 h 974725"/>
                <a:gd name="connsiteX89" fmla="*/ 1920875 w 3044825"/>
                <a:gd name="connsiteY89" fmla="*/ 374650 h 974725"/>
                <a:gd name="connsiteX90" fmla="*/ 1968500 w 3044825"/>
                <a:gd name="connsiteY90" fmla="*/ 381000 h 974725"/>
                <a:gd name="connsiteX91" fmla="*/ 1987550 w 3044825"/>
                <a:gd name="connsiteY91" fmla="*/ 393700 h 974725"/>
                <a:gd name="connsiteX92" fmla="*/ 1997075 w 3044825"/>
                <a:gd name="connsiteY92" fmla="*/ 412750 h 974725"/>
                <a:gd name="connsiteX93" fmla="*/ 2003425 w 3044825"/>
                <a:gd name="connsiteY93" fmla="*/ 422275 h 974725"/>
                <a:gd name="connsiteX94" fmla="*/ 2006600 w 3044825"/>
                <a:gd name="connsiteY94" fmla="*/ 431800 h 974725"/>
                <a:gd name="connsiteX95" fmla="*/ 2019300 w 3044825"/>
                <a:gd name="connsiteY95" fmla="*/ 460375 h 974725"/>
                <a:gd name="connsiteX96" fmla="*/ 2032000 w 3044825"/>
                <a:gd name="connsiteY96" fmla="*/ 479425 h 974725"/>
                <a:gd name="connsiteX97" fmla="*/ 2063750 w 3044825"/>
                <a:gd name="connsiteY97" fmla="*/ 511175 h 974725"/>
                <a:gd name="connsiteX98" fmla="*/ 2073275 w 3044825"/>
                <a:gd name="connsiteY98" fmla="*/ 520700 h 974725"/>
                <a:gd name="connsiteX99" fmla="*/ 2095500 w 3044825"/>
                <a:gd name="connsiteY99" fmla="*/ 546100 h 974725"/>
                <a:gd name="connsiteX100" fmla="*/ 2101850 w 3044825"/>
                <a:gd name="connsiteY100" fmla="*/ 555625 h 974725"/>
                <a:gd name="connsiteX101" fmla="*/ 2111375 w 3044825"/>
                <a:gd name="connsiteY101" fmla="*/ 561975 h 974725"/>
                <a:gd name="connsiteX102" fmla="*/ 2114550 w 3044825"/>
                <a:gd name="connsiteY102" fmla="*/ 571500 h 974725"/>
                <a:gd name="connsiteX103" fmla="*/ 2124075 w 3044825"/>
                <a:gd name="connsiteY103" fmla="*/ 581025 h 974725"/>
                <a:gd name="connsiteX104" fmla="*/ 2146300 w 3044825"/>
                <a:gd name="connsiteY104" fmla="*/ 596900 h 974725"/>
                <a:gd name="connsiteX105" fmla="*/ 2155825 w 3044825"/>
                <a:gd name="connsiteY105" fmla="*/ 600075 h 974725"/>
                <a:gd name="connsiteX106" fmla="*/ 2171700 w 3044825"/>
                <a:gd name="connsiteY106" fmla="*/ 619125 h 974725"/>
                <a:gd name="connsiteX107" fmla="*/ 2178050 w 3044825"/>
                <a:gd name="connsiteY107" fmla="*/ 628650 h 974725"/>
                <a:gd name="connsiteX108" fmla="*/ 2197100 w 3044825"/>
                <a:gd name="connsiteY108" fmla="*/ 638175 h 974725"/>
                <a:gd name="connsiteX109" fmla="*/ 2222500 w 3044825"/>
                <a:gd name="connsiteY109" fmla="*/ 644525 h 974725"/>
                <a:gd name="connsiteX110" fmla="*/ 2247900 w 3044825"/>
                <a:gd name="connsiteY110" fmla="*/ 647700 h 974725"/>
                <a:gd name="connsiteX111" fmla="*/ 2266950 w 3044825"/>
                <a:gd name="connsiteY111" fmla="*/ 650875 h 974725"/>
                <a:gd name="connsiteX112" fmla="*/ 2317750 w 3044825"/>
                <a:gd name="connsiteY112" fmla="*/ 654050 h 974725"/>
                <a:gd name="connsiteX113" fmla="*/ 2333625 w 3044825"/>
                <a:gd name="connsiteY113" fmla="*/ 669925 h 974725"/>
                <a:gd name="connsiteX114" fmla="*/ 2346325 w 3044825"/>
                <a:gd name="connsiteY114" fmla="*/ 695325 h 974725"/>
                <a:gd name="connsiteX115" fmla="*/ 2359025 w 3044825"/>
                <a:gd name="connsiteY115" fmla="*/ 714375 h 974725"/>
                <a:gd name="connsiteX116" fmla="*/ 2365375 w 3044825"/>
                <a:gd name="connsiteY116" fmla="*/ 723900 h 974725"/>
                <a:gd name="connsiteX117" fmla="*/ 2374900 w 3044825"/>
                <a:gd name="connsiteY117" fmla="*/ 733425 h 974725"/>
                <a:gd name="connsiteX118" fmla="*/ 2381250 w 3044825"/>
                <a:gd name="connsiteY118" fmla="*/ 742950 h 974725"/>
                <a:gd name="connsiteX119" fmla="*/ 2390775 w 3044825"/>
                <a:gd name="connsiteY119" fmla="*/ 749300 h 974725"/>
                <a:gd name="connsiteX120" fmla="*/ 2413000 w 3044825"/>
                <a:gd name="connsiteY120" fmla="*/ 771525 h 974725"/>
                <a:gd name="connsiteX121" fmla="*/ 2419350 w 3044825"/>
                <a:gd name="connsiteY121" fmla="*/ 781050 h 974725"/>
                <a:gd name="connsiteX122" fmla="*/ 2428875 w 3044825"/>
                <a:gd name="connsiteY122" fmla="*/ 787400 h 974725"/>
                <a:gd name="connsiteX123" fmla="*/ 2444750 w 3044825"/>
                <a:gd name="connsiteY123" fmla="*/ 806450 h 974725"/>
                <a:gd name="connsiteX124" fmla="*/ 2454275 w 3044825"/>
                <a:gd name="connsiteY124" fmla="*/ 812800 h 974725"/>
                <a:gd name="connsiteX125" fmla="*/ 2470150 w 3044825"/>
                <a:gd name="connsiteY125" fmla="*/ 828675 h 974725"/>
                <a:gd name="connsiteX126" fmla="*/ 2486025 w 3044825"/>
                <a:gd name="connsiteY126" fmla="*/ 844550 h 974725"/>
                <a:gd name="connsiteX127" fmla="*/ 2501900 w 3044825"/>
                <a:gd name="connsiteY127" fmla="*/ 863600 h 974725"/>
                <a:gd name="connsiteX128" fmla="*/ 2517775 w 3044825"/>
                <a:gd name="connsiteY128" fmla="*/ 879475 h 974725"/>
                <a:gd name="connsiteX129" fmla="*/ 2520950 w 3044825"/>
                <a:gd name="connsiteY129" fmla="*/ 889000 h 974725"/>
                <a:gd name="connsiteX130" fmla="*/ 2536825 w 3044825"/>
                <a:gd name="connsiteY130" fmla="*/ 908050 h 974725"/>
                <a:gd name="connsiteX131" fmla="*/ 2540000 w 3044825"/>
                <a:gd name="connsiteY131" fmla="*/ 917575 h 974725"/>
                <a:gd name="connsiteX132" fmla="*/ 2559050 w 3044825"/>
                <a:gd name="connsiteY132" fmla="*/ 930275 h 974725"/>
                <a:gd name="connsiteX133" fmla="*/ 2578100 w 3044825"/>
                <a:gd name="connsiteY133" fmla="*/ 939800 h 974725"/>
                <a:gd name="connsiteX134" fmla="*/ 2606675 w 3044825"/>
                <a:gd name="connsiteY134" fmla="*/ 962025 h 974725"/>
                <a:gd name="connsiteX135" fmla="*/ 2616200 w 3044825"/>
                <a:gd name="connsiteY135" fmla="*/ 968375 h 974725"/>
                <a:gd name="connsiteX136" fmla="*/ 2625725 w 3044825"/>
                <a:gd name="connsiteY136" fmla="*/ 974725 h 974725"/>
                <a:gd name="connsiteX137" fmla="*/ 2705100 w 3044825"/>
                <a:gd name="connsiteY137" fmla="*/ 958850 h 974725"/>
                <a:gd name="connsiteX138" fmla="*/ 2705100 w 3044825"/>
                <a:gd name="connsiteY138" fmla="*/ 958850 h 974725"/>
                <a:gd name="connsiteX139" fmla="*/ 2724150 w 3044825"/>
                <a:gd name="connsiteY139" fmla="*/ 952500 h 974725"/>
                <a:gd name="connsiteX140" fmla="*/ 2771775 w 3044825"/>
                <a:gd name="connsiteY140" fmla="*/ 914400 h 974725"/>
                <a:gd name="connsiteX141" fmla="*/ 2784475 w 3044825"/>
                <a:gd name="connsiteY141" fmla="*/ 895350 h 974725"/>
                <a:gd name="connsiteX142" fmla="*/ 2794000 w 3044825"/>
                <a:gd name="connsiteY142" fmla="*/ 885825 h 974725"/>
                <a:gd name="connsiteX143" fmla="*/ 2813050 w 3044825"/>
                <a:gd name="connsiteY143" fmla="*/ 869950 h 974725"/>
                <a:gd name="connsiteX144" fmla="*/ 2825750 w 3044825"/>
                <a:gd name="connsiteY144" fmla="*/ 854075 h 974725"/>
                <a:gd name="connsiteX145" fmla="*/ 2841625 w 3044825"/>
                <a:gd name="connsiteY145" fmla="*/ 838200 h 974725"/>
                <a:gd name="connsiteX146" fmla="*/ 2863850 w 3044825"/>
                <a:gd name="connsiteY146" fmla="*/ 822325 h 974725"/>
                <a:gd name="connsiteX147" fmla="*/ 2882900 w 3044825"/>
                <a:gd name="connsiteY147" fmla="*/ 815975 h 974725"/>
                <a:gd name="connsiteX148" fmla="*/ 2905125 w 3044825"/>
                <a:gd name="connsiteY148" fmla="*/ 809625 h 974725"/>
                <a:gd name="connsiteX149" fmla="*/ 2921000 w 3044825"/>
                <a:gd name="connsiteY149" fmla="*/ 806450 h 974725"/>
                <a:gd name="connsiteX150" fmla="*/ 2930525 w 3044825"/>
                <a:gd name="connsiteY150" fmla="*/ 803275 h 974725"/>
                <a:gd name="connsiteX151" fmla="*/ 2943225 w 3044825"/>
                <a:gd name="connsiteY151" fmla="*/ 800100 h 974725"/>
                <a:gd name="connsiteX152" fmla="*/ 2955925 w 3044825"/>
                <a:gd name="connsiteY152" fmla="*/ 793750 h 974725"/>
                <a:gd name="connsiteX153" fmla="*/ 2965450 w 3044825"/>
                <a:gd name="connsiteY153" fmla="*/ 790575 h 974725"/>
                <a:gd name="connsiteX154" fmla="*/ 2974975 w 3044825"/>
                <a:gd name="connsiteY154" fmla="*/ 781050 h 974725"/>
                <a:gd name="connsiteX155" fmla="*/ 2984500 w 3044825"/>
                <a:gd name="connsiteY155" fmla="*/ 774700 h 974725"/>
                <a:gd name="connsiteX156" fmla="*/ 2987675 w 3044825"/>
                <a:gd name="connsiteY156" fmla="*/ 765175 h 974725"/>
                <a:gd name="connsiteX157" fmla="*/ 2997200 w 3044825"/>
                <a:gd name="connsiteY157" fmla="*/ 755650 h 974725"/>
                <a:gd name="connsiteX158" fmla="*/ 3006725 w 3044825"/>
                <a:gd name="connsiteY158" fmla="*/ 698500 h 974725"/>
                <a:gd name="connsiteX159" fmla="*/ 3013075 w 3044825"/>
                <a:gd name="connsiteY159" fmla="*/ 688975 h 974725"/>
                <a:gd name="connsiteX160" fmla="*/ 3032125 w 3044825"/>
                <a:gd name="connsiteY160" fmla="*/ 676275 h 974725"/>
                <a:gd name="connsiteX161" fmla="*/ 3044825 w 3044825"/>
                <a:gd name="connsiteY161" fmla="*/ 673100 h 974725"/>
                <a:gd name="connsiteX0" fmla="*/ 0 w 3044825"/>
                <a:gd name="connsiteY0" fmla="*/ 0 h 974725"/>
                <a:gd name="connsiteX1" fmla="*/ 0 w 3044825"/>
                <a:gd name="connsiteY1" fmla="*/ 0 h 974725"/>
                <a:gd name="connsiteX2" fmla="*/ 22225 w 3044825"/>
                <a:gd name="connsiteY2" fmla="*/ 19050 h 974725"/>
                <a:gd name="connsiteX3" fmla="*/ 38100 w 3044825"/>
                <a:gd name="connsiteY3" fmla="*/ 38100 h 974725"/>
                <a:gd name="connsiteX4" fmla="*/ 53975 w 3044825"/>
                <a:gd name="connsiteY4" fmla="*/ 53975 h 974725"/>
                <a:gd name="connsiteX5" fmla="*/ 69850 w 3044825"/>
                <a:gd name="connsiteY5" fmla="*/ 66675 h 974725"/>
                <a:gd name="connsiteX6" fmla="*/ 95250 w 3044825"/>
                <a:gd name="connsiteY6" fmla="*/ 79375 h 974725"/>
                <a:gd name="connsiteX7" fmla="*/ 114300 w 3044825"/>
                <a:gd name="connsiteY7" fmla="*/ 92075 h 974725"/>
                <a:gd name="connsiteX8" fmla="*/ 123825 w 3044825"/>
                <a:gd name="connsiteY8" fmla="*/ 95250 h 974725"/>
                <a:gd name="connsiteX9" fmla="*/ 146050 w 3044825"/>
                <a:gd name="connsiteY9" fmla="*/ 111125 h 974725"/>
                <a:gd name="connsiteX10" fmla="*/ 155575 w 3044825"/>
                <a:gd name="connsiteY10" fmla="*/ 114300 h 974725"/>
                <a:gd name="connsiteX11" fmla="*/ 180975 w 3044825"/>
                <a:gd name="connsiteY11" fmla="*/ 123825 h 974725"/>
                <a:gd name="connsiteX12" fmla="*/ 200025 w 3044825"/>
                <a:gd name="connsiteY12" fmla="*/ 130175 h 974725"/>
                <a:gd name="connsiteX13" fmla="*/ 212725 w 3044825"/>
                <a:gd name="connsiteY13" fmla="*/ 133350 h 974725"/>
                <a:gd name="connsiteX14" fmla="*/ 231775 w 3044825"/>
                <a:gd name="connsiteY14" fmla="*/ 139700 h 974725"/>
                <a:gd name="connsiteX15" fmla="*/ 250825 w 3044825"/>
                <a:gd name="connsiteY15" fmla="*/ 142875 h 974725"/>
                <a:gd name="connsiteX16" fmla="*/ 279400 w 3044825"/>
                <a:gd name="connsiteY16" fmla="*/ 152400 h 974725"/>
                <a:gd name="connsiteX17" fmla="*/ 298450 w 3044825"/>
                <a:gd name="connsiteY17" fmla="*/ 155575 h 974725"/>
                <a:gd name="connsiteX18" fmla="*/ 317500 w 3044825"/>
                <a:gd name="connsiteY18" fmla="*/ 161925 h 974725"/>
                <a:gd name="connsiteX19" fmla="*/ 327025 w 3044825"/>
                <a:gd name="connsiteY19" fmla="*/ 165100 h 974725"/>
                <a:gd name="connsiteX20" fmla="*/ 336550 w 3044825"/>
                <a:gd name="connsiteY20" fmla="*/ 171450 h 974725"/>
                <a:gd name="connsiteX21" fmla="*/ 346075 w 3044825"/>
                <a:gd name="connsiteY21" fmla="*/ 180975 h 974725"/>
                <a:gd name="connsiteX22" fmla="*/ 355600 w 3044825"/>
                <a:gd name="connsiteY22" fmla="*/ 184150 h 974725"/>
                <a:gd name="connsiteX23" fmla="*/ 377825 w 3044825"/>
                <a:gd name="connsiteY23" fmla="*/ 196850 h 974725"/>
                <a:gd name="connsiteX24" fmla="*/ 396875 w 3044825"/>
                <a:gd name="connsiteY24" fmla="*/ 212725 h 974725"/>
                <a:gd name="connsiteX25" fmla="*/ 409575 w 3044825"/>
                <a:gd name="connsiteY25" fmla="*/ 219075 h 974725"/>
                <a:gd name="connsiteX26" fmla="*/ 428625 w 3044825"/>
                <a:gd name="connsiteY26" fmla="*/ 231775 h 974725"/>
                <a:gd name="connsiteX27" fmla="*/ 447675 w 3044825"/>
                <a:gd name="connsiteY27" fmla="*/ 244475 h 974725"/>
                <a:gd name="connsiteX28" fmla="*/ 466725 w 3044825"/>
                <a:gd name="connsiteY28" fmla="*/ 257175 h 974725"/>
                <a:gd name="connsiteX29" fmla="*/ 476250 w 3044825"/>
                <a:gd name="connsiteY29" fmla="*/ 263525 h 974725"/>
                <a:gd name="connsiteX30" fmla="*/ 495300 w 3044825"/>
                <a:gd name="connsiteY30" fmla="*/ 279400 h 974725"/>
                <a:gd name="connsiteX31" fmla="*/ 504825 w 3044825"/>
                <a:gd name="connsiteY31" fmla="*/ 282575 h 974725"/>
                <a:gd name="connsiteX32" fmla="*/ 514350 w 3044825"/>
                <a:gd name="connsiteY32" fmla="*/ 288925 h 974725"/>
                <a:gd name="connsiteX33" fmla="*/ 533400 w 3044825"/>
                <a:gd name="connsiteY33" fmla="*/ 298450 h 974725"/>
                <a:gd name="connsiteX34" fmla="*/ 549275 w 3044825"/>
                <a:gd name="connsiteY34" fmla="*/ 282575 h 974725"/>
                <a:gd name="connsiteX35" fmla="*/ 558800 w 3044825"/>
                <a:gd name="connsiteY35" fmla="*/ 279400 h 974725"/>
                <a:gd name="connsiteX36" fmla="*/ 590550 w 3044825"/>
                <a:gd name="connsiteY36" fmla="*/ 276225 h 974725"/>
                <a:gd name="connsiteX37" fmla="*/ 603250 w 3044825"/>
                <a:gd name="connsiteY37" fmla="*/ 234950 h 974725"/>
                <a:gd name="connsiteX38" fmla="*/ 622300 w 3044825"/>
                <a:gd name="connsiteY38" fmla="*/ 225425 h 974725"/>
                <a:gd name="connsiteX39" fmla="*/ 638175 w 3044825"/>
                <a:gd name="connsiteY39" fmla="*/ 209550 h 974725"/>
                <a:gd name="connsiteX40" fmla="*/ 657225 w 3044825"/>
                <a:gd name="connsiteY40" fmla="*/ 203200 h 974725"/>
                <a:gd name="connsiteX41" fmla="*/ 676275 w 3044825"/>
                <a:gd name="connsiteY41" fmla="*/ 190500 h 974725"/>
                <a:gd name="connsiteX42" fmla="*/ 685800 w 3044825"/>
                <a:gd name="connsiteY42" fmla="*/ 180975 h 974725"/>
                <a:gd name="connsiteX43" fmla="*/ 711200 w 3044825"/>
                <a:gd name="connsiteY43" fmla="*/ 174625 h 974725"/>
                <a:gd name="connsiteX44" fmla="*/ 736600 w 3044825"/>
                <a:gd name="connsiteY44" fmla="*/ 177800 h 974725"/>
                <a:gd name="connsiteX45" fmla="*/ 752475 w 3044825"/>
                <a:gd name="connsiteY45" fmla="*/ 193675 h 974725"/>
                <a:gd name="connsiteX46" fmla="*/ 762000 w 3044825"/>
                <a:gd name="connsiteY46" fmla="*/ 196850 h 974725"/>
                <a:gd name="connsiteX47" fmla="*/ 873125 w 3044825"/>
                <a:gd name="connsiteY47" fmla="*/ 193675 h 974725"/>
                <a:gd name="connsiteX48" fmla="*/ 908050 w 3044825"/>
                <a:gd name="connsiteY48" fmla="*/ 196850 h 974725"/>
                <a:gd name="connsiteX49" fmla="*/ 927100 w 3044825"/>
                <a:gd name="connsiteY49" fmla="*/ 215900 h 974725"/>
                <a:gd name="connsiteX50" fmla="*/ 936625 w 3044825"/>
                <a:gd name="connsiteY50" fmla="*/ 225425 h 974725"/>
                <a:gd name="connsiteX51" fmla="*/ 946150 w 3044825"/>
                <a:gd name="connsiteY51" fmla="*/ 234950 h 974725"/>
                <a:gd name="connsiteX52" fmla="*/ 955675 w 3044825"/>
                <a:gd name="connsiteY52" fmla="*/ 241300 h 974725"/>
                <a:gd name="connsiteX53" fmla="*/ 1162050 w 3044825"/>
                <a:gd name="connsiteY53" fmla="*/ 244475 h 974725"/>
                <a:gd name="connsiteX54" fmla="*/ 1184275 w 3044825"/>
                <a:gd name="connsiteY54" fmla="*/ 266700 h 974725"/>
                <a:gd name="connsiteX55" fmla="*/ 1196975 w 3044825"/>
                <a:gd name="connsiteY55" fmla="*/ 285750 h 974725"/>
                <a:gd name="connsiteX56" fmla="*/ 1206500 w 3044825"/>
                <a:gd name="connsiteY56" fmla="*/ 292100 h 974725"/>
                <a:gd name="connsiteX57" fmla="*/ 1225550 w 3044825"/>
                <a:gd name="connsiteY57" fmla="*/ 307975 h 974725"/>
                <a:gd name="connsiteX58" fmla="*/ 1257300 w 3044825"/>
                <a:gd name="connsiteY58" fmla="*/ 301625 h 974725"/>
                <a:gd name="connsiteX59" fmla="*/ 1266825 w 3044825"/>
                <a:gd name="connsiteY59" fmla="*/ 295275 h 974725"/>
                <a:gd name="connsiteX60" fmla="*/ 1295400 w 3044825"/>
                <a:gd name="connsiteY60" fmla="*/ 292100 h 974725"/>
                <a:gd name="connsiteX61" fmla="*/ 1320800 w 3044825"/>
                <a:gd name="connsiteY61" fmla="*/ 276225 h 974725"/>
                <a:gd name="connsiteX62" fmla="*/ 1339850 w 3044825"/>
                <a:gd name="connsiteY62" fmla="*/ 273050 h 974725"/>
                <a:gd name="connsiteX63" fmla="*/ 1346200 w 3044825"/>
                <a:gd name="connsiteY63" fmla="*/ 263525 h 974725"/>
                <a:gd name="connsiteX64" fmla="*/ 1368425 w 3044825"/>
                <a:gd name="connsiteY64" fmla="*/ 254000 h 974725"/>
                <a:gd name="connsiteX65" fmla="*/ 1377950 w 3044825"/>
                <a:gd name="connsiteY65" fmla="*/ 247650 h 974725"/>
                <a:gd name="connsiteX66" fmla="*/ 1387475 w 3044825"/>
                <a:gd name="connsiteY66" fmla="*/ 244475 h 974725"/>
                <a:gd name="connsiteX67" fmla="*/ 1409700 w 3044825"/>
                <a:gd name="connsiteY67" fmla="*/ 228600 h 974725"/>
                <a:gd name="connsiteX68" fmla="*/ 1425575 w 3044825"/>
                <a:gd name="connsiteY68" fmla="*/ 225425 h 974725"/>
                <a:gd name="connsiteX69" fmla="*/ 1435100 w 3044825"/>
                <a:gd name="connsiteY69" fmla="*/ 222250 h 974725"/>
                <a:gd name="connsiteX70" fmla="*/ 1447800 w 3044825"/>
                <a:gd name="connsiteY70" fmla="*/ 219075 h 974725"/>
                <a:gd name="connsiteX71" fmla="*/ 1470025 w 3044825"/>
                <a:gd name="connsiteY71" fmla="*/ 209550 h 974725"/>
                <a:gd name="connsiteX72" fmla="*/ 1479550 w 3044825"/>
                <a:gd name="connsiteY72" fmla="*/ 206375 h 974725"/>
                <a:gd name="connsiteX73" fmla="*/ 1508125 w 3044825"/>
                <a:gd name="connsiteY73" fmla="*/ 190500 h 974725"/>
                <a:gd name="connsiteX74" fmla="*/ 1527175 w 3044825"/>
                <a:gd name="connsiteY74" fmla="*/ 180975 h 974725"/>
                <a:gd name="connsiteX75" fmla="*/ 1539875 w 3044825"/>
                <a:gd name="connsiteY75" fmla="*/ 184150 h 974725"/>
                <a:gd name="connsiteX76" fmla="*/ 1558925 w 3044825"/>
                <a:gd name="connsiteY76" fmla="*/ 190500 h 974725"/>
                <a:gd name="connsiteX77" fmla="*/ 1568450 w 3044825"/>
                <a:gd name="connsiteY77" fmla="*/ 196850 h 974725"/>
                <a:gd name="connsiteX78" fmla="*/ 1600200 w 3044825"/>
                <a:gd name="connsiteY78" fmla="*/ 203200 h 974725"/>
                <a:gd name="connsiteX79" fmla="*/ 1657350 w 3044825"/>
                <a:gd name="connsiteY79" fmla="*/ 212725 h 974725"/>
                <a:gd name="connsiteX80" fmla="*/ 1695450 w 3044825"/>
                <a:gd name="connsiteY80" fmla="*/ 238125 h 974725"/>
                <a:gd name="connsiteX81" fmla="*/ 1708150 w 3044825"/>
                <a:gd name="connsiteY81" fmla="*/ 247650 h 974725"/>
                <a:gd name="connsiteX82" fmla="*/ 1711325 w 3044825"/>
                <a:gd name="connsiteY82" fmla="*/ 266700 h 974725"/>
                <a:gd name="connsiteX83" fmla="*/ 1724025 w 3044825"/>
                <a:gd name="connsiteY83" fmla="*/ 273050 h 974725"/>
                <a:gd name="connsiteX84" fmla="*/ 1743075 w 3044825"/>
                <a:gd name="connsiteY84" fmla="*/ 279400 h 974725"/>
                <a:gd name="connsiteX85" fmla="*/ 1752600 w 3044825"/>
                <a:gd name="connsiteY85" fmla="*/ 282575 h 974725"/>
                <a:gd name="connsiteX86" fmla="*/ 1774825 w 3044825"/>
                <a:gd name="connsiteY86" fmla="*/ 288925 h 974725"/>
                <a:gd name="connsiteX87" fmla="*/ 1793875 w 3044825"/>
                <a:gd name="connsiteY87" fmla="*/ 301625 h 974725"/>
                <a:gd name="connsiteX88" fmla="*/ 1797050 w 3044825"/>
                <a:gd name="connsiteY88" fmla="*/ 317500 h 974725"/>
                <a:gd name="connsiteX89" fmla="*/ 1920875 w 3044825"/>
                <a:gd name="connsiteY89" fmla="*/ 374650 h 974725"/>
                <a:gd name="connsiteX90" fmla="*/ 1968500 w 3044825"/>
                <a:gd name="connsiteY90" fmla="*/ 381000 h 974725"/>
                <a:gd name="connsiteX91" fmla="*/ 1987550 w 3044825"/>
                <a:gd name="connsiteY91" fmla="*/ 393700 h 974725"/>
                <a:gd name="connsiteX92" fmla="*/ 1997075 w 3044825"/>
                <a:gd name="connsiteY92" fmla="*/ 412750 h 974725"/>
                <a:gd name="connsiteX93" fmla="*/ 2003425 w 3044825"/>
                <a:gd name="connsiteY93" fmla="*/ 422275 h 974725"/>
                <a:gd name="connsiteX94" fmla="*/ 2006600 w 3044825"/>
                <a:gd name="connsiteY94" fmla="*/ 431800 h 974725"/>
                <a:gd name="connsiteX95" fmla="*/ 2019300 w 3044825"/>
                <a:gd name="connsiteY95" fmla="*/ 460375 h 974725"/>
                <a:gd name="connsiteX96" fmla="*/ 2032000 w 3044825"/>
                <a:gd name="connsiteY96" fmla="*/ 479425 h 974725"/>
                <a:gd name="connsiteX97" fmla="*/ 2063750 w 3044825"/>
                <a:gd name="connsiteY97" fmla="*/ 511175 h 974725"/>
                <a:gd name="connsiteX98" fmla="*/ 2073275 w 3044825"/>
                <a:gd name="connsiteY98" fmla="*/ 520700 h 974725"/>
                <a:gd name="connsiteX99" fmla="*/ 2095500 w 3044825"/>
                <a:gd name="connsiteY99" fmla="*/ 546100 h 974725"/>
                <a:gd name="connsiteX100" fmla="*/ 2101850 w 3044825"/>
                <a:gd name="connsiteY100" fmla="*/ 555625 h 974725"/>
                <a:gd name="connsiteX101" fmla="*/ 2111375 w 3044825"/>
                <a:gd name="connsiteY101" fmla="*/ 561975 h 974725"/>
                <a:gd name="connsiteX102" fmla="*/ 2114550 w 3044825"/>
                <a:gd name="connsiteY102" fmla="*/ 571500 h 974725"/>
                <a:gd name="connsiteX103" fmla="*/ 2124075 w 3044825"/>
                <a:gd name="connsiteY103" fmla="*/ 581025 h 974725"/>
                <a:gd name="connsiteX104" fmla="*/ 2146300 w 3044825"/>
                <a:gd name="connsiteY104" fmla="*/ 596900 h 974725"/>
                <a:gd name="connsiteX105" fmla="*/ 2155825 w 3044825"/>
                <a:gd name="connsiteY105" fmla="*/ 600075 h 974725"/>
                <a:gd name="connsiteX106" fmla="*/ 2171700 w 3044825"/>
                <a:gd name="connsiteY106" fmla="*/ 619125 h 974725"/>
                <a:gd name="connsiteX107" fmla="*/ 2178050 w 3044825"/>
                <a:gd name="connsiteY107" fmla="*/ 628650 h 974725"/>
                <a:gd name="connsiteX108" fmla="*/ 2197100 w 3044825"/>
                <a:gd name="connsiteY108" fmla="*/ 638175 h 974725"/>
                <a:gd name="connsiteX109" fmla="*/ 2222500 w 3044825"/>
                <a:gd name="connsiteY109" fmla="*/ 644525 h 974725"/>
                <a:gd name="connsiteX110" fmla="*/ 2247900 w 3044825"/>
                <a:gd name="connsiteY110" fmla="*/ 647700 h 974725"/>
                <a:gd name="connsiteX111" fmla="*/ 2266950 w 3044825"/>
                <a:gd name="connsiteY111" fmla="*/ 650875 h 974725"/>
                <a:gd name="connsiteX112" fmla="*/ 2317750 w 3044825"/>
                <a:gd name="connsiteY112" fmla="*/ 654050 h 974725"/>
                <a:gd name="connsiteX113" fmla="*/ 2333625 w 3044825"/>
                <a:gd name="connsiteY113" fmla="*/ 669925 h 974725"/>
                <a:gd name="connsiteX114" fmla="*/ 2346325 w 3044825"/>
                <a:gd name="connsiteY114" fmla="*/ 695325 h 974725"/>
                <a:gd name="connsiteX115" fmla="*/ 2359025 w 3044825"/>
                <a:gd name="connsiteY115" fmla="*/ 714375 h 974725"/>
                <a:gd name="connsiteX116" fmla="*/ 2365375 w 3044825"/>
                <a:gd name="connsiteY116" fmla="*/ 723900 h 974725"/>
                <a:gd name="connsiteX117" fmla="*/ 2374900 w 3044825"/>
                <a:gd name="connsiteY117" fmla="*/ 733425 h 974725"/>
                <a:gd name="connsiteX118" fmla="*/ 2381250 w 3044825"/>
                <a:gd name="connsiteY118" fmla="*/ 742950 h 974725"/>
                <a:gd name="connsiteX119" fmla="*/ 2390775 w 3044825"/>
                <a:gd name="connsiteY119" fmla="*/ 749300 h 974725"/>
                <a:gd name="connsiteX120" fmla="*/ 2413000 w 3044825"/>
                <a:gd name="connsiteY120" fmla="*/ 771525 h 974725"/>
                <a:gd name="connsiteX121" fmla="*/ 2419350 w 3044825"/>
                <a:gd name="connsiteY121" fmla="*/ 781050 h 974725"/>
                <a:gd name="connsiteX122" fmla="*/ 2428875 w 3044825"/>
                <a:gd name="connsiteY122" fmla="*/ 787400 h 974725"/>
                <a:gd name="connsiteX123" fmla="*/ 2444750 w 3044825"/>
                <a:gd name="connsiteY123" fmla="*/ 806450 h 974725"/>
                <a:gd name="connsiteX124" fmla="*/ 2454275 w 3044825"/>
                <a:gd name="connsiteY124" fmla="*/ 812800 h 974725"/>
                <a:gd name="connsiteX125" fmla="*/ 2470150 w 3044825"/>
                <a:gd name="connsiteY125" fmla="*/ 828675 h 974725"/>
                <a:gd name="connsiteX126" fmla="*/ 2486025 w 3044825"/>
                <a:gd name="connsiteY126" fmla="*/ 844550 h 974725"/>
                <a:gd name="connsiteX127" fmla="*/ 2501900 w 3044825"/>
                <a:gd name="connsiteY127" fmla="*/ 863600 h 974725"/>
                <a:gd name="connsiteX128" fmla="*/ 2517775 w 3044825"/>
                <a:gd name="connsiteY128" fmla="*/ 879475 h 974725"/>
                <a:gd name="connsiteX129" fmla="*/ 2520950 w 3044825"/>
                <a:gd name="connsiteY129" fmla="*/ 889000 h 974725"/>
                <a:gd name="connsiteX130" fmla="*/ 2536825 w 3044825"/>
                <a:gd name="connsiteY130" fmla="*/ 908050 h 974725"/>
                <a:gd name="connsiteX131" fmla="*/ 2540000 w 3044825"/>
                <a:gd name="connsiteY131" fmla="*/ 917575 h 974725"/>
                <a:gd name="connsiteX132" fmla="*/ 2559050 w 3044825"/>
                <a:gd name="connsiteY132" fmla="*/ 930275 h 974725"/>
                <a:gd name="connsiteX133" fmla="*/ 2578100 w 3044825"/>
                <a:gd name="connsiteY133" fmla="*/ 939800 h 974725"/>
                <a:gd name="connsiteX134" fmla="*/ 2606675 w 3044825"/>
                <a:gd name="connsiteY134" fmla="*/ 962025 h 974725"/>
                <a:gd name="connsiteX135" fmla="*/ 2616200 w 3044825"/>
                <a:gd name="connsiteY135" fmla="*/ 968375 h 974725"/>
                <a:gd name="connsiteX136" fmla="*/ 2625725 w 3044825"/>
                <a:gd name="connsiteY136" fmla="*/ 974725 h 974725"/>
                <a:gd name="connsiteX137" fmla="*/ 2705100 w 3044825"/>
                <a:gd name="connsiteY137" fmla="*/ 958850 h 974725"/>
                <a:gd name="connsiteX138" fmla="*/ 2705100 w 3044825"/>
                <a:gd name="connsiteY138" fmla="*/ 958850 h 974725"/>
                <a:gd name="connsiteX139" fmla="*/ 2771775 w 3044825"/>
                <a:gd name="connsiteY139" fmla="*/ 914400 h 974725"/>
                <a:gd name="connsiteX140" fmla="*/ 2784475 w 3044825"/>
                <a:gd name="connsiteY140" fmla="*/ 895350 h 974725"/>
                <a:gd name="connsiteX141" fmla="*/ 2794000 w 3044825"/>
                <a:gd name="connsiteY141" fmla="*/ 885825 h 974725"/>
                <a:gd name="connsiteX142" fmla="*/ 2813050 w 3044825"/>
                <a:gd name="connsiteY142" fmla="*/ 869950 h 974725"/>
                <a:gd name="connsiteX143" fmla="*/ 2825750 w 3044825"/>
                <a:gd name="connsiteY143" fmla="*/ 854075 h 974725"/>
                <a:gd name="connsiteX144" fmla="*/ 2841625 w 3044825"/>
                <a:gd name="connsiteY144" fmla="*/ 838200 h 974725"/>
                <a:gd name="connsiteX145" fmla="*/ 2863850 w 3044825"/>
                <a:gd name="connsiteY145" fmla="*/ 822325 h 974725"/>
                <a:gd name="connsiteX146" fmla="*/ 2882900 w 3044825"/>
                <a:gd name="connsiteY146" fmla="*/ 815975 h 974725"/>
                <a:gd name="connsiteX147" fmla="*/ 2905125 w 3044825"/>
                <a:gd name="connsiteY147" fmla="*/ 809625 h 974725"/>
                <a:gd name="connsiteX148" fmla="*/ 2921000 w 3044825"/>
                <a:gd name="connsiteY148" fmla="*/ 806450 h 974725"/>
                <a:gd name="connsiteX149" fmla="*/ 2930525 w 3044825"/>
                <a:gd name="connsiteY149" fmla="*/ 803275 h 974725"/>
                <a:gd name="connsiteX150" fmla="*/ 2943225 w 3044825"/>
                <a:gd name="connsiteY150" fmla="*/ 800100 h 974725"/>
                <a:gd name="connsiteX151" fmla="*/ 2955925 w 3044825"/>
                <a:gd name="connsiteY151" fmla="*/ 793750 h 974725"/>
                <a:gd name="connsiteX152" fmla="*/ 2965450 w 3044825"/>
                <a:gd name="connsiteY152" fmla="*/ 790575 h 974725"/>
                <a:gd name="connsiteX153" fmla="*/ 2974975 w 3044825"/>
                <a:gd name="connsiteY153" fmla="*/ 781050 h 974725"/>
                <a:gd name="connsiteX154" fmla="*/ 2984500 w 3044825"/>
                <a:gd name="connsiteY154" fmla="*/ 774700 h 974725"/>
                <a:gd name="connsiteX155" fmla="*/ 2987675 w 3044825"/>
                <a:gd name="connsiteY155" fmla="*/ 765175 h 974725"/>
                <a:gd name="connsiteX156" fmla="*/ 2997200 w 3044825"/>
                <a:gd name="connsiteY156" fmla="*/ 755650 h 974725"/>
                <a:gd name="connsiteX157" fmla="*/ 3006725 w 3044825"/>
                <a:gd name="connsiteY157" fmla="*/ 698500 h 974725"/>
                <a:gd name="connsiteX158" fmla="*/ 3013075 w 3044825"/>
                <a:gd name="connsiteY158" fmla="*/ 688975 h 974725"/>
                <a:gd name="connsiteX159" fmla="*/ 3032125 w 3044825"/>
                <a:gd name="connsiteY159" fmla="*/ 676275 h 974725"/>
                <a:gd name="connsiteX160" fmla="*/ 3044825 w 3044825"/>
                <a:gd name="connsiteY160" fmla="*/ 673100 h 974725"/>
                <a:gd name="connsiteX0" fmla="*/ 0 w 3044825"/>
                <a:gd name="connsiteY0" fmla="*/ 0 h 974725"/>
                <a:gd name="connsiteX1" fmla="*/ 0 w 3044825"/>
                <a:gd name="connsiteY1" fmla="*/ 0 h 974725"/>
                <a:gd name="connsiteX2" fmla="*/ 22225 w 3044825"/>
                <a:gd name="connsiteY2" fmla="*/ 19050 h 974725"/>
                <a:gd name="connsiteX3" fmla="*/ 38100 w 3044825"/>
                <a:gd name="connsiteY3" fmla="*/ 38100 h 974725"/>
                <a:gd name="connsiteX4" fmla="*/ 53975 w 3044825"/>
                <a:gd name="connsiteY4" fmla="*/ 53975 h 974725"/>
                <a:gd name="connsiteX5" fmla="*/ 69850 w 3044825"/>
                <a:gd name="connsiteY5" fmla="*/ 66675 h 974725"/>
                <a:gd name="connsiteX6" fmla="*/ 95250 w 3044825"/>
                <a:gd name="connsiteY6" fmla="*/ 79375 h 974725"/>
                <a:gd name="connsiteX7" fmla="*/ 114300 w 3044825"/>
                <a:gd name="connsiteY7" fmla="*/ 92075 h 974725"/>
                <a:gd name="connsiteX8" fmla="*/ 123825 w 3044825"/>
                <a:gd name="connsiteY8" fmla="*/ 95250 h 974725"/>
                <a:gd name="connsiteX9" fmla="*/ 146050 w 3044825"/>
                <a:gd name="connsiteY9" fmla="*/ 111125 h 974725"/>
                <a:gd name="connsiteX10" fmla="*/ 155575 w 3044825"/>
                <a:gd name="connsiteY10" fmla="*/ 114300 h 974725"/>
                <a:gd name="connsiteX11" fmla="*/ 180975 w 3044825"/>
                <a:gd name="connsiteY11" fmla="*/ 123825 h 974725"/>
                <a:gd name="connsiteX12" fmla="*/ 200025 w 3044825"/>
                <a:gd name="connsiteY12" fmla="*/ 130175 h 974725"/>
                <a:gd name="connsiteX13" fmla="*/ 212725 w 3044825"/>
                <a:gd name="connsiteY13" fmla="*/ 133350 h 974725"/>
                <a:gd name="connsiteX14" fmla="*/ 231775 w 3044825"/>
                <a:gd name="connsiteY14" fmla="*/ 139700 h 974725"/>
                <a:gd name="connsiteX15" fmla="*/ 250825 w 3044825"/>
                <a:gd name="connsiteY15" fmla="*/ 142875 h 974725"/>
                <a:gd name="connsiteX16" fmla="*/ 279400 w 3044825"/>
                <a:gd name="connsiteY16" fmla="*/ 152400 h 974725"/>
                <a:gd name="connsiteX17" fmla="*/ 298450 w 3044825"/>
                <a:gd name="connsiteY17" fmla="*/ 155575 h 974725"/>
                <a:gd name="connsiteX18" fmla="*/ 317500 w 3044825"/>
                <a:gd name="connsiteY18" fmla="*/ 161925 h 974725"/>
                <a:gd name="connsiteX19" fmla="*/ 327025 w 3044825"/>
                <a:gd name="connsiteY19" fmla="*/ 165100 h 974725"/>
                <a:gd name="connsiteX20" fmla="*/ 336550 w 3044825"/>
                <a:gd name="connsiteY20" fmla="*/ 171450 h 974725"/>
                <a:gd name="connsiteX21" fmla="*/ 346075 w 3044825"/>
                <a:gd name="connsiteY21" fmla="*/ 180975 h 974725"/>
                <a:gd name="connsiteX22" fmla="*/ 355600 w 3044825"/>
                <a:gd name="connsiteY22" fmla="*/ 184150 h 974725"/>
                <a:gd name="connsiteX23" fmla="*/ 377825 w 3044825"/>
                <a:gd name="connsiteY23" fmla="*/ 196850 h 974725"/>
                <a:gd name="connsiteX24" fmla="*/ 396875 w 3044825"/>
                <a:gd name="connsiteY24" fmla="*/ 212725 h 974725"/>
                <a:gd name="connsiteX25" fmla="*/ 409575 w 3044825"/>
                <a:gd name="connsiteY25" fmla="*/ 219075 h 974725"/>
                <a:gd name="connsiteX26" fmla="*/ 428625 w 3044825"/>
                <a:gd name="connsiteY26" fmla="*/ 231775 h 974725"/>
                <a:gd name="connsiteX27" fmla="*/ 447675 w 3044825"/>
                <a:gd name="connsiteY27" fmla="*/ 244475 h 974725"/>
                <a:gd name="connsiteX28" fmla="*/ 466725 w 3044825"/>
                <a:gd name="connsiteY28" fmla="*/ 257175 h 974725"/>
                <a:gd name="connsiteX29" fmla="*/ 476250 w 3044825"/>
                <a:gd name="connsiteY29" fmla="*/ 263525 h 974725"/>
                <a:gd name="connsiteX30" fmla="*/ 495300 w 3044825"/>
                <a:gd name="connsiteY30" fmla="*/ 279400 h 974725"/>
                <a:gd name="connsiteX31" fmla="*/ 504825 w 3044825"/>
                <a:gd name="connsiteY31" fmla="*/ 282575 h 974725"/>
                <a:gd name="connsiteX32" fmla="*/ 514350 w 3044825"/>
                <a:gd name="connsiteY32" fmla="*/ 288925 h 974725"/>
                <a:gd name="connsiteX33" fmla="*/ 533400 w 3044825"/>
                <a:gd name="connsiteY33" fmla="*/ 298450 h 974725"/>
                <a:gd name="connsiteX34" fmla="*/ 549275 w 3044825"/>
                <a:gd name="connsiteY34" fmla="*/ 282575 h 974725"/>
                <a:gd name="connsiteX35" fmla="*/ 558800 w 3044825"/>
                <a:gd name="connsiteY35" fmla="*/ 279400 h 974725"/>
                <a:gd name="connsiteX36" fmla="*/ 590550 w 3044825"/>
                <a:gd name="connsiteY36" fmla="*/ 276225 h 974725"/>
                <a:gd name="connsiteX37" fmla="*/ 603250 w 3044825"/>
                <a:gd name="connsiteY37" fmla="*/ 234950 h 974725"/>
                <a:gd name="connsiteX38" fmla="*/ 622300 w 3044825"/>
                <a:gd name="connsiteY38" fmla="*/ 225425 h 974725"/>
                <a:gd name="connsiteX39" fmla="*/ 638175 w 3044825"/>
                <a:gd name="connsiteY39" fmla="*/ 209550 h 974725"/>
                <a:gd name="connsiteX40" fmla="*/ 657225 w 3044825"/>
                <a:gd name="connsiteY40" fmla="*/ 203200 h 974725"/>
                <a:gd name="connsiteX41" fmla="*/ 676275 w 3044825"/>
                <a:gd name="connsiteY41" fmla="*/ 190500 h 974725"/>
                <a:gd name="connsiteX42" fmla="*/ 685800 w 3044825"/>
                <a:gd name="connsiteY42" fmla="*/ 180975 h 974725"/>
                <a:gd name="connsiteX43" fmla="*/ 711200 w 3044825"/>
                <a:gd name="connsiteY43" fmla="*/ 174625 h 974725"/>
                <a:gd name="connsiteX44" fmla="*/ 736600 w 3044825"/>
                <a:gd name="connsiteY44" fmla="*/ 177800 h 974725"/>
                <a:gd name="connsiteX45" fmla="*/ 752475 w 3044825"/>
                <a:gd name="connsiteY45" fmla="*/ 193675 h 974725"/>
                <a:gd name="connsiteX46" fmla="*/ 762000 w 3044825"/>
                <a:gd name="connsiteY46" fmla="*/ 196850 h 974725"/>
                <a:gd name="connsiteX47" fmla="*/ 873125 w 3044825"/>
                <a:gd name="connsiteY47" fmla="*/ 193675 h 974725"/>
                <a:gd name="connsiteX48" fmla="*/ 908050 w 3044825"/>
                <a:gd name="connsiteY48" fmla="*/ 196850 h 974725"/>
                <a:gd name="connsiteX49" fmla="*/ 927100 w 3044825"/>
                <a:gd name="connsiteY49" fmla="*/ 215900 h 974725"/>
                <a:gd name="connsiteX50" fmla="*/ 936625 w 3044825"/>
                <a:gd name="connsiteY50" fmla="*/ 225425 h 974725"/>
                <a:gd name="connsiteX51" fmla="*/ 946150 w 3044825"/>
                <a:gd name="connsiteY51" fmla="*/ 234950 h 974725"/>
                <a:gd name="connsiteX52" fmla="*/ 955675 w 3044825"/>
                <a:gd name="connsiteY52" fmla="*/ 241300 h 974725"/>
                <a:gd name="connsiteX53" fmla="*/ 1162050 w 3044825"/>
                <a:gd name="connsiteY53" fmla="*/ 244475 h 974725"/>
                <a:gd name="connsiteX54" fmla="*/ 1184275 w 3044825"/>
                <a:gd name="connsiteY54" fmla="*/ 266700 h 974725"/>
                <a:gd name="connsiteX55" fmla="*/ 1196975 w 3044825"/>
                <a:gd name="connsiteY55" fmla="*/ 285750 h 974725"/>
                <a:gd name="connsiteX56" fmla="*/ 1206500 w 3044825"/>
                <a:gd name="connsiteY56" fmla="*/ 292100 h 974725"/>
                <a:gd name="connsiteX57" fmla="*/ 1225550 w 3044825"/>
                <a:gd name="connsiteY57" fmla="*/ 307975 h 974725"/>
                <a:gd name="connsiteX58" fmla="*/ 1257300 w 3044825"/>
                <a:gd name="connsiteY58" fmla="*/ 301625 h 974725"/>
                <a:gd name="connsiteX59" fmla="*/ 1266825 w 3044825"/>
                <a:gd name="connsiteY59" fmla="*/ 295275 h 974725"/>
                <a:gd name="connsiteX60" fmla="*/ 1295400 w 3044825"/>
                <a:gd name="connsiteY60" fmla="*/ 292100 h 974725"/>
                <a:gd name="connsiteX61" fmla="*/ 1320800 w 3044825"/>
                <a:gd name="connsiteY61" fmla="*/ 276225 h 974725"/>
                <a:gd name="connsiteX62" fmla="*/ 1339850 w 3044825"/>
                <a:gd name="connsiteY62" fmla="*/ 273050 h 974725"/>
                <a:gd name="connsiteX63" fmla="*/ 1346200 w 3044825"/>
                <a:gd name="connsiteY63" fmla="*/ 263525 h 974725"/>
                <a:gd name="connsiteX64" fmla="*/ 1368425 w 3044825"/>
                <a:gd name="connsiteY64" fmla="*/ 254000 h 974725"/>
                <a:gd name="connsiteX65" fmla="*/ 1377950 w 3044825"/>
                <a:gd name="connsiteY65" fmla="*/ 247650 h 974725"/>
                <a:gd name="connsiteX66" fmla="*/ 1387475 w 3044825"/>
                <a:gd name="connsiteY66" fmla="*/ 244475 h 974725"/>
                <a:gd name="connsiteX67" fmla="*/ 1409700 w 3044825"/>
                <a:gd name="connsiteY67" fmla="*/ 228600 h 974725"/>
                <a:gd name="connsiteX68" fmla="*/ 1425575 w 3044825"/>
                <a:gd name="connsiteY68" fmla="*/ 225425 h 974725"/>
                <a:gd name="connsiteX69" fmla="*/ 1435100 w 3044825"/>
                <a:gd name="connsiteY69" fmla="*/ 222250 h 974725"/>
                <a:gd name="connsiteX70" fmla="*/ 1447800 w 3044825"/>
                <a:gd name="connsiteY70" fmla="*/ 219075 h 974725"/>
                <a:gd name="connsiteX71" fmla="*/ 1470025 w 3044825"/>
                <a:gd name="connsiteY71" fmla="*/ 209550 h 974725"/>
                <a:gd name="connsiteX72" fmla="*/ 1479550 w 3044825"/>
                <a:gd name="connsiteY72" fmla="*/ 206375 h 974725"/>
                <a:gd name="connsiteX73" fmla="*/ 1508125 w 3044825"/>
                <a:gd name="connsiteY73" fmla="*/ 190500 h 974725"/>
                <a:gd name="connsiteX74" fmla="*/ 1527175 w 3044825"/>
                <a:gd name="connsiteY74" fmla="*/ 180975 h 974725"/>
                <a:gd name="connsiteX75" fmla="*/ 1539875 w 3044825"/>
                <a:gd name="connsiteY75" fmla="*/ 184150 h 974725"/>
                <a:gd name="connsiteX76" fmla="*/ 1558925 w 3044825"/>
                <a:gd name="connsiteY76" fmla="*/ 190500 h 974725"/>
                <a:gd name="connsiteX77" fmla="*/ 1568450 w 3044825"/>
                <a:gd name="connsiteY77" fmla="*/ 196850 h 974725"/>
                <a:gd name="connsiteX78" fmla="*/ 1600200 w 3044825"/>
                <a:gd name="connsiteY78" fmla="*/ 203200 h 974725"/>
                <a:gd name="connsiteX79" fmla="*/ 1657350 w 3044825"/>
                <a:gd name="connsiteY79" fmla="*/ 212725 h 974725"/>
                <a:gd name="connsiteX80" fmla="*/ 1695450 w 3044825"/>
                <a:gd name="connsiteY80" fmla="*/ 238125 h 974725"/>
                <a:gd name="connsiteX81" fmla="*/ 1708150 w 3044825"/>
                <a:gd name="connsiteY81" fmla="*/ 247650 h 974725"/>
                <a:gd name="connsiteX82" fmla="*/ 1711325 w 3044825"/>
                <a:gd name="connsiteY82" fmla="*/ 266700 h 974725"/>
                <a:gd name="connsiteX83" fmla="*/ 1724025 w 3044825"/>
                <a:gd name="connsiteY83" fmla="*/ 273050 h 974725"/>
                <a:gd name="connsiteX84" fmla="*/ 1743075 w 3044825"/>
                <a:gd name="connsiteY84" fmla="*/ 279400 h 974725"/>
                <a:gd name="connsiteX85" fmla="*/ 1752600 w 3044825"/>
                <a:gd name="connsiteY85" fmla="*/ 282575 h 974725"/>
                <a:gd name="connsiteX86" fmla="*/ 1774825 w 3044825"/>
                <a:gd name="connsiteY86" fmla="*/ 288925 h 974725"/>
                <a:gd name="connsiteX87" fmla="*/ 1793875 w 3044825"/>
                <a:gd name="connsiteY87" fmla="*/ 301625 h 974725"/>
                <a:gd name="connsiteX88" fmla="*/ 1797050 w 3044825"/>
                <a:gd name="connsiteY88" fmla="*/ 317500 h 974725"/>
                <a:gd name="connsiteX89" fmla="*/ 1920875 w 3044825"/>
                <a:gd name="connsiteY89" fmla="*/ 374650 h 974725"/>
                <a:gd name="connsiteX90" fmla="*/ 1968500 w 3044825"/>
                <a:gd name="connsiteY90" fmla="*/ 381000 h 974725"/>
                <a:gd name="connsiteX91" fmla="*/ 1987550 w 3044825"/>
                <a:gd name="connsiteY91" fmla="*/ 393700 h 974725"/>
                <a:gd name="connsiteX92" fmla="*/ 1997075 w 3044825"/>
                <a:gd name="connsiteY92" fmla="*/ 412750 h 974725"/>
                <a:gd name="connsiteX93" fmla="*/ 2003425 w 3044825"/>
                <a:gd name="connsiteY93" fmla="*/ 422275 h 974725"/>
                <a:gd name="connsiteX94" fmla="*/ 2006600 w 3044825"/>
                <a:gd name="connsiteY94" fmla="*/ 431800 h 974725"/>
                <a:gd name="connsiteX95" fmla="*/ 2019300 w 3044825"/>
                <a:gd name="connsiteY95" fmla="*/ 460375 h 974725"/>
                <a:gd name="connsiteX96" fmla="*/ 2032000 w 3044825"/>
                <a:gd name="connsiteY96" fmla="*/ 479425 h 974725"/>
                <a:gd name="connsiteX97" fmla="*/ 2063750 w 3044825"/>
                <a:gd name="connsiteY97" fmla="*/ 511175 h 974725"/>
                <a:gd name="connsiteX98" fmla="*/ 2073275 w 3044825"/>
                <a:gd name="connsiteY98" fmla="*/ 520700 h 974725"/>
                <a:gd name="connsiteX99" fmla="*/ 2095500 w 3044825"/>
                <a:gd name="connsiteY99" fmla="*/ 546100 h 974725"/>
                <a:gd name="connsiteX100" fmla="*/ 2101850 w 3044825"/>
                <a:gd name="connsiteY100" fmla="*/ 555625 h 974725"/>
                <a:gd name="connsiteX101" fmla="*/ 2111375 w 3044825"/>
                <a:gd name="connsiteY101" fmla="*/ 561975 h 974725"/>
                <a:gd name="connsiteX102" fmla="*/ 2114550 w 3044825"/>
                <a:gd name="connsiteY102" fmla="*/ 571500 h 974725"/>
                <a:gd name="connsiteX103" fmla="*/ 2124075 w 3044825"/>
                <a:gd name="connsiteY103" fmla="*/ 581025 h 974725"/>
                <a:gd name="connsiteX104" fmla="*/ 2146300 w 3044825"/>
                <a:gd name="connsiteY104" fmla="*/ 596900 h 974725"/>
                <a:gd name="connsiteX105" fmla="*/ 2155825 w 3044825"/>
                <a:gd name="connsiteY105" fmla="*/ 600075 h 974725"/>
                <a:gd name="connsiteX106" fmla="*/ 2171700 w 3044825"/>
                <a:gd name="connsiteY106" fmla="*/ 619125 h 974725"/>
                <a:gd name="connsiteX107" fmla="*/ 2178050 w 3044825"/>
                <a:gd name="connsiteY107" fmla="*/ 628650 h 974725"/>
                <a:gd name="connsiteX108" fmla="*/ 2197100 w 3044825"/>
                <a:gd name="connsiteY108" fmla="*/ 638175 h 974725"/>
                <a:gd name="connsiteX109" fmla="*/ 2222500 w 3044825"/>
                <a:gd name="connsiteY109" fmla="*/ 644525 h 974725"/>
                <a:gd name="connsiteX110" fmla="*/ 2247900 w 3044825"/>
                <a:gd name="connsiteY110" fmla="*/ 647700 h 974725"/>
                <a:gd name="connsiteX111" fmla="*/ 2266950 w 3044825"/>
                <a:gd name="connsiteY111" fmla="*/ 650875 h 974725"/>
                <a:gd name="connsiteX112" fmla="*/ 2317750 w 3044825"/>
                <a:gd name="connsiteY112" fmla="*/ 654050 h 974725"/>
                <a:gd name="connsiteX113" fmla="*/ 2333625 w 3044825"/>
                <a:gd name="connsiteY113" fmla="*/ 669925 h 974725"/>
                <a:gd name="connsiteX114" fmla="*/ 2346325 w 3044825"/>
                <a:gd name="connsiteY114" fmla="*/ 695325 h 974725"/>
                <a:gd name="connsiteX115" fmla="*/ 2359025 w 3044825"/>
                <a:gd name="connsiteY115" fmla="*/ 714375 h 974725"/>
                <a:gd name="connsiteX116" fmla="*/ 2365375 w 3044825"/>
                <a:gd name="connsiteY116" fmla="*/ 723900 h 974725"/>
                <a:gd name="connsiteX117" fmla="*/ 2374900 w 3044825"/>
                <a:gd name="connsiteY117" fmla="*/ 733425 h 974725"/>
                <a:gd name="connsiteX118" fmla="*/ 2381250 w 3044825"/>
                <a:gd name="connsiteY118" fmla="*/ 742950 h 974725"/>
                <a:gd name="connsiteX119" fmla="*/ 2390775 w 3044825"/>
                <a:gd name="connsiteY119" fmla="*/ 749300 h 974725"/>
                <a:gd name="connsiteX120" fmla="*/ 2413000 w 3044825"/>
                <a:gd name="connsiteY120" fmla="*/ 771525 h 974725"/>
                <a:gd name="connsiteX121" fmla="*/ 2419350 w 3044825"/>
                <a:gd name="connsiteY121" fmla="*/ 781050 h 974725"/>
                <a:gd name="connsiteX122" fmla="*/ 2428875 w 3044825"/>
                <a:gd name="connsiteY122" fmla="*/ 787400 h 974725"/>
                <a:gd name="connsiteX123" fmla="*/ 2444750 w 3044825"/>
                <a:gd name="connsiteY123" fmla="*/ 806450 h 974725"/>
                <a:gd name="connsiteX124" fmla="*/ 2454275 w 3044825"/>
                <a:gd name="connsiteY124" fmla="*/ 812800 h 974725"/>
                <a:gd name="connsiteX125" fmla="*/ 2470150 w 3044825"/>
                <a:gd name="connsiteY125" fmla="*/ 828675 h 974725"/>
                <a:gd name="connsiteX126" fmla="*/ 2486025 w 3044825"/>
                <a:gd name="connsiteY126" fmla="*/ 844550 h 974725"/>
                <a:gd name="connsiteX127" fmla="*/ 2501900 w 3044825"/>
                <a:gd name="connsiteY127" fmla="*/ 863600 h 974725"/>
                <a:gd name="connsiteX128" fmla="*/ 2517775 w 3044825"/>
                <a:gd name="connsiteY128" fmla="*/ 879475 h 974725"/>
                <a:gd name="connsiteX129" fmla="*/ 2520950 w 3044825"/>
                <a:gd name="connsiteY129" fmla="*/ 889000 h 974725"/>
                <a:gd name="connsiteX130" fmla="*/ 2536825 w 3044825"/>
                <a:gd name="connsiteY130" fmla="*/ 908050 h 974725"/>
                <a:gd name="connsiteX131" fmla="*/ 2540000 w 3044825"/>
                <a:gd name="connsiteY131" fmla="*/ 917575 h 974725"/>
                <a:gd name="connsiteX132" fmla="*/ 2559050 w 3044825"/>
                <a:gd name="connsiteY132" fmla="*/ 930275 h 974725"/>
                <a:gd name="connsiteX133" fmla="*/ 2578100 w 3044825"/>
                <a:gd name="connsiteY133" fmla="*/ 939800 h 974725"/>
                <a:gd name="connsiteX134" fmla="*/ 2606675 w 3044825"/>
                <a:gd name="connsiteY134" fmla="*/ 962025 h 974725"/>
                <a:gd name="connsiteX135" fmla="*/ 2616200 w 3044825"/>
                <a:gd name="connsiteY135" fmla="*/ 968375 h 974725"/>
                <a:gd name="connsiteX136" fmla="*/ 2625725 w 3044825"/>
                <a:gd name="connsiteY136" fmla="*/ 974725 h 974725"/>
                <a:gd name="connsiteX137" fmla="*/ 2705100 w 3044825"/>
                <a:gd name="connsiteY137" fmla="*/ 958850 h 974725"/>
                <a:gd name="connsiteX138" fmla="*/ 2771775 w 3044825"/>
                <a:gd name="connsiteY138" fmla="*/ 914400 h 974725"/>
                <a:gd name="connsiteX139" fmla="*/ 2784475 w 3044825"/>
                <a:gd name="connsiteY139" fmla="*/ 895350 h 974725"/>
                <a:gd name="connsiteX140" fmla="*/ 2794000 w 3044825"/>
                <a:gd name="connsiteY140" fmla="*/ 885825 h 974725"/>
                <a:gd name="connsiteX141" fmla="*/ 2813050 w 3044825"/>
                <a:gd name="connsiteY141" fmla="*/ 869950 h 974725"/>
                <a:gd name="connsiteX142" fmla="*/ 2825750 w 3044825"/>
                <a:gd name="connsiteY142" fmla="*/ 854075 h 974725"/>
                <a:gd name="connsiteX143" fmla="*/ 2841625 w 3044825"/>
                <a:gd name="connsiteY143" fmla="*/ 838200 h 974725"/>
                <a:gd name="connsiteX144" fmla="*/ 2863850 w 3044825"/>
                <a:gd name="connsiteY144" fmla="*/ 822325 h 974725"/>
                <a:gd name="connsiteX145" fmla="*/ 2882900 w 3044825"/>
                <a:gd name="connsiteY145" fmla="*/ 815975 h 974725"/>
                <a:gd name="connsiteX146" fmla="*/ 2905125 w 3044825"/>
                <a:gd name="connsiteY146" fmla="*/ 809625 h 974725"/>
                <a:gd name="connsiteX147" fmla="*/ 2921000 w 3044825"/>
                <a:gd name="connsiteY147" fmla="*/ 806450 h 974725"/>
                <a:gd name="connsiteX148" fmla="*/ 2930525 w 3044825"/>
                <a:gd name="connsiteY148" fmla="*/ 803275 h 974725"/>
                <a:gd name="connsiteX149" fmla="*/ 2943225 w 3044825"/>
                <a:gd name="connsiteY149" fmla="*/ 800100 h 974725"/>
                <a:gd name="connsiteX150" fmla="*/ 2955925 w 3044825"/>
                <a:gd name="connsiteY150" fmla="*/ 793750 h 974725"/>
                <a:gd name="connsiteX151" fmla="*/ 2965450 w 3044825"/>
                <a:gd name="connsiteY151" fmla="*/ 790575 h 974725"/>
                <a:gd name="connsiteX152" fmla="*/ 2974975 w 3044825"/>
                <a:gd name="connsiteY152" fmla="*/ 781050 h 974725"/>
                <a:gd name="connsiteX153" fmla="*/ 2984500 w 3044825"/>
                <a:gd name="connsiteY153" fmla="*/ 774700 h 974725"/>
                <a:gd name="connsiteX154" fmla="*/ 2987675 w 3044825"/>
                <a:gd name="connsiteY154" fmla="*/ 765175 h 974725"/>
                <a:gd name="connsiteX155" fmla="*/ 2997200 w 3044825"/>
                <a:gd name="connsiteY155" fmla="*/ 755650 h 974725"/>
                <a:gd name="connsiteX156" fmla="*/ 3006725 w 3044825"/>
                <a:gd name="connsiteY156" fmla="*/ 698500 h 974725"/>
                <a:gd name="connsiteX157" fmla="*/ 3013075 w 3044825"/>
                <a:gd name="connsiteY157" fmla="*/ 688975 h 974725"/>
                <a:gd name="connsiteX158" fmla="*/ 3032125 w 3044825"/>
                <a:gd name="connsiteY158" fmla="*/ 676275 h 974725"/>
                <a:gd name="connsiteX159" fmla="*/ 3044825 w 3044825"/>
                <a:gd name="connsiteY159" fmla="*/ 673100 h 974725"/>
                <a:gd name="connsiteX0" fmla="*/ 0 w 3044825"/>
                <a:gd name="connsiteY0" fmla="*/ 0 h 977825"/>
                <a:gd name="connsiteX1" fmla="*/ 0 w 3044825"/>
                <a:gd name="connsiteY1" fmla="*/ 0 h 977825"/>
                <a:gd name="connsiteX2" fmla="*/ 22225 w 3044825"/>
                <a:gd name="connsiteY2" fmla="*/ 19050 h 977825"/>
                <a:gd name="connsiteX3" fmla="*/ 38100 w 3044825"/>
                <a:gd name="connsiteY3" fmla="*/ 38100 h 977825"/>
                <a:gd name="connsiteX4" fmla="*/ 53975 w 3044825"/>
                <a:gd name="connsiteY4" fmla="*/ 53975 h 977825"/>
                <a:gd name="connsiteX5" fmla="*/ 69850 w 3044825"/>
                <a:gd name="connsiteY5" fmla="*/ 66675 h 977825"/>
                <a:gd name="connsiteX6" fmla="*/ 95250 w 3044825"/>
                <a:gd name="connsiteY6" fmla="*/ 79375 h 977825"/>
                <a:gd name="connsiteX7" fmla="*/ 114300 w 3044825"/>
                <a:gd name="connsiteY7" fmla="*/ 92075 h 977825"/>
                <a:gd name="connsiteX8" fmla="*/ 123825 w 3044825"/>
                <a:gd name="connsiteY8" fmla="*/ 95250 h 977825"/>
                <a:gd name="connsiteX9" fmla="*/ 146050 w 3044825"/>
                <a:gd name="connsiteY9" fmla="*/ 111125 h 977825"/>
                <a:gd name="connsiteX10" fmla="*/ 155575 w 3044825"/>
                <a:gd name="connsiteY10" fmla="*/ 114300 h 977825"/>
                <a:gd name="connsiteX11" fmla="*/ 180975 w 3044825"/>
                <a:gd name="connsiteY11" fmla="*/ 123825 h 977825"/>
                <a:gd name="connsiteX12" fmla="*/ 200025 w 3044825"/>
                <a:gd name="connsiteY12" fmla="*/ 130175 h 977825"/>
                <a:gd name="connsiteX13" fmla="*/ 212725 w 3044825"/>
                <a:gd name="connsiteY13" fmla="*/ 133350 h 977825"/>
                <a:gd name="connsiteX14" fmla="*/ 231775 w 3044825"/>
                <a:gd name="connsiteY14" fmla="*/ 139700 h 977825"/>
                <a:gd name="connsiteX15" fmla="*/ 250825 w 3044825"/>
                <a:gd name="connsiteY15" fmla="*/ 142875 h 977825"/>
                <a:gd name="connsiteX16" fmla="*/ 279400 w 3044825"/>
                <a:gd name="connsiteY16" fmla="*/ 152400 h 977825"/>
                <a:gd name="connsiteX17" fmla="*/ 298450 w 3044825"/>
                <a:gd name="connsiteY17" fmla="*/ 155575 h 977825"/>
                <a:gd name="connsiteX18" fmla="*/ 317500 w 3044825"/>
                <a:gd name="connsiteY18" fmla="*/ 161925 h 977825"/>
                <a:gd name="connsiteX19" fmla="*/ 327025 w 3044825"/>
                <a:gd name="connsiteY19" fmla="*/ 165100 h 977825"/>
                <a:gd name="connsiteX20" fmla="*/ 336550 w 3044825"/>
                <a:gd name="connsiteY20" fmla="*/ 171450 h 977825"/>
                <a:gd name="connsiteX21" fmla="*/ 346075 w 3044825"/>
                <a:gd name="connsiteY21" fmla="*/ 180975 h 977825"/>
                <a:gd name="connsiteX22" fmla="*/ 355600 w 3044825"/>
                <a:gd name="connsiteY22" fmla="*/ 184150 h 977825"/>
                <a:gd name="connsiteX23" fmla="*/ 377825 w 3044825"/>
                <a:gd name="connsiteY23" fmla="*/ 196850 h 977825"/>
                <a:gd name="connsiteX24" fmla="*/ 396875 w 3044825"/>
                <a:gd name="connsiteY24" fmla="*/ 212725 h 977825"/>
                <a:gd name="connsiteX25" fmla="*/ 409575 w 3044825"/>
                <a:gd name="connsiteY25" fmla="*/ 219075 h 977825"/>
                <a:gd name="connsiteX26" fmla="*/ 428625 w 3044825"/>
                <a:gd name="connsiteY26" fmla="*/ 231775 h 977825"/>
                <a:gd name="connsiteX27" fmla="*/ 447675 w 3044825"/>
                <a:gd name="connsiteY27" fmla="*/ 244475 h 977825"/>
                <a:gd name="connsiteX28" fmla="*/ 466725 w 3044825"/>
                <a:gd name="connsiteY28" fmla="*/ 257175 h 977825"/>
                <a:gd name="connsiteX29" fmla="*/ 476250 w 3044825"/>
                <a:gd name="connsiteY29" fmla="*/ 263525 h 977825"/>
                <a:gd name="connsiteX30" fmla="*/ 495300 w 3044825"/>
                <a:gd name="connsiteY30" fmla="*/ 279400 h 977825"/>
                <a:gd name="connsiteX31" fmla="*/ 504825 w 3044825"/>
                <a:gd name="connsiteY31" fmla="*/ 282575 h 977825"/>
                <a:gd name="connsiteX32" fmla="*/ 514350 w 3044825"/>
                <a:gd name="connsiteY32" fmla="*/ 288925 h 977825"/>
                <a:gd name="connsiteX33" fmla="*/ 533400 w 3044825"/>
                <a:gd name="connsiteY33" fmla="*/ 298450 h 977825"/>
                <a:gd name="connsiteX34" fmla="*/ 549275 w 3044825"/>
                <a:gd name="connsiteY34" fmla="*/ 282575 h 977825"/>
                <a:gd name="connsiteX35" fmla="*/ 558800 w 3044825"/>
                <a:gd name="connsiteY35" fmla="*/ 279400 h 977825"/>
                <a:gd name="connsiteX36" fmla="*/ 590550 w 3044825"/>
                <a:gd name="connsiteY36" fmla="*/ 276225 h 977825"/>
                <a:gd name="connsiteX37" fmla="*/ 603250 w 3044825"/>
                <a:gd name="connsiteY37" fmla="*/ 234950 h 977825"/>
                <a:gd name="connsiteX38" fmla="*/ 622300 w 3044825"/>
                <a:gd name="connsiteY38" fmla="*/ 225425 h 977825"/>
                <a:gd name="connsiteX39" fmla="*/ 638175 w 3044825"/>
                <a:gd name="connsiteY39" fmla="*/ 209550 h 977825"/>
                <a:gd name="connsiteX40" fmla="*/ 657225 w 3044825"/>
                <a:gd name="connsiteY40" fmla="*/ 203200 h 977825"/>
                <a:gd name="connsiteX41" fmla="*/ 676275 w 3044825"/>
                <a:gd name="connsiteY41" fmla="*/ 190500 h 977825"/>
                <a:gd name="connsiteX42" fmla="*/ 685800 w 3044825"/>
                <a:gd name="connsiteY42" fmla="*/ 180975 h 977825"/>
                <a:gd name="connsiteX43" fmla="*/ 711200 w 3044825"/>
                <a:gd name="connsiteY43" fmla="*/ 174625 h 977825"/>
                <a:gd name="connsiteX44" fmla="*/ 736600 w 3044825"/>
                <a:gd name="connsiteY44" fmla="*/ 177800 h 977825"/>
                <a:gd name="connsiteX45" fmla="*/ 752475 w 3044825"/>
                <a:gd name="connsiteY45" fmla="*/ 193675 h 977825"/>
                <a:gd name="connsiteX46" fmla="*/ 762000 w 3044825"/>
                <a:gd name="connsiteY46" fmla="*/ 196850 h 977825"/>
                <a:gd name="connsiteX47" fmla="*/ 873125 w 3044825"/>
                <a:gd name="connsiteY47" fmla="*/ 193675 h 977825"/>
                <a:gd name="connsiteX48" fmla="*/ 908050 w 3044825"/>
                <a:gd name="connsiteY48" fmla="*/ 196850 h 977825"/>
                <a:gd name="connsiteX49" fmla="*/ 927100 w 3044825"/>
                <a:gd name="connsiteY49" fmla="*/ 215900 h 977825"/>
                <a:gd name="connsiteX50" fmla="*/ 936625 w 3044825"/>
                <a:gd name="connsiteY50" fmla="*/ 225425 h 977825"/>
                <a:gd name="connsiteX51" fmla="*/ 946150 w 3044825"/>
                <a:gd name="connsiteY51" fmla="*/ 234950 h 977825"/>
                <a:gd name="connsiteX52" fmla="*/ 955675 w 3044825"/>
                <a:gd name="connsiteY52" fmla="*/ 241300 h 977825"/>
                <a:gd name="connsiteX53" fmla="*/ 1162050 w 3044825"/>
                <a:gd name="connsiteY53" fmla="*/ 244475 h 977825"/>
                <a:gd name="connsiteX54" fmla="*/ 1184275 w 3044825"/>
                <a:gd name="connsiteY54" fmla="*/ 266700 h 977825"/>
                <a:gd name="connsiteX55" fmla="*/ 1196975 w 3044825"/>
                <a:gd name="connsiteY55" fmla="*/ 285750 h 977825"/>
                <a:gd name="connsiteX56" fmla="*/ 1206500 w 3044825"/>
                <a:gd name="connsiteY56" fmla="*/ 292100 h 977825"/>
                <a:gd name="connsiteX57" fmla="*/ 1225550 w 3044825"/>
                <a:gd name="connsiteY57" fmla="*/ 307975 h 977825"/>
                <a:gd name="connsiteX58" fmla="*/ 1257300 w 3044825"/>
                <a:gd name="connsiteY58" fmla="*/ 301625 h 977825"/>
                <a:gd name="connsiteX59" fmla="*/ 1266825 w 3044825"/>
                <a:gd name="connsiteY59" fmla="*/ 295275 h 977825"/>
                <a:gd name="connsiteX60" fmla="*/ 1295400 w 3044825"/>
                <a:gd name="connsiteY60" fmla="*/ 292100 h 977825"/>
                <a:gd name="connsiteX61" fmla="*/ 1320800 w 3044825"/>
                <a:gd name="connsiteY61" fmla="*/ 276225 h 977825"/>
                <a:gd name="connsiteX62" fmla="*/ 1339850 w 3044825"/>
                <a:gd name="connsiteY62" fmla="*/ 273050 h 977825"/>
                <a:gd name="connsiteX63" fmla="*/ 1346200 w 3044825"/>
                <a:gd name="connsiteY63" fmla="*/ 263525 h 977825"/>
                <a:gd name="connsiteX64" fmla="*/ 1368425 w 3044825"/>
                <a:gd name="connsiteY64" fmla="*/ 254000 h 977825"/>
                <a:gd name="connsiteX65" fmla="*/ 1377950 w 3044825"/>
                <a:gd name="connsiteY65" fmla="*/ 247650 h 977825"/>
                <a:gd name="connsiteX66" fmla="*/ 1387475 w 3044825"/>
                <a:gd name="connsiteY66" fmla="*/ 244475 h 977825"/>
                <a:gd name="connsiteX67" fmla="*/ 1409700 w 3044825"/>
                <a:gd name="connsiteY67" fmla="*/ 228600 h 977825"/>
                <a:gd name="connsiteX68" fmla="*/ 1425575 w 3044825"/>
                <a:gd name="connsiteY68" fmla="*/ 225425 h 977825"/>
                <a:gd name="connsiteX69" fmla="*/ 1435100 w 3044825"/>
                <a:gd name="connsiteY69" fmla="*/ 222250 h 977825"/>
                <a:gd name="connsiteX70" fmla="*/ 1447800 w 3044825"/>
                <a:gd name="connsiteY70" fmla="*/ 219075 h 977825"/>
                <a:gd name="connsiteX71" fmla="*/ 1470025 w 3044825"/>
                <a:gd name="connsiteY71" fmla="*/ 209550 h 977825"/>
                <a:gd name="connsiteX72" fmla="*/ 1479550 w 3044825"/>
                <a:gd name="connsiteY72" fmla="*/ 206375 h 977825"/>
                <a:gd name="connsiteX73" fmla="*/ 1508125 w 3044825"/>
                <a:gd name="connsiteY73" fmla="*/ 190500 h 977825"/>
                <a:gd name="connsiteX74" fmla="*/ 1527175 w 3044825"/>
                <a:gd name="connsiteY74" fmla="*/ 180975 h 977825"/>
                <a:gd name="connsiteX75" fmla="*/ 1539875 w 3044825"/>
                <a:gd name="connsiteY75" fmla="*/ 184150 h 977825"/>
                <a:gd name="connsiteX76" fmla="*/ 1558925 w 3044825"/>
                <a:gd name="connsiteY76" fmla="*/ 190500 h 977825"/>
                <a:gd name="connsiteX77" fmla="*/ 1568450 w 3044825"/>
                <a:gd name="connsiteY77" fmla="*/ 196850 h 977825"/>
                <a:gd name="connsiteX78" fmla="*/ 1600200 w 3044825"/>
                <a:gd name="connsiteY78" fmla="*/ 203200 h 977825"/>
                <a:gd name="connsiteX79" fmla="*/ 1657350 w 3044825"/>
                <a:gd name="connsiteY79" fmla="*/ 212725 h 977825"/>
                <a:gd name="connsiteX80" fmla="*/ 1695450 w 3044825"/>
                <a:gd name="connsiteY80" fmla="*/ 238125 h 977825"/>
                <a:gd name="connsiteX81" fmla="*/ 1708150 w 3044825"/>
                <a:gd name="connsiteY81" fmla="*/ 247650 h 977825"/>
                <a:gd name="connsiteX82" fmla="*/ 1711325 w 3044825"/>
                <a:gd name="connsiteY82" fmla="*/ 266700 h 977825"/>
                <a:gd name="connsiteX83" fmla="*/ 1724025 w 3044825"/>
                <a:gd name="connsiteY83" fmla="*/ 273050 h 977825"/>
                <a:gd name="connsiteX84" fmla="*/ 1743075 w 3044825"/>
                <a:gd name="connsiteY84" fmla="*/ 279400 h 977825"/>
                <a:gd name="connsiteX85" fmla="*/ 1752600 w 3044825"/>
                <a:gd name="connsiteY85" fmla="*/ 282575 h 977825"/>
                <a:gd name="connsiteX86" fmla="*/ 1774825 w 3044825"/>
                <a:gd name="connsiteY86" fmla="*/ 288925 h 977825"/>
                <a:gd name="connsiteX87" fmla="*/ 1793875 w 3044825"/>
                <a:gd name="connsiteY87" fmla="*/ 301625 h 977825"/>
                <a:gd name="connsiteX88" fmla="*/ 1797050 w 3044825"/>
                <a:gd name="connsiteY88" fmla="*/ 317500 h 977825"/>
                <a:gd name="connsiteX89" fmla="*/ 1920875 w 3044825"/>
                <a:gd name="connsiteY89" fmla="*/ 374650 h 977825"/>
                <a:gd name="connsiteX90" fmla="*/ 1968500 w 3044825"/>
                <a:gd name="connsiteY90" fmla="*/ 381000 h 977825"/>
                <a:gd name="connsiteX91" fmla="*/ 1987550 w 3044825"/>
                <a:gd name="connsiteY91" fmla="*/ 393700 h 977825"/>
                <a:gd name="connsiteX92" fmla="*/ 1997075 w 3044825"/>
                <a:gd name="connsiteY92" fmla="*/ 412750 h 977825"/>
                <a:gd name="connsiteX93" fmla="*/ 2003425 w 3044825"/>
                <a:gd name="connsiteY93" fmla="*/ 422275 h 977825"/>
                <a:gd name="connsiteX94" fmla="*/ 2006600 w 3044825"/>
                <a:gd name="connsiteY94" fmla="*/ 431800 h 977825"/>
                <a:gd name="connsiteX95" fmla="*/ 2019300 w 3044825"/>
                <a:gd name="connsiteY95" fmla="*/ 460375 h 977825"/>
                <a:gd name="connsiteX96" fmla="*/ 2032000 w 3044825"/>
                <a:gd name="connsiteY96" fmla="*/ 479425 h 977825"/>
                <a:gd name="connsiteX97" fmla="*/ 2063750 w 3044825"/>
                <a:gd name="connsiteY97" fmla="*/ 511175 h 977825"/>
                <a:gd name="connsiteX98" fmla="*/ 2073275 w 3044825"/>
                <a:gd name="connsiteY98" fmla="*/ 520700 h 977825"/>
                <a:gd name="connsiteX99" fmla="*/ 2095500 w 3044825"/>
                <a:gd name="connsiteY99" fmla="*/ 546100 h 977825"/>
                <a:gd name="connsiteX100" fmla="*/ 2101850 w 3044825"/>
                <a:gd name="connsiteY100" fmla="*/ 555625 h 977825"/>
                <a:gd name="connsiteX101" fmla="*/ 2111375 w 3044825"/>
                <a:gd name="connsiteY101" fmla="*/ 561975 h 977825"/>
                <a:gd name="connsiteX102" fmla="*/ 2114550 w 3044825"/>
                <a:gd name="connsiteY102" fmla="*/ 571500 h 977825"/>
                <a:gd name="connsiteX103" fmla="*/ 2124075 w 3044825"/>
                <a:gd name="connsiteY103" fmla="*/ 581025 h 977825"/>
                <a:gd name="connsiteX104" fmla="*/ 2146300 w 3044825"/>
                <a:gd name="connsiteY104" fmla="*/ 596900 h 977825"/>
                <a:gd name="connsiteX105" fmla="*/ 2155825 w 3044825"/>
                <a:gd name="connsiteY105" fmla="*/ 600075 h 977825"/>
                <a:gd name="connsiteX106" fmla="*/ 2171700 w 3044825"/>
                <a:gd name="connsiteY106" fmla="*/ 619125 h 977825"/>
                <a:gd name="connsiteX107" fmla="*/ 2178050 w 3044825"/>
                <a:gd name="connsiteY107" fmla="*/ 628650 h 977825"/>
                <a:gd name="connsiteX108" fmla="*/ 2197100 w 3044825"/>
                <a:gd name="connsiteY108" fmla="*/ 638175 h 977825"/>
                <a:gd name="connsiteX109" fmla="*/ 2222500 w 3044825"/>
                <a:gd name="connsiteY109" fmla="*/ 644525 h 977825"/>
                <a:gd name="connsiteX110" fmla="*/ 2247900 w 3044825"/>
                <a:gd name="connsiteY110" fmla="*/ 647700 h 977825"/>
                <a:gd name="connsiteX111" fmla="*/ 2266950 w 3044825"/>
                <a:gd name="connsiteY111" fmla="*/ 650875 h 977825"/>
                <a:gd name="connsiteX112" fmla="*/ 2317750 w 3044825"/>
                <a:gd name="connsiteY112" fmla="*/ 654050 h 977825"/>
                <a:gd name="connsiteX113" fmla="*/ 2333625 w 3044825"/>
                <a:gd name="connsiteY113" fmla="*/ 669925 h 977825"/>
                <a:gd name="connsiteX114" fmla="*/ 2346325 w 3044825"/>
                <a:gd name="connsiteY114" fmla="*/ 695325 h 977825"/>
                <a:gd name="connsiteX115" fmla="*/ 2359025 w 3044825"/>
                <a:gd name="connsiteY115" fmla="*/ 714375 h 977825"/>
                <a:gd name="connsiteX116" fmla="*/ 2365375 w 3044825"/>
                <a:gd name="connsiteY116" fmla="*/ 723900 h 977825"/>
                <a:gd name="connsiteX117" fmla="*/ 2374900 w 3044825"/>
                <a:gd name="connsiteY117" fmla="*/ 733425 h 977825"/>
                <a:gd name="connsiteX118" fmla="*/ 2381250 w 3044825"/>
                <a:gd name="connsiteY118" fmla="*/ 742950 h 977825"/>
                <a:gd name="connsiteX119" fmla="*/ 2390775 w 3044825"/>
                <a:gd name="connsiteY119" fmla="*/ 749300 h 977825"/>
                <a:gd name="connsiteX120" fmla="*/ 2413000 w 3044825"/>
                <a:gd name="connsiteY120" fmla="*/ 771525 h 977825"/>
                <a:gd name="connsiteX121" fmla="*/ 2419350 w 3044825"/>
                <a:gd name="connsiteY121" fmla="*/ 781050 h 977825"/>
                <a:gd name="connsiteX122" fmla="*/ 2428875 w 3044825"/>
                <a:gd name="connsiteY122" fmla="*/ 787400 h 977825"/>
                <a:gd name="connsiteX123" fmla="*/ 2444750 w 3044825"/>
                <a:gd name="connsiteY123" fmla="*/ 806450 h 977825"/>
                <a:gd name="connsiteX124" fmla="*/ 2454275 w 3044825"/>
                <a:gd name="connsiteY124" fmla="*/ 812800 h 977825"/>
                <a:gd name="connsiteX125" fmla="*/ 2470150 w 3044825"/>
                <a:gd name="connsiteY125" fmla="*/ 828675 h 977825"/>
                <a:gd name="connsiteX126" fmla="*/ 2486025 w 3044825"/>
                <a:gd name="connsiteY126" fmla="*/ 844550 h 977825"/>
                <a:gd name="connsiteX127" fmla="*/ 2501900 w 3044825"/>
                <a:gd name="connsiteY127" fmla="*/ 863600 h 977825"/>
                <a:gd name="connsiteX128" fmla="*/ 2517775 w 3044825"/>
                <a:gd name="connsiteY128" fmla="*/ 879475 h 977825"/>
                <a:gd name="connsiteX129" fmla="*/ 2520950 w 3044825"/>
                <a:gd name="connsiteY129" fmla="*/ 889000 h 977825"/>
                <a:gd name="connsiteX130" fmla="*/ 2536825 w 3044825"/>
                <a:gd name="connsiteY130" fmla="*/ 908050 h 977825"/>
                <a:gd name="connsiteX131" fmla="*/ 2540000 w 3044825"/>
                <a:gd name="connsiteY131" fmla="*/ 917575 h 977825"/>
                <a:gd name="connsiteX132" fmla="*/ 2559050 w 3044825"/>
                <a:gd name="connsiteY132" fmla="*/ 930275 h 977825"/>
                <a:gd name="connsiteX133" fmla="*/ 2578100 w 3044825"/>
                <a:gd name="connsiteY133" fmla="*/ 939800 h 977825"/>
                <a:gd name="connsiteX134" fmla="*/ 2606675 w 3044825"/>
                <a:gd name="connsiteY134" fmla="*/ 962025 h 977825"/>
                <a:gd name="connsiteX135" fmla="*/ 2616200 w 3044825"/>
                <a:gd name="connsiteY135" fmla="*/ 968375 h 977825"/>
                <a:gd name="connsiteX136" fmla="*/ 2625725 w 3044825"/>
                <a:gd name="connsiteY136" fmla="*/ 974725 h 977825"/>
                <a:gd name="connsiteX137" fmla="*/ 2771775 w 3044825"/>
                <a:gd name="connsiteY137" fmla="*/ 914400 h 977825"/>
                <a:gd name="connsiteX138" fmla="*/ 2784475 w 3044825"/>
                <a:gd name="connsiteY138" fmla="*/ 895350 h 977825"/>
                <a:gd name="connsiteX139" fmla="*/ 2794000 w 3044825"/>
                <a:gd name="connsiteY139" fmla="*/ 885825 h 977825"/>
                <a:gd name="connsiteX140" fmla="*/ 2813050 w 3044825"/>
                <a:gd name="connsiteY140" fmla="*/ 869950 h 977825"/>
                <a:gd name="connsiteX141" fmla="*/ 2825750 w 3044825"/>
                <a:gd name="connsiteY141" fmla="*/ 854075 h 977825"/>
                <a:gd name="connsiteX142" fmla="*/ 2841625 w 3044825"/>
                <a:gd name="connsiteY142" fmla="*/ 838200 h 977825"/>
                <a:gd name="connsiteX143" fmla="*/ 2863850 w 3044825"/>
                <a:gd name="connsiteY143" fmla="*/ 822325 h 977825"/>
                <a:gd name="connsiteX144" fmla="*/ 2882900 w 3044825"/>
                <a:gd name="connsiteY144" fmla="*/ 815975 h 977825"/>
                <a:gd name="connsiteX145" fmla="*/ 2905125 w 3044825"/>
                <a:gd name="connsiteY145" fmla="*/ 809625 h 977825"/>
                <a:gd name="connsiteX146" fmla="*/ 2921000 w 3044825"/>
                <a:gd name="connsiteY146" fmla="*/ 806450 h 977825"/>
                <a:gd name="connsiteX147" fmla="*/ 2930525 w 3044825"/>
                <a:gd name="connsiteY147" fmla="*/ 803275 h 977825"/>
                <a:gd name="connsiteX148" fmla="*/ 2943225 w 3044825"/>
                <a:gd name="connsiteY148" fmla="*/ 800100 h 977825"/>
                <a:gd name="connsiteX149" fmla="*/ 2955925 w 3044825"/>
                <a:gd name="connsiteY149" fmla="*/ 793750 h 977825"/>
                <a:gd name="connsiteX150" fmla="*/ 2965450 w 3044825"/>
                <a:gd name="connsiteY150" fmla="*/ 790575 h 977825"/>
                <a:gd name="connsiteX151" fmla="*/ 2974975 w 3044825"/>
                <a:gd name="connsiteY151" fmla="*/ 781050 h 977825"/>
                <a:gd name="connsiteX152" fmla="*/ 2984500 w 3044825"/>
                <a:gd name="connsiteY152" fmla="*/ 774700 h 977825"/>
                <a:gd name="connsiteX153" fmla="*/ 2987675 w 3044825"/>
                <a:gd name="connsiteY153" fmla="*/ 765175 h 977825"/>
                <a:gd name="connsiteX154" fmla="*/ 2997200 w 3044825"/>
                <a:gd name="connsiteY154" fmla="*/ 755650 h 977825"/>
                <a:gd name="connsiteX155" fmla="*/ 3006725 w 3044825"/>
                <a:gd name="connsiteY155" fmla="*/ 698500 h 977825"/>
                <a:gd name="connsiteX156" fmla="*/ 3013075 w 3044825"/>
                <a:gd name="connsiteY156" fmla="*/ 688975 h 977825"/>
                <a:gd name="connsiteX157" fmla="*/ 3032125 w 3044825"/>
                <a:gd name="connsiteY157" fmla="*/ 676275 h 977825"/>
                <a:gd name="connsiteX158" fmla="*/ 3044825 w 3044825"/>
                <a:gd name="connsiteY158" fmla="*/ 673100 h 977825"/>
                <a:gd name="connsiteX0" fmla="*/ 0 w 3044825"/>
                <a:gd name="connsiteY0" fmla="*/ 0 h 979437"/>
                <a:gd name="connsiteX1" fmla="*/ 0 w 3044825"/>
                <a:gd name="connsiteY1" fmla="*/ 0 h 979437"/>
                <a:gd name="connsiteX2" fmla="*/ 22225 w 3044825"/>
                <a:gd name="connsiteY2" fmla="*/ 19050 h 979437"/>
                <a:gd name="connsiteX3" fmla="*/ 38100 w 3044825"/>
                <a:gd name="connsiteY3" fmla="*/ 38100 h 979437"/>
                <a:gd name="connsiteX4" fmla="*/ 53975 w 3044825"/>
                <a:gd name="connsiteY4" fmla="*/ 53975 h 979437"/>
                <a:gd name="connsiteX5" fmla="*/ 69850 w 3044825"/>
                <a:gd name="connsiteY5" fmla="*/ 66675 h 979437"/>
                <a:gd name="connsiteX6" fmla="*/ 95250 w 3044825"/>
                <a:gd name="connsiteY6" fmla="*/ 79375 h 979437"/>
                <a:gd name="connsiteX7" fmla="*/ 114300 w 3044825"/>
                <a:gd name="connsiteY7" fmla="*/ 92075 h 979437"/>
                <a:gd name="connsiteX8" fmla="*/ 123825 w 3044825"/>
                <a:gd name="connsiteY8" fmla="*/ 95250 h 979437"/>
                <a:gd name="connsiteX9" fmla="*/ 146050 w 3044825"/>
                <a:gd name="connsiteY9" fmla="*/ 111125 h 979437"/>
                <a:gd name="connsiteX10" fmla="*/ 155575 w 3044825"/>
                <a:gd name="connsiteY10" fmla="*/ 114300 h 979437"/>
                <a:gd name="connsiteX11" fmla="*/ 180975 w 3044825"/>
                <a:gd name="connsiteY11" fmla="*/ 123825 h 979437"/>
                <a:gd name="connsiteX12" fmla="*/ 200025 w 3044825"/>
                <a:gd name="connsiteY12" fmla="*/ 130175 h 979437"/>
                <a:gd name="connsiteX13" fmla="*/ 212725 w 3044825"/>
                <a:gd name="connsiteY13" fmla="*/ 133350 h 979437"/>
                <a:gd name="connsiteX14" fmla="*/ 231775 w 3044825"/>
                <a:gd name="connsiteY14" fmla="*/ 139700 h 979437"/>
                <a:gd name="connsiteX15" fmla="*/ 250825 w 3044825"/>
                <a:gd name="connsiteY15" fmla="*/ 142875 h 979437"/>
                <a:gd name="connsiteX16" fmla="*/ 279400 w 3044825"/>
                <a:gd name="connsiteY16" fmla="*/ 152400 h 979437"/>
                <a:gd name="connsiteX17" fmla="*/ 298450 w 3044825"/>
                <a:gd name="connsiteY17" fmla="*/ 155575 h 979437"/>
                <a:gd name="connsiteX18" fmla="*/ 317500 w 3044825"/>
                <a:gd name="connsiteY18" fmla="*/ 161925 h 979437"/>
                <a:gd name="connsiteX19" fmla="*/ 327025 w 3044825"/>
                <a:gd name="connsiteY19" fmla="*/ 165100 h 979437"/>
                <a:gd name="connsiteX20" fmla="*/ 336550 w 3044825"/>
                <a:gd name="connsiteY20" fmla="*/ 171450 h 979437"/>
                <a:gd name="connsiteX21" fmla="*/ 346075 w 3044825"/>
                <a:gd name="connsiteY21" fmla="*/ 180975 h 979437"/>
                <a:gd name="connsiteX22" fmla="*/ 355600 w 3044825"/>
                <a:gd name="connsiteY22" fmla="*/ 184150 h 979437"/>
                <a:gd name="connsiteX23" fmla="*/ 377825 w 3044825"/>
                <a:gd name="connsiteY23" fmla="*/ 196850 h 979437"/>
                <a:gd name="connsiteX24" fmla="*/ 396875 w 3044825"/>
                <a:gd name="connsiteY24" fmla="*/ 212725 h 979437"/>
                <a:gd name="connsiteX25" fmla="*/ 409575 w 3044825"/>
                <a:gd name="connsiteY25" fmla="*/ 219075 h 979437"/>
                <a:gd name="connsiteX26" fmla="*/ 428625 w 3044825"/>
                <a:gd name="connsiteY26" fmla="*/ 231775 h 979437"/>
                <a:gd name="connsiteX27" fmla="*/ 447675 w 3044825"/>
                <a:gd name="connsiteY27" fmla="*/ 244475 h 979437"/>
                <a:gd name="connsiteX28" fmla="*/ 466725 w 3044825"/>
                <a:gd name="connsiteY28" fmla="*/ 257175 h 979437"/>
                <a:gd name="connsiteX29" fmla="*/ 476250 w 3044825"/>
                <a:gd name="connsiteY29" fmla="*/ 263525 h 979437"/>
                <a:gd name="connsiteX30" fmla="*/ 495300 w 3044825"/>
                <a:gd name="connsiteY30" fmla="*/ 279400 h 979437"/>
                <a:gd name="connsiteX31" fmla="*/ 504825 w 3044825"/>
                <a:gd name="connsiteY31" fmla="*/ 282575 h 979437"/>
                <a:gd name="connsiteX32" fmla="*/ 514350 w 3044825"/>
                <a:gd name="connsiteY32" fmla="*/ 288925 h 979437"/>
                <a:gd name="connsiteX33" fmla="*/ 533400 w 3044825"/>
                <a:gd name="connsiteY33" fmla="*/ 298450 h 979437"/>
                <a:gd name="connsiteX34" fmla="*/ 549275 w 3044825"/>
                <a:gd name="connsiteY34" fmla="*/ 282575 h 979437"/>
                <a:gd name="connsiteX35" fmla="*/ 558800 w 3044825"/>
                <a:gd name="connsiteY35" fmla="*/ 279400 h 979437"/>
                <a:gd name="connsiteX36" fmla="*/ 590550 w 3044825"/>
                <a:gd name="connsiteY36" fmla="*/ 276225 h 979437"/>
                <a:gd name="connsiteX37" fmla="*/ 603250 w 3044825"/>
                <a:gd name="connsiteY37" fmla="*/ 234950 h 979437"/>
                <a:gd name="connsiteX38" fmla="*/ 622300 w 3044825"/>
                <a:gd name="connsiteY38" fmla="*/ 225425 h 979437"/>
                <a:gd name="connsiteX39" fmla="*/ 638175 w 3044825"/>
                <a:gd name="connsiteY39" fmla="*/ 209550 h 979437"/>
                <a:gd name="connsiteX40" fmla="*/ 657225 w 3044825"/>
                <a:gd name="connsiteY40" fmla="*/ 203200 h 979437"/>
                <a:gd name="connsiteX41" fmla="*/ 676275 w 3044825"/>
                <a:gd name="connsiteY41" fmla="*/ 190500 h 979437"/>
                <a:gd name="connsiteX42" fmla="*/ 685800 w 3044825"/>
                <a:gd name="connsiteY42" fmla="*/ 180975 h 979437"/>
                <a:gd name="connsiteX43" fmla="*/ 711200 w 3044825"/>
                <a:gd name="connsiteY43" fmla="*/ 174625 h 979437"/>
                <a:gd name="connsiteX44" fmla="*/ 736600 w 3044825"/>
                <a:gd name="connsiteY44" fmla="*/ 177800 h 979437"/>
                <a:gd name="connsiteX45" fmla="*/ 752475 w 3044825"/>
                <a:gd name="connsiteY45" fmla="*/ 193675 h 979437"/>
                <a:gd name="connsiteX46" fmla="*/ 762000 w 3044825"/>
                <a:gd name="connsiteY46" fmla="*/ 196850 h 979437"/>
                <a:gd name="connsiteX47" fmla="*/ 873125 w 3044825"/>
                <a:gd name="connsiteY47" fmla="*/ 193675 h 979437"/>
                <a:gd name="connsiteX48" fmla="*/ 908050 w 3044825"/>
                <a:gd name="connsiteY48" fmla="*/ 196850 h 979437"/>
                <a:gd name="connsiteX49" fmla="*/ 927100 w 3044825"/>
                <a:gd name="connsiteY49" fmla="*/ 215900 h 979437"/>
                <a:gd name="connsiteX50" fmla="*/ 936625 w 3044825"/>
                <a:gd name="connsiteY50" fmla="*/ 225425 h 979437"/>
                <a:gd name="connsiteX51" fmla="*/ 946150 w 3044825"/>
                <a:gd name="connsiteY51" fmla="*/ 234950 h 979437"/>
                <a:gd name="connsiteX52" fmla="*/ 955675 w 3044825"/>
                <a:gd name="connsiteY52" fmla="*/ 241300 h 979437"/>
                <a:gd name="connsiteX53" fmla="*/ 1162050 w 3044825"/>
                <a:gd name="connsiteY53" fmla="*/ 244475 h 979437"/>
                <a:gd name="connsiteX54" fmla="*/ 1184275 w 3044825"/>
                <a:gd name="connsiteY54" fmla="*/ 266700 h 979437"/>
                <a:gd name="connsiteX55" fmla="*/ 1196975 w 3044825"/>
                <a:gd name="connsiteY55" fmla="*/ 285750 h 979437"/>
                <a:gd name="connsiteX56" fmla="*/ 1206500 w 3044825"/>
                <a:gd name="connsiteY56" fmla="*/ 292100 h 979437"/>
                <a:gd name="connsiteX57" fmla="*/ 1225550 w 3044825"/>
                <a:gd name="connsiteY57" fmla="*/ 307975 h 979437"/>
                <a:gd name="connsiteX58" fmla="*/ 1257300 w 3044825"/>
                <a:gd name="connsiteY58" fmla="*/ 301625 h 979437"/>
                <a:gd name="connsiteX59" fmla="*/ 1266825 w 3044825"/>
                <a:gd name="connsiteY59" fmla="*/ 295275 h 979437"/>
                <a:gd name="connsiteX60" fmla="*/ 1295400 w 3044825"/>
                <a:gd name="connsiteY60" fmla="*/ 292100 h 979437"/>
                <a:gd name="connsiteX61" fmla="*/ 1320800 w 3044825"/>
                <a:gd name="connsiteY61" fmla="*/ 276225 h 979437"/>
                <a:gd name="connsiteX62" fmla="*/ 1339850 w 3044825"/>
                <a:gd name="connsiteY62" fmla="*/ 273050 h 979437"/>
                <a:gd name="connsiteX63" fmla="*/ 1346200 w 3044825"/>
                <a:gd name="connsiteY63" fmla="*/ 263525 h 979437"/>
                <a:gd name="connsiteX64" fmla="*/ 1368425 w 3044825"/>
                <a:gd name="connsiteY64" fmla="*/ 254000 h 979437"/>
                <a:gd name="connsiteX65" fmla="*/ 1377950 w 3044825"/>
                <a:gd name="connsiteY65" fmla="*/ 247650 h 979437"/>
                <a:gd name="connsiteX66" fmla="*/ 1387475 w 3044825"/>
                <a:gd name="connsiteY66" fmla="*/ 244475 h 979437"/>
                <a:gd name="connsiteX67" fmla="*/ 1409700 w 3044825"/>
                <a:gd name="connsiteY67" fmla="*/ 228600 h 979437"/>
                <a:gd name="connsiteX68" fmla="*/ 1425575 w 3044825"/>
                <a:gd name="connsiteY68" fmla="*/ 225425 h 979437"/>
                <a:gd name="connsiteX69" fmla="*/ 1435100 w 3044825"/>
                <a:gd name="connsiteY69" fmla="*/ 222250 h 979437"/>
                <a:gd name="connsiteX70" fmla="*/ 1447800 w 3044825"/>
                <a:gd name="connsiteY70" fmla="*/ 219075 h 979437"/>
                <a:gd name="connsiteX71" fmla="*/ 1470025 w 3044825"/>
                <a:gd name="connsiteY71" fmla="*/ 209550 h 979437"/>
                <a:gd name="connsiteX72" fmla="*/ 1479550 w 3044825"/>
                <a:gd name="connsiteY72" fmla="*/ 206375 h 979437"/>
                <a:gd name="connsiteX73" fmla="*/ 1508125 w 3044825"/>
                <a:gd name="connsiteY73" fmla="*/ 190500 h 979437"/>
                <a:gd name="connsiteX74" fmla="*/ 1527175 w 3044825"/>
                <a:gd name="connsiteY74" fmla="*/ 180975 h 979437"/>
                <a:gd name="connsiteX75" fmla="*/ 1539875 w 3044825"/>
                <a:gd name="connsiteY75" fmla="*/ 184150 h 979437"/>
                <a:gd name="connsiteX76" fmla="*/ 1558925 w 3044825"/>
                <a:gd name="connsiteY76" fmla="*/ 190500 h 979437"/>
                <a:gd name="connsiteX77" fmla="*/ 1568450 w 3044825"/>
                <a:gd name="connsiteY77" fmla="*/ 196850 h 979437"/>
                <a:gd name="connsiteX78" fmla="*/ 1600200 w 3044825"/>
                <a:gd name="connsiteY78" fmla="*/ 203200 h 979437"/>
                <a:gd name="connsiteX79" fmla="*/ 1657350 w 3044825"/>
                <a:gd name="connsiteY79" fmla="*/ 212725 h 979437"/>
                <a:gd name="connsiteX80" fmla="*/ 1695450 w 3044825"/>
                <a:gd name="connsiteY80" fmla="*/ 238125 h 979437"/>
                <a:gd name="connsiteX81" fmla="*/ 1708150 w 3044825"/>
                <a:gd name="connsiteY81" fmla="*/ 247650 h 979437"/>
                <a:gd name="connsiteX82" fmla="*/ 1711325 w 3044825"/>
                <a:gd name="connsiteY82" fmla="*/ 266700 h 979437"/>
                <a:gd name="connsiteX83" fmla="*/ 1724025 w 3044825"/>
                <a:gd name="connsiteY83" fmla="*/ 273050 h 979437"/>
                <a:gd name="connsiteX84" fmla="*/ 1743075 w 3044825"/>
                <a:gd name="connsiteY84" fmla="*/ 279400 h 979437"/>
                <a:gd name="connsiteX85" fmla="*/ 1752600 w 3044825"/>
                <a:gd name="connsiteY85" fmla="*/ 282575 h 979437"/>
                <a:gd name="connsiteX86" fmla="*/ 1774825 w 3044825"/>
                <a:gd name="connsiteY86" fmla="*/ 288925 h 979437"/>
                <a:gd name="connsiteX87" fmla="*/ 1793875 w 3044825"/>
                <a:gd name="connsiteY87" fmla="*/ 301625 h 979437"/>
                <a:gd name="connsiteX88" fmla="*/ 1797050 w 3044825"/>
                <a:gd name="connsiteY88" fmla="*/ 317500 h 979437"/>
                <a:gd name="connsiteX89" fmla="*/ 1920875 w 3044825"/>
                <a:gd name="connsiteY89" fmla="*/ 374650 h 979437"/>
                <a:gd name="connsiteX90" fmla="*/ 1968500 w 3044825"/>
                <a:gd name="connsiteY90" fmla="*/ 381000 h 979437"/>
                <a:gd name="connsiteX91" fmla="*/ 1987550 w 3044825"/>
                <a:gd name="connsiteY91" fmla="*/ 393700 h 979437"/>
                <a:gd name="connsiteX92" fmla="*/ 1997075 w 3044825"/>
                <a:gd name="connsiteY92" fmla="*/ 412750 h 979437"/>
                <a:gd name="connsiteX93" fmla="*/ 2003425 w 3044825"/>
                <a:gd name="connsiteY93" fmla="*/ 422275 h 979437"/>
                <a:gd name="connsiteX94" fmla="*/ 2006600 w 3044825"/>
                <a:gd name="connsiteY94" fmla="*/ 431800 h 979437"/>
                <a:gd name="connsiteX95" fmla="*/ 2019300 w 3044825"/>
                <a:gd name="connsiteY95" fmla="*/ 460375 h 979437"/>
                <a:gd name="connsiteX96" fmla="*/ 2032000 w 3044825"/>
                <a:gd name="connsiteY96" fmla="*/ 479425 h 979437"/>
                <a:gd name="connsiteX97" fmla="*/ 2063750 w 3044825"/>
                <a:gd name="connsiteY97" fmla="*/ 511175 h 979437"/>
                <a:gd name="connsiteX98" fmla="*/ 2073275 w 3044825"/>
                <a:gd name="connsiteY98" fmla="*/ 520700 h 979437"/>
                <a:gd name="connsiteX99" fmla="*/ 2095500 w 3044825"/>
                <a:gd name="connsiteY99" fmla="*/ 546100 h 979437"/>
                <a:gd name="connsiteX100" fmla="*/ 2101850 w 3044825"/>
                <a:gd name="connsiteY100" fmla="*/ 555625 h 979437"/>
                <a:gd name="connsiteX101" fmla="*/ 2111375 w 3044825"/>
                <a:gd name="connsiteY101" fmla="*/ 561975 h 979437"/>
                <a:gd name="connsiteX102" fmla="*/ 2114550 w 3044825"/>
                <a:gd name="connsiteY102" fmla="*/ 571500 h 979437"/>
                <a:gd name="connsiteX103" fmla="*/ 2124075 w 3044825"/>
                <a:gd name="connsiteY103" fmla="*/ 581025 h 979437"/>
                <a:gd name="connsiteX104" fmla="*/ 2146300 w 3044825"/>
                <a:gd name="connsiteY104" fmla="*/ 596900 h 979437"/>
                <a:gd name="connsiteX105" fmla="*/ 2155825 w 3044825"/>
                <a:gd name="connsiteY105" fmla="*/ 600075 h 979437"/>
                <a:gd name="connsiteX106" fmla="*/ 2171700 w 3044825"/>
                <a:gd name="connsiteY106" fmla="*/ 619125 h 979437"/>
                <a:gd name="connsiteX107" fmla="*/ 2178050 w 3044825"/>
                <a:gd name="connsiteY107" fmla="*/ 628650 h 979437"/>
                <a:gd name="connsiteX108" fmla="*/ 2197100 w 3044825"/>
                <a:gd name="connsiteY108" fmla="*/ 638175 h 979437"/>
                <a:gd name="connsiteX109" fmla="*/ 2222500 w 3044825"/>
                <a:gd name="connsiteY109" fmla="*/ 644525 h 979437"/>
                <a:gd name="connsiteX110" fmla="*/ 2247900 w 3044825"/>
                <a:gd name="connsiteY110" fmla="*/ 647700 h 979437"/>
                <a:gd name="connsiteX111" fmla="*/ 2266950 w 3044825"/>
                <a:gd name="connsiteY111" fmla="*/ 650875 h 979437"/>
                <a:gd name="connsiteX112" fmla="*/ 2317750 w 3044825"/>
                <a:gd name="connsiteY112" fmla="*/ 654050 h 979437"/>
                <a:gd name="connsiteX113" fmla="*/ 2333625 w 3044825"/>
                <a:gd name="connsiteY113" fmla="*/ 669925 h 979437"/>
                <a:gd name="connsiteX114" fmla="*/ 2346325 w 3044825"/>
                <a:gd name="connsiteY114" fmla="*/ 695325 h 979437"/>
                <a:gd name="connsiteX115" fmla="*/ 2359025 w 3044825"/>
                <a:gd name="connsiteY115" fmla="*/ 714375 h 979437"/>
                <a:gd name="connsiteX116" fmla="*/ 2365375 w 3044825"/>
                <a:gd name="connsiteY116" fmla="*/ 723900 h 979437"/>
                <a:gd name="connsiteX117" fmla="*/ 2374900 w 3044825"/>
                <a:gd name="connsiteY117" fmla="*/ 733425 h 979437"/>
                <a:gd name="connsiteX118" fmla="*/ 2381250 w 3044825"/>
                <a:gd name="connsiteY118" fmla="*/ 742950 h 979437"/>
                <a:gd name="connsiteX119" fmla="*/ 2390775 w 3044825"/>
                <a:gd name="connsiteY119" fmla="*/ 749300 h 979437"/>
                <a:gd name="connsiteX120" fmla="*/ 2413000 w 3044825"/>
                <a:gd name="connsiteY120" fmla="*/ 771525 h 979437"/>
                <a:gd name="connsiteX121" fmla="*/ 2419350 w 3044825"/>
                <a:gd name="connsiteY121" fmla="*/ 781050 h 979437"/>
                <a:gd name="connsiteX122" fmla="*/ 2428875 w 3044825"/>
                <a:gd name="connsiteY122" fmla="*/ 787400 h 979437"/>
                <a:gd name="connsiteX123" fmla="*/ 2444750 w 3044825"/>
                <a:gd name="connsiteY123" fmla="*/ 806450 h 979437"/>
                <a:gd name="connsiteX124" fmla="*/ 2454275 w 3044825"/>
                <a:gd name="connsiteY124" fmla="*/ 812800 h 979437"/>
                <a:gd name="connsiteX125" fmla="*/ 2470150 w 3044825"/>
                <a:gd name="connsiteY125" fmla="*/ 828675 h 979437"/>
                <a:gd name="connsiteX126" fmla="*/ 2486025 w 3044825"/>
                <a:gd name="connsiteY126" fmla="*/ 844550 h 979437"/>
                <a:gd name="connsiteX127" fmla="*/ 2501900 w 3044825"/>
                <a:gd name="connsiteY127" fmla="*/ 863600 h 979437"/>
                <a:gd name="connsiteX128" fmla="*/ 2517775 w 3044825"/>
                <a:gd name="connsiteY128" fmla="*/ 879475 h 979437"/>
                <a:gd name="connsiteX129" fmla="*/ 2520950 w 3044825"/>
                <a:gd name="connsiteY129" fmla="*/ 889000 h 979437"/>
                <a:gd name="connsiteX130" fmla="*/ 2536825 w 3044825"/>
                <a:gd name="connsiteY130" fmla="*/ 908050 h 979437"/>
                <a:gd name="connsiteX131" fmla="*/ 2540000 w 3044825"/>
                <a:gd name="connsiteY131" fmla="*/ 917575 h 979437"/>
                <a:gd name="connsiteX132" fmla="*/ 2559050 w 3044825"/>
                <a:gd name="connsiteY132" fmla="*/ 930275 h 979437"/>
                <a:gd name="connsiteX133" fmla="*/ 2578100 w 3044825"/>
                <a:gd name="connsiteY133" fmla="*/ 939800 h 979437"/>
                <a:gd name="connsiteX134" fmla="*/ 2606675 w 3044825"/>
                <a:gd name="connsiteY134" fmla="*/ 962025 h 979437"/>
                <a:gd name="connsiteX135" fmla="*/ 2616200 w 3044825"/>
                <a:gd name="connsiteY135" fmla="*/ 968375 h 979437"/>
                <a:gd name="connsiteX136" fmla="*/ 2625725 w 3044825"/>
                <a:gd name="connsiteY136" fmla="*/ 974725 h 979437"/>
                <a:gd name="connsiteX137" fmla="*/ 2663825 w 3044825"/>
                <a:gd name="connsiteY137" fmla="*/ 974725 h 979437"/>
                <a:gd name="connsiteX138" fmla="*/ 2771775 w 3044825"/>
                <a:gd name="connsiteY138" fmla="*/ 914400 h 979437"/>
                <a:gd name="connsiteX139" fmla="*/ 2784475 w 3044825"/>
                <a:gd name="connsiteY139" fmla="*/ 895350 h 979437"/>
                <a:gd name="connsiteX140" fmla="*/ 2794000 w 3044825"/>
                <a:gd name="connsiteY140" fmla="*/ 885825 h 979437"/>
                <a:gd name="connsiteX141" fmla="*/ 2813050 w 3044825"/>
                <a:gd name="connsiteY141" fmla="*/ 869950 h 979437"/>
                <a:gd name="connsiteX142" fmla="*/ 2825750 w 3044825"/>
                <a:gd name="connsiteY142" fmla="*/ 854075 h 979437"/>
                <a:gd name="connsiteX143" fmla="*/ 2841625 w 3044825"/>
                <a:gd name="connsiteY143" fmla="*/ 838200 h 979437"/>
                <a:gd name="connsiteX144" fmla="*/ 2863850 w 3044825"/>
                <a:gd name="connsiteY144" fmla="*/ 822325 h 979437"/>
                <a:gd name="connsiteX145" fmla="*/ 2882900 w 3044825"/>
                <a:gd name="connsiteY145" fmla="*/ 815975 h 979437"/>
                <a:gd name="connsiteX146" fmla="*/ 2905125 w 3044825"/>
                <a:gd name="connsiteY146" fmla="*/ 809625 h 979437"/>
                <a:gd name="connsiteX147" fmla="*/ 2921000 w 3044825"/>
                <a:gd name="connsiteY147" fmla="*/ 806450 h 979437"/>
                <a:gd name="connsiteX148" fmla="*/ 2930525 w 3044825"/>
                <a:gd name="connsiteY148" fmla="*/ 803275 h 979437"/>
                <a:gd name="connsiteX149" fmla="*/ 2943225 w 3044825"/>
                <a:gd name="connsiteY149" fmla="*/ 800100 h 979437"/>
                <a:gd name="connsiteX150" fmla="*/ 2955925 w 3044825"/>
                <a:gd name="connsiteY150" fmla="*/ 793750 h 979437"/>
                <a:gd name="connsiteX151" fmla="*/ 2965450 w 3044825"/>
                <a:gd name="connsiteY151" fmla="*/ 790575 h 979437"/>
                <a:gd name="connsiteX152" fmla="*/ 2974975 w 3044825"/>
                <a:gd name="connsiteY152" fmla="*/ 781050 h 979437"/>
                <a:gd name="connsiteX153" fmla="*/ 2984500 w 3044825"/>
                <a:gd name="connsiteY153" fmla="*/ 774700 h 979437"/>
                <a:gd name="connsiteX154" fmla="*/ 2987675 w 3044825"/>
                <a:gd name="connsiteY154" fmla="*/ 765175 h 979437"/>
                <a:gd name="connsiteX155" fmla="*/ 2997200 w 3044825"/>
                <a:gd name="connsiteY155" fmla="*/ 755650 h 979437"/>
                <a:gd name="connsiteX156" fmla="*/ 3006725 w 3044825"/>
                <a:gd name="connsiteY156" fmla="*/ 698500 h 979437"/>
                <a:gd name="connsiteX157" fmla="*/ 3013075 w 3044825"/>
                <a:gd name="connsiteY157" fmla="*/ 688975 h 979437"/>
                <a:gd name="connsiteX158" fmla="*/ 3032125 w 3044825"/>
                <a:gd name="connsiteY158" fmla="*/ 676275 h 979437"/>
                <a:gd name="connsiteX159" fmla="*/ 3044825 w 3044825"/>
                <a:gd name="connsiteY159" fmla="*/ 673100 h 979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3044825" h="979437">
                  <a:moveTo>
                    <a:pt x="0" y="0"/>
                  </a:moveTo>
                  <a:lnTo>
                    <a:pt x="0" y="0"/>
                  </a:lnTo>
                  <a:cubicBezTo>
                    <a:pt x="7408" y="6350"/>
                    <a:pt x="15698" y="11797"/>
                    <a:pt x="22225" y="19050"/>
                  </a:cubicBezTo>
                  <a:cubicBezTo>
                    <a:pt x="46395" y="45905"/>
                    <a:pt x="11646" y="20464"/>
                    <a:pt x="38100" y="38100"/>
                  </a:cubicBezTo>
                  <a:cubicBezTo>
                    <a:pt x="55033" y="63500"/>
                    <a:pt x="32808" y="32808"/>
                    <a:pt x="53975" y="53975"/>
                  </a:cubicBezTo>
                  <a:cubicBezTo>
                    <a:pt x="68336" y="68336"/>
                    <a:pt x="51307" y="60494"/>
                    <a:pt x="69850" y="66675"/>
                  </a:cubicBezTo>
                  <a:cubicBezTo>
                    <a:pt x="91065" y="87890"/>
                    <a:pt x="65509" y="65856"/>
                    <a:pt x="95250" y="79375"/>
                  </a:cubicBezTo>
                  <a:cubicBezTo>
                    <a:pt x="102198" y="82533"/>
                    <a:pt x="107060" y="89662"/>
                    <a:pt x="114300" y="92075"/>
                  </a:cubicBezTo>
                  <a:lnTo>
                    <a:pt x="123825" y="95250"/>
                  </a:lnTo>
                  <a:cubicBezTo>
                    <a:pt x="126701" y="97407"/>
                    <a:pt x="141407" y="108804"/>
                    <a:pt x="146050" y="111125"/>
                  </a:cubicBezTo>
                  <a:cubicBezTo>
                    <a:pt x="149043" y="112622"/>
                    <a:pt x="152400" y="113242"/>
                    <a:pt x="155575" y="114300"/>
                  </a:cubicBezTo>
                  <a:cubicBezTo>
                    <a:pt x="172151" y="125351"/>
                    <a:pt x="157737" y="117487"/>
                    <a:pt x="180975" y="123825"/>
                  </a:cubicBezTo>
                  <a:cubicBezTo>
                    <a:pt x="187433" y="125586"/>
                    <a:pt x="193531" y="128552"/>
                    <a:pt x="200025" y="130175"/>
                  </a:cubicBezTo>
                  <a:cubicBezTo>
                    <a:pt x="204258" y="131233"/>
                    <a:pt x="208545" y="132096"/>
                    <a:pt x="212725" y="133350"/>
                  </a:cubicBezTo>
                  <a:cubicBezTo>
                    <a:pt x="219136" y="135273"/>
                    <a:pt x="225281" y="138077"/>
                    <a:pt x="231775" y="139700"/>
                  </a:cubicBezTo>
                  <a:cubicBezTo>
                    <a:pt x="238020" y="141261"/>
                    <a:pt x="244475" y="141817"/>
                    <a:pt x="250825" y="142875"/>
                  </a:cubicBezTo>
                  <a:lnTo>
                    <a:pt x="279400" y="152400"/>
                  </a:lnTo>
                  <a:cubicBezTo>
                    <a:pt x="285507" y="154436"/>
                    <a:pt x="292100" y="154517"/>
                    <a:pt x="298450" y="155575"/>
                  </a:cubicBezTo>
                  <a:lnTo>
                    <a:pt x="317500" y="161925"/>
                  </a:lnTo>
                  <a:lnTo>
                    <a:pt x="327025" y="165100"/>
                  </a:lnTo>
                  <a:cubicBezTo>
                    <a:pt x="330200" y="167217"/>
                    <a:pt x="333619" y="169007"/>
                    <a:pt x="336550" y="171450"/>
                  </a:cubicBezTo>
                  <a:cubicBezTo>
                    <a:pt x="339999" y="174325"/>
                    <a:pt x="342339" y="178484"/>
                    <a:pt x="346075" y="180975"/>
                  </a:cubicBezTo>
                  <a:cubicBezTo>
                    <a:pt x="348860" y="182831"/>
                    <a:pt x="352425" y="183092"/>
                    <a:pt x="355600" y="184150"/>
                  </a:cubicBezTo>
                  <a:cubicBezTo>
                    <a:pt x="386309" y="207182"/>
                    <a:pt x="353583" y="184729"/>
                    <a:pt x="377825" y="196850"/>
                  </a:cubicBezTo>
                  <a:cubicBezTo>
                    <a:pt x="394622" y="205249"/>
                    <a:pt x="380491" y="201022"/>
                    <a:pt x="396875" y="212725"/>
                  </a:cubicBezTo>
                  <a:cubicBezTo>
                    <a:pt x="400726" y="215476"/>
                    <a:pt x="405516" y="216640"/>
                    <a:pt x="409575" y="219075"/>
                  </a:cubicBezTo>
                  <a:cubicBezTo>
                    <a:pt x="416119" y="223002"/>
                    <a:pt x="422275" y="227542"/>
                    <a:pt x="428625" y="231775"/>
                  </a:cubicBezTo>
                  <a:lnTo>
                    <a:pt x="447675" y="244475"/>
                  </a:lnTo>
                  <a:cubicBezTo>
                    <a:pt x="471458" y="260330"/>
                    <a:pt x="444077" y="249626"/>
                    <a:pt x="466725" y="257175"/>
                  </a:cubicBezTo>
                  <a:cubicBezTo>
                    <a:pt x="469900" y="259292"/>
                    <a:pt x="473319" y="261082"/>
                    <a:pt x="476250" y="263525"/>
                  </a:cubicBezTo>
                  <a:cubicBezTo>
                    <a:pt x="486783" y="272302"/>
                    <a:pt x="483476" y="273488"/>
                    <a:pt x="495300" y="279400"/>
                  </a:cubicBezTo>
                  <a:cubicBezTo>
                    <a:pt x="498293" y="280897"/>
                    <a:pt x="501650" y="281517"/>
                    <a:pt x="504825" y="282575"/>
                  </a:cubicBezTo>
                  <a:cubicBezTo>
                    <a:pt x="508000" y="284692"/>
                    <a:pt x="510937" y="287218"/>
                    <a:pt x="514350" y="288925"/>
                  </a:cubicBezTo>
                  <a:cubicBezTo>
                    <a:pt x="540640" y="302070"/>
                    <a:pt x="506103" y="280252"/>
                    <a:pt x="533400" y="298450"/>
                  </a:cubicBezTo>
                  <a:cubicBezTo>
                    <a:pt x="561975" y="291306"/>
                    <a:pt x="533400" y="302419"/>
                    <a:pt x="549275" y="282575"/>
                  </a:cubicBezTo>
                  <a:cubicBezTo>
                    <a:pt x="551366" y="279962"/>
                    <a:pt x="555492" y="279909"/>
                    <a:pt x="558800" y="279400"/>
                  </a:cubicBezTo>
                  <a:cubicBezTo>
                    <a:pt x="569312" y="277783"/>
                    <a:pt x="579967" y="277283"/>
                    <a:pt x="590550" y="276225"/>
                  </a:cubicBezTo>
                  <a:cubicBezTo>
                    <a:pt x="613249" y="261092"/>
                    <a:pt x="589168" y="280716"/>
                    <a:pt x="603250" y="234950"/>
                  </a:cubicBezTo>
                  <a:cubicBezTo>
                    <a:pt x="604657" y="230378"/>
                    <a:pt x="618717" y="226619"/>
                    <a:pt x="622300" y="225425"/>
                  </a:cubicBezTo>
                  <a:cubicBezTo>
                    <a:pt x="628093" y="216736"/>
                    <a:pt x="628149" y="214006"/>
                    <a:pt x="638175" y="209550"/>
                  </a:cubicBezTo>
                  <a:cubicBezTo>
                    <a:pt x="644292" y="206832"/>
                    <a:pt x="657225" y="203200"/>
                    <a:pt x="657225" y="203200"/>
                  </a:cubicBezTo>
                  <a:cubicBezTo>
                    <a:pt x="687611" y="172814"/>
                    <a:pt x="648706" y="208880"/>
                    <a:pt x="676275" y="190500"/>
                  </a:cubicBezTo>
                  <a:cubicBezTo>
                    <a:pt x="680011" y="188009"/>
                    <a:pt x="682064" y="183466"/>
                    <a:pt x="685800" y="180975"/>
                  </a:cubicBezTo>
                  <a:cubicBezTo>
                    <a:pt x="689984" y="178186"/>
                    <a:pt x="708910" y="175083"/>
                    <a:pt x="711200" y="174625"/>
                  </a:cubicBezTo>
                  <a:cubicBezTo>
                    <a:pt x="719667" y="175683"/>
                    <a:pt x="728368" y="175555"/>
                    <a:pt x="736600" y="177800"/>
                  </a:cubicBezTo>
                  <a:cubicBezTo>
                    <a:pt x="751052" y="181741"/>
                    <a:pt x="742257" y="185500"/>
                    <a:pt x="752475" y="193675"/>
                  </a:cubicBezTo>
                  <a:cubicBezTo>
                    <a:pt x="755088" y="195766"/>
                    <a:pt x="758825" y="195792"/>
                    <a:pt x="762000" y="196850"/>
                  </a:cubicBezTo>
                  <a:cubicBezTo>
                    <a:pt x="799042" y="195792"/>
                    <a:pt x="836068" y="193675"/>
                    <a:pt x="873125" y="193675"/>
                  </a:cubicBezTo>
                  <a:cubicBezTo>
                    <a:pt x="884815" y="193675"/>
                    <a:pt x="897241" y="192399"/>
                    <a:pt x="908050" y="196850"/>
                  </a:cubicBezTo>
                  <a:cubicBezTo>
                    <a:pt x="916354" y="200269"/>
                    <a:pt x="920750" y="209550"/>
                    <a:pt x="927100" y="215900"/>
                  </a:cubicBezTo>
                  <a:lnTo>
                    <a:pt x="936625" y="225425"/>
                  </a:lnTo>
                  <a:cubicBezTo>
                    <a:pt x="939800" y="228600"/>
                    <a:pt x="942414" y="232459"/>
                    <a:pt x="946150" y="234950"/>
                  </a:cubicBezTo>
                  <a:lnTo>
                    <a:pt x="955675" y="241300"/>
                  </a:lnTo>
                  <a:lnTo>
                    <a:pt x="1162050" y="244475"/>
                  </a:lnTo>
                  <a:cubicBezTo>
                    <a:pt x="1169458" y="251883"/>
                    <a:pt x="1177507" y="258702"/>
                    <a:pt x="1184275" y="266700"/>
                  </a:cubicBezTo>
                  <a:cubicBezTo>
                    <a:pt x="1189205" y="272526"/>
                    <a:pt x="1190625" y="281517"/>
                    <a:pt x="1196975" y="285750"/>
                  </a:cubicBezTo>
                  <a:cubicBezTo>
                    <a:pt x="1200150" y="287867"/>
                    <a:pt x="1203569" y="289657"/>
                    <a:pt x="1206500" y="292100"/>
                  </a:cubicBezTo>
                  <a:cubicBezTo>
                    <a:pt x="1230946" y="312472"/>
                    <a:pt x="1201901" y="292209"/>
                    <a:pt x="1225550" y="307975"/>
                  </a:cubicBezTo>
                  <a:cubicBezTo>
                    <a:pt x="1233740" y="306805"/>
                    <a:pt x="1248434" y="306058"/>
                    <a:pt x="1257300" y="301625"/>
                  </a:cubicBezTo>
                  <a:cubicBezTo>
                    <a:pt x="1260713" y="299918"/>
                    <a:pt x="1263123" y="296200"/>
                    <a:pt x="1266825" y="295275"/>
                  </a:cubicBezTo>
                  <a:cubicBezTo>
                    <a:pt x="1276122" y="292951"/>
                    <a:pt x="1285875" y="293158"/>
                    <a:pt x="1295400" y="292100"/>
                  </a:cubicBezTo>
                  <a:cubicBezTo>
                    <a:pt x="1303224" y="286232"/>
                    <a:pt x="1311115" y="279131"/>
                    <a:pt x="1320800" y="276225"/>
                  </a:cubicBezTo>
                  <a:cubicBezTo>
                    <a:pt x="1326966" y="274375"/>
                    <a:pt x="1333500" y="274108"/>
                    <a:pt x="1339850" y="273050"/>
                  </a:cubicBezTo>
                  <a:cubicBezTo>
                    <a:pt x="1341967" y="269875"/>
                    <a:pt x="1343502" y="266223"/>
                    <a:pt x="1346200" y="263525"/>
                  </a:cubicBezTo>
                  <a:cubicBezTo>
                    <a:pt x="1353509" y="256216"/>
                    <a:pt x="1358709" y="256429"/>
                    <a:pt x="1368425" y="254000"/>
                  </a:cubicBezTo>
                  <a:cubicBezTo>
                    <a:pt x="1371600" y="251883"/>
                    <a:pt x="1374537" y="249357"/>
                    <a:pt x="1377950" y="247650"/>
                  </a:cubicBezTo>
                  <a:cubicBezTo>
                    <a:pt x="1380943" y="246153"/>
                    <a:pt x="1384690" y="246331"/>
                    <a:pt x="1387475" y="244475"/>
                  </a:cubicBezTo>
                  <a:cubicBezTo>
                    <a:pt x="1405289" y="232599"/>
                    <a:pt x="1387774" y="235909"/>
                    <a:pt x="1409700" y="228600"/>
                  </a:cubicBezTo>
                  <a:cubicBezTo>
                    <a:pt x="1414820" y="226893"/>
                    <a:pt x="1420340" y="226734"/>
                    <a:pt x="1425575" y="225425"/>
                  </a:cubicBezTo>
                  <a:cubicBezTo>
                    <a:pt x="1428822" y="224613"/>
                    <a:pt x="1431882" y="223169"/>
                    <a:pt x="1435100" y="222250"/>
                  </a:cubicBezTo>
                  <a:cubicBezTo>
                    <a:pt x="1439296" y="221051"/>
                    <a:pt x="1443604" y="220274"/>
                    <a:pt x="1447800" y="219075"/>
                  </a:cubicBezTo>
                  <a:cubicBezTo>
                    <a:pt x="1462692" y="214820"/>
                    <a:pt x="1453092" y="216807"/>
                    <a:pt x="1470025" y="209550"/>
                  </a:cubicBezTo>
                  <a:cubicBezTo>
                    <a:pt x="1473101" y="208232"/>
                    <a:pt x="1476375" y="207433"/>
                    <a:pt x="1479550" y="206375"/>
                  </a:cubicBezTo>
                  <a:cubicBezTo>
                    <a:pt x="1501385" y="191819"/>
                    <a:pt x="1491360" y="196088"/>
                    <a:pt x="1508125" y="190500"/>
                  </a:cubicBezTo>
                  <a:cubicBezTo>
                    <a:pt x="1512941" y="187289"/>
                    <a:pt x="1520602" y="180975"/>
                    <a:pt x="1527175" y="180975"/>
                  </a:cubicBezTo>
                  <a:cubicBezTo>
                    <a:pt x="1531539" y="180975"/>
                    <a:pt x="1535695" y="182896"/>
                    <a:pt x="1539875" y="184150"/>
                  </a:cubicBezTo>
                  <a:cubicBezTo>
                    <a:pt x="1546286" y="186073"/>
                    <a:pt x="1558925" y="190500"/>
                    <a:pt x="1558925" y="190500"/>
                  </a:cubicBezTo>
                  <a:cubicBezTo>
                    <a:pt x="1562100" y="192617"/>
                    <a:pt x="1565037" y="195143"/>
                    <a:pt x="1568450" y="196850"/>
                  </a:cubicBezTo>
                  <a:cubicBezTo>
                    <a:pt x="1578014" y="201632"/>
                    <a:pt x="1590449" y="201250"/>
                    <a:pt x="1600200" y="203200"/>
                  </a:cubicBezTo>
                  <a:cubicBezTo>
                    <a:pt x="1653778" y="213916"/>
                    <a:pt x="1595151" y="206505"/>
                    <a:pt x="1657350" y="212725"/>
                  </a:cubicBezTo>
                  <a:lnTo>
                    <a:pt x="1695450" y="238125"/>
                  </a:lnTo>
                  <a:cubicBezTo>
                    <a:pt x="1699853" y="241060"/>
                    <a:pt x="1703917" y="244475"/>
                    <a:pt x="1708150" y="247650"/>
                  </a:cubicBezTo>
                  <a:cubicBezTo>
                    <a:pt x="1709208" y="254000"/>
                    <a:pt x="1707913" y="261241"/>
                    <a:pt x="1711325" y="266700"/>
                  </a:cubicBezTo>
                  <a:cubicBezTo>
                    <a:pt x="1713833" y="270714"/>
                    <a:pt x="1719631" y="271292"/>
                    <a:pt x="1724025" y="273050"/>
                  </a:cubicBezTo>
                  <a:cubicBezTo>
                    <a:pt x="1730240" y="275536"/>
                    <a:pt x="1736725" y="277283"/>
                    <a:pt x="1743075" y="279400"/>
                  </a:cubicBezTo>
                  <a:cubicBezTo>
                    <a:pt x="1746250" y="280458"/>
                    <a:pt x="1749353" y="281763"/>
                    <a:pt x="1752600" y="282575"/>
                  </a:cubicBezTo>
                  <a:cubicBezTo>
                    <a:pt x="1768547" y="286562"/>
                    <a:pt x="1761160" y="284370"/>
                    <a:pt x="1774825" y="288925"/>
                  </a:cubicBezTo>
                  <a:cubicBezTo>
                    <a:pt x="1781175" y="293158"/>
                    <a:pt x="1792378" y="294141"/>
                    <a:pt x="1793875" y="301625"/>
                  </a:cubicBezTo>
                  <a:lnTo>
                    <a:pt x="1797050" y="317500"/>
                  </a:lnTo>
                  <a:lnTo>
                    <a:pt x="1920875" y="374650"/>
                  </a:lnTo>
                  <a:cubicBezTo>
                    <a:pt x="1921131" y="374678"/>
                    <a:pt x="1963318" y="378841"/>
                    <a:pt x="1968500" y="381000"/>
                  </a:cubicBezTo>
                  <a:cubicBezTo>
                    <a:pt x="1975545" y="383935"/>
                    <a:pt x="1987550" y="393700"/>
                    <a:pt x="1987550" y="393700"/>
                  </a:cubicBezTo>
                  <a:cubicBezTo>
                    <a:pt x="2005748" y="420997"/>
                    <a:pt x="1983930" y="386460"/>
                    <a:pt x="1997075" y="412750"/>
                  </a:cubicBezTo>
                  <a:cubicBezTo>
                    <a:pt x="1998782" y="416163"/>
                    <a:pt x="2001718" y="418862"/>
                    <a:pt x="2003425" y="422275"/>
                  </a:cubicBezTo>
                  <a:cubicBezTo>
                    <a:pt x="2004922" y="425268"/>
                    <a:pt x="2005103" y="428807"/>
                    <a:pt x="2006600" y="431800"/>
                  </a:cubicBezTo>
                  <a:cubicBezTo>
                    <a:pt x="2021694" y="461989"/>
                    <a:pt x="2002918" y="411228"/>
                    <a:pt x="2019300" y="460375"/>
                  </a:cubicBezTo>
                  <a:cubicBezTo>
                    <a:pt x="2021713" y="467615"/>
                    <a:pt x="2027767" y="473075"/>
                    <a:pt x="2032000" y="479425"/>
                  </a:cubicBezTo>
                  <a:lnTo>
                    <a:pt x="2063750" y="511175"/>
                  </a:lnTo>
                  <a:cubicBezTo>
                    <a:pt x="2066925" y="514350"/>
                    <a:pt x="2070784" y="516964"/>
                    <a:pt x="2073275" y="520700"/>
                  </a:cubicBezTo>
                  <a:cubicBezTo>
                    <a:pt x="2088092" y="542925"/>
                    <a:pt x="2079625" y="535517"/>
                    <a:pt x="2095500" y="546100"/>
                  </a:cubicBezTo>
                  <a:cubicBezTo>
                    <a:pt x="2097617" y="549275"/>
                    <a:pt x="2099152" y="552927"/>
                    <a:pt x="2101850" y="555625"/>
                  </a:cubicBezTo>
                  <a:cubicBezTo>
                    <a:pt x="2104548" y="558323"/>
                    <a:pt x="2108991" y="558995"/>
                    <a:pt x="2111375" y="561975"/>
                  </a:cubicBezTo>
                  <a:cubicBezTo>
                    <a:pt x="2113466" y="564588"/>
                    <a:pt x="2112694" y="568715"/>
                    <a:pt x="2114550" y="571500"/>
                  </a:cubicBezTo>
                  <a:cubicBezTo>
                    <a:pt x="2117041" y="575236"/>
                    <a:pt x="2120666" y="578103"/>
                    <a:pt x="2124075" y="581025"/>
                  </a:cubicBezTo>
                  <a:cubicBezTo>
                    <a:pt x="2126088" y="582751"/>
                    <a:pt x="2142280" y="594890"/>
                    <a:pt x="2146300" y="596900"/>
                  </a:cubicBezTo>
                  <a:cubicBezTo>
                    <a:pt x="2149293" y="598397"/>
                    <a:pt x="2152650" y="599017"/>
                    <a:pt x="2155825" y="600075"/>
                  </a:cubicBezTo>
                  <a:cubicBezTo>
                    <a:pt x="2171591" y="623724"/>
                    <a:pt x="2151328" y="594679"/>
                    <a:pt x="2171700" y="619125"/>
                  </a:cubicBezTo>
                  <a:cubicBezTo>
                    <a:pt x="2174143" y="622056"/>
                    <a:pt x="2175352" y="625952"/>
                    <a:pt x="2178050" y="628650"/>
                  </a:cubicBezTo>
                  <a:cubicBezTo>
                    <a:pt x="2183469" y="634069"/>
                    <a:pt x="2189999" y="636238"/>
                    <a:pt x="2197100" y="638175"/>
                  </a:cubicBezTo>
                  <a:cubicBezTo>
                    <a:pt x="2205520" y="640471"/>
                    <a:pt x="2213922" y="642917"/>
                    <a:pt x="2222500" y="644525"/>
                  </a:cubicBezTo>
                  <a:cubicBezTo>
                    <a:pt x="2230886" y="646097"/>
                    <a:pt x="2239453" y="646493"/>
                    <a:pt x="2247900" y="647700"/>
                  </a:cubicBezTo>
                  <a:cubicBezTo>
                    <a:pt x="2254273" y="648610"/>
                    <a:pt x="2260600" y="649817"/>
                    <a:pt x="2266950" y="650875"/>
                  </a:cubicBezTo>
                  <a:cubicBezTo>
                    <a:pt x="2289527" y="658401"/>
                    <a:pt x="2273128" y="654050"/>
                    <a:pt x="2317750" y="654050"/>
                  </a:cubicBezTo>
                  <a:lnTo>
                    <a:pt x="2333625" y="669925"/>
                  </a:lnTo>
                  <a:cubicBezTo>
                    <a:pt x="2337858" y="678392"/>
                    <a:pt x="2341629" y="687106"/>
                    <a:pt x="2346325" y="695325"/>
                  </a:cubicBezTo>
                  <a:cubicBezTo>
                    <a:pt x="2350111" y="701951"/>
                    <a:pt x="2354792" y="708025"/>
                    <a:pt x="2359025" y="714375"/>
                  </a:cubicBezTo>
                  <a:lnTo>
                    <a:pt x="2365375" y="723900"/>
                  </a:lnTo>
                  <a:cubicBezTo>
                    <a:pt x="2367866" y="727636"/>
                    <a:pt x="2372025" y="729976"/>
                    <a:pt x="2374900" y="733425"/>
                  </a:cubicBezTo>
                  <a:cubicBezTo>
                    <a:pt x="2377343" y="736356"/>
                    <a:pt x="2378552" y="740252"/>
                    <a:pt x="2381250" y="742950"/>
                  </a:cubicBezTo>
                  <a:cubicBezTo>
                    <a:pt x="2383948" y="745648"/>
                    <a:pt x="2387939" y="746747"/>
                    <a:pt x="2390775" y="749300"/>
                  </a:cubicBezTo>
                  <a:cubicBezTo>
                    <a:pt x="2398562" y="756309"/>
                    <a:pt x="2405592" y="764117"/>
                    <a:pt x="2413000" y="771525"/>
                  </a:cubicBezTo>
                  <a:cubicBezTo>
                    <a:pt x="2415698" y="774223"/>
                    <a:pt x="2416652" y="778352"/>
                    <a:pt x="2419350" y="781050"/>
                  </a:cubicBezTo>
                  <a:cubicBezTo>
                    <a:pt x="2422048" y="783748"/>
                    <a:pt x="2425944" y="784957"/>
                    <a:pt x="2428875" y="787400"/>
                  </a:cubicBezTo>
                  <a:cubicBezTo>
                    <a:pt x="2460083" y="813407"/>
                    <a:pt x="2419775" y="781475"/>
                    <a:pt x="2444750" y="806450"/>
                  </a:cubicBezTo>
                  <a:cubicBezTo>
                    <a:pt x="2447448" y="809148"/>
                    <a:pt x="2451100" y="810683"/>
                    <a:pt x="2454275" y="812800"/>
                  </a:cubicBezTo>
                  <a:cubicBezTo>
                    <a:pt x="2471208" y="838200"/>
                    <a:pt x="2448983" y="807508"/>
                    <a:pt x="2470150" y="828675"/>
                  </a:cubicBezTo>
                  <a:cubicBezTo>
                    <a:pt x="2491317" y="849842"/>
                    <a:pt x="2460625" y="827617"/>
                    <a:pt x="2486025" y="844550"/>
                  </a:cubicBezTo>
                  <a:cubicBezTo>
                    <a:pt x="2501791" y="868199"/>
                    <a:pt x="2481528" y="839154"/>
                    <a:pt x="2501900" y="863600"/>
                  </a:cubicBezTo>
                  <a:cubicBezTo>
                    <a:pt x="2515129" y="879475"/>
                    <a:pt x="2500312" y="867833"/>
                    <a:pt x="2517775" y="879475"/>
                  </a:cubicBezTo>
                  <a:cubicBezTo>
                    <a:pt x="2518833" y="882650"/>
                    <a:pt x="2519453" y="886007"/>
                    <a:pt x="2520950" y="889000"/>
                  </a:cubicBezTo>
                  <a:cubicBezTo>
                    <a:pt x="2525370" y="897841"/>
                    <a:pt x="2529803" y="901028"/>
                    <a:pt x="2536825" y="908050"/>
                  </a:cubicBezTo>
                  <a:cubicBezTo>
                    <a:pt x="2537883" y="911225"/>
                    <a:pt x="2537633" y="915208"/>
                    <a:pt x="2540000" y="917575"/>
                  </a:cubicBezTo>
                  <a:cubicBezTo>
                    <a:pt x="2545396" y="922971"/>
                    <a:pt x="2552700" y="926042"/>
                    <a:pt x="2559050" y="930275"/>
                  </a:cubicBezTo>
                  <a:cubicBezTo>
                    <a:pt x="2571360" y="938481"/>
                    <a:pt x="2564955" y="935418"/>
                    <a:pt x="2578100" y="939800"/>
                  </a:cubicBezTo>
                  <a:cubicBezTo>
                    <a:pt x="2593021" y="954721"/>
                    <a:pt x="2583889" y="946834"/>
                    <a:pt x="2606675" y="962025"/>
                  </a:cubicBezTo>
                  <a:lnTo>
                    <a:pt x="2616200" y="968375"/>
                  </a:lnTo>
                  <a:cubicBezTo>
                    <a:pt x="2619375" y="970492"/>
                    <a:pt x="2617788" y="973667"/>
                    <a:pt x="2625725" y="974725"/>
                  </a:cubicBezTo>
                  <a:cubicBezTo>
                    <a:pt x="2633662" y="975783"/>
                    <a:pt x="2639483" y="984779"/>
                    <a:pt x="2663825" y="974725"/>
                  </a:cubicBezTo>
                  <a:cubicBezTo>
                    <a:pt x="2688167" y="964671"/>
                    <a:pt x="2751667" y="927629"/>
                    <a:pt x="2771775" y="914400"/>
                  </a:cubicBezTo>
                  <a:cubicBezTo>
                    <a:pt x="2791883" y="901171"/>
                    <a:pt x="2779079" y="900746"/>
                    <a:pt x="2784475" y="895350"/>
                  </a:cubicBezTo>
                  <a:cubicBezTo>
                    <a:pt x="2787650" y="892175"/>
                    <a:pt x="2790551" y="888700"/>
                    <a:pt x="2794000" y="885825"/>
                  </a:cubicBezTo>
                  <a:cubicBezTo>
                    <a:pt x="2820522" y="863723"/>
                    <a:pt x="2785223" y="897777"/>
                    <a:pt x="2813050" y="869950"/>
                  </a:cubicBezTo>
                  <a:cubicBezTo>
                    <a:pt x="2819231" y="851407"/>
                    <a:pt x="2811389" y="868436"/>
                    <a:pt x="2825750" y="854075"/>
                  </a:cubicBezTo>
                  <a:cubicBezTo>
                    <a:pt x="2851150" y="828675"/>
                    <a:pt x="2811992" y="859367"/>
                    <a:pt x="2841625" y="838200"/>
                  </a:cubicBezTo>
                  <a:cubicBezTo>
                    <a:pt x="2843557" y="836820"/>
                    <a:pt x="2859889" y="824086"/>
                    <a:pt x="2863850" y="822325"/>
                  </a:cubicBezTo>
                  <a:cubicBezTo>
                    <a:pt x="2869967" y="819607"/>
                    <a:pt x="2876550" y="818092"/>
                    <a:pt x="2882900" y="815975"/>
                  </a:cubicBezTo>
                  <a:cubicBezTo>
                    <a:pt x="2893507" y="812439"/>
                    <a:pt x="2893165" y="812283"/>
                    <a:pt x="2905125" y="809625"/>
                  </a:cubicBezTo>
                  <a:cubicBezTo>
                    <a:pt x="2910393" y="808454"/>
                    <a:pt x="2915765" y="807759"/>
                    <a:pt x="2921000" y="806450"/>
                  </a:cubicBezTo>
                  <a:cubicBezTo>
                    <a:pt x="2924247" y="805638"/>
                    <a:pt x="2927307" y="804194"/>
                    <a:pt x="2930525" y="803275"/>
                  </a:cubicBezTo>
                  <a:cubicBezTo>
                    <a:pt x="2934721" y="802076"/>
                    <a:pt x="2939139" y="801632"/>
                    <a:pt x="2943225" y="800100"/>
                  </a:cubicBezTo>
                  <a:cubicBezTo>
                    <a:pt x="2947657" y="798438"/>
                    <a:pt x="2951575" y="795614"/>
                    <a:pt x="2955925" y="793750"/>
                  </a:cubicBezTo>
                  <a:cubicBezTo>
                    <a:pt x="2959001" y="792432"/>
                    <a:pt x="2962275" y="791633"/>
                    <a:pt x="2965450" y="790575"/>
                  </a:cubicBezTo>
                  <a:cubicBezTo>
                    <a:pt x="2968625" y="787400"/>
                    <a:pt x="2971526" y="783925"/>
                    <a:pt x="2974975" y="781050"/>
                  </a:cubicBezTo>
                  <a:cubicBezTo>
                    <a:pt x="2977906" y="778607"/>
                    <a:pt x="2982116" y="777680"/>
                    <a:pt x="2984500" y="774700"/>
                  </a:cubicBezTo>
                  <a:cubicBezTo>
                    <a:pt x="2986591" y="772087"/>
                    <a:pt x="2985819" y="767960"/>
                    <a:pt x="2987675" y="765175"/>
                  </a:cubicBezTo>
                  <a:cubicBezTo>
                    <a:pt x="2990166" y="761439"/>
                    <a:pt x="2994025" y="758825"/>
                    <a:pt x="2997200" y="755650"/>
                  </a:cubicBezTo>
                  <a:cubicBezTo>
                    <a:pt x="3000931" y="710880"/>
                    <a:pt x="2996345" y="729640"/>
                    <a:pt x="3006725" y="698500"/>
                  </a:cubicBezTo>
                  <a:cubicBezTo>
                    <a:pt x="3007932" y="694880"/>
                    <a:pt x="3010203" y="691488"/>
                    <a:pt x="3013075" y="688975"/>
                  </a:cubicBezTo>
                  <a:cubicBezTo>
                    <a:pt x="3018818" y="683949"/>
                    <a:pt x="3024885" y="678688"/>
                    <a:pt x="3032125" y="676275"/>
                  </a:cubicBezTo>
                  <a:cubicBezTo>
                    <a:pt x="3042654" y="672765"/>
                    <a:pt x="3038303" y="673100"/>
                    <a:pt x="3044825" y="673100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48" name="Freeform 23"/>
            <p:cNvSpPr/>
            <p:nvPr>
              <p:custDataLst>
                <p:tags r:id="rId8"/>
              </p:custDataLst>
            </p:nvPr>
          </p:nvSpPr>
          <p:spPr bwMode="gray">
            <a:xfrm>
              <a:off x="3997523" y="2788001"/>
              <a:ext cx="1957509" cy="786853"/>
            </a:xfrm>
            <a:custGeom>
              <a:avLst/>
              <a:gdLst>
                <a:gd name="connsiteX0" fmla="*/ 0 w 2130425"/>
                <a:gd name="connsiteY0" fmla="*/ 0 h 882650"/>
                <a:gd name="connsiteX1" fmla="*/ 0 w 2130425"/>
                <a:gd name="connsiteY1" fmla="*/ 0 h 882650"/>
                <a:gd name="connsiteX2" fmla="*/ 25400 w 2130425"/>
                <a:gd name="connsiteY2" fmla="*/ 15875 h 882650"/>
                <a:gd name="connsiteX3" fmla="*/ 31750 w 2130425"/>
                <a:gd name="connsiteY3" fmla="*/ 25400 h 882650"/>
                <a:gd name="connsiteX4" fmla="*/ 50800 w 2130425"/>
                <a:gd name="connsiteY4" fmla="*/ 31750 h 882650"/>
                <a:gd name="connsiteX5" fmla="*/ 63500 w 2130425"/>
                <a:gd name="connsiteY5" fmla="*/ 38100 h 882650"/>
                <a:gd name="connsiteX6" fmla="*/ 82550 w 2130425"/>
                <a:gd name="connsiteY6" fmla="*/ 44450 h 882650"/>
                <a:gd name="connsiteX7" fmla="*/ 111125 w 2130425"/>
                <a:gd name="connsiteY7" fmla="*/ 69850 h 882650"/>
                <a:gd name="connsiteX8" fmla="*/ 123825 w 2130425"/>
                <a:gd name="connsiteY8" fmla="*/ 88900 h 882650"/>
                <a:gd name="connsiteX9" fmla="*/ 127000 w 2130425"/>
                <a:gd name="connsiteY9" fmla="*/ 101600 h 882650"/>
                <a:gd name="connsiteX10" fmla="*/ 130175 w 2130425"/>
                <a:gd name="connsiteY10" fmla="*/ 111125 h 882650"/>
                <a:gd name="connsiteX11" fmla="*/ 133350 w 2130425"/>
                <a:gd name="connsiteY11" fmla="*/ 161925 h 882650"/>
                <a:gd name="connsiteX12" fmla="*/ 130175 w 2130425"/>
                <a:gd name="connsiteY12" fmla="*/ 196850 h 882650"/>
                <a:gd name="connsiteX13" fmla="*/ 123825 w 2130425"/>
                <a:gd name="connsiteY13" fmla="*/ 215900 h 882650"/>
                <a:gd name="connsiteX14" fmla="*/ 127000 w 2130425"/>
                <a:gd name="connsiteY14" fmla="*/ 234950 h 882650"/>
                <a:gd name="connsiteX15" fmla="*/ 136525 w 2130425"/>
                <a:gd name="connsiteY15" fmla="*/ 257175 h 882650"/>
                <a:gd name="connsiteX16" fmla="*/ 142875 w 2130425"/>
                <a:gd name="connsiteY16" fmla="*/ 285750 h 882650"/>
                <a:gd name="connsiteX17" fmla="*/ 149225 w 2130425"/>
                <a:gd name="connsiteY17" fmla="*/ 295275 h 882650"/>
                <a:gd name="connsiteX18" fmla="*/ 165100 w 2130425"/>
                <a:gd name="connsiteY18" fmla="*/ 323850 h 882650"/>
                <a:gd name="connsiteX19" fmla="*/ 171450 w 2130425"/>
                <a:gd name="connsiteY19" fmla="*/ 342900 h 882650"/>
                <a:gd name="connsiteX20" fmla="*/ 190500 w 2130425"/>
                <a:gd name="connsiteY20" fmla="*/ 361950 h 882650"/>
                <a:gd name="connsiteX21" fmla="*/ 209550 w 2130425"/>
                <a:gd name="connsiteY21" fmla="*/ 374650 h 882650"/>
                <a:gd name="connsiteX22" fmla="*/ 219075 w 2130425"/>
                <a:gd name="connsiteY22" fmla="*/ 381000 h 882650"/>
                <a:gd name="connsiteX23" fmla="*/ 228600 w 2130425"/>
                <a:gd name="connsiteY23" fmla="*/ 384175 h 882650"/>
                <a:gd name="connsiteX24" fmla="*/ 260350 w 2130425"/>
                <a:gd name="connsiteY24" fmla="*/ 393700 h 882650"/>
                <a:gd name="connsiteX25" fmla="*/ 266700 w 2130425"/>
                <a:gd name="connsiteY25" fmla="*/ 403225 h 882650"/>
                <a:gd name="connsiteX26" fmla="*/ 295275 w 2130425"/>
                <a:gd name="connsiteY26" fmla="*/ 425450 h 882650"/>
                <a:gd name="connsiteX27" fmla="*/ 311150 w 2130425"/>
                <a:gd name="connsiteY27" fmla="*/ 447675 h 882650"/>
                <a:gd name="connsiteX28" fmla="*/ 314325 w 2130425"/>
                <a:gd name="connsiteY28" fmla="*/ 457200 h 882650"/>
                <a:gd name="connsiteX29" fmla="*/ 323850 w 2130425"/>
                <a:gd name="connsiteY29" fmla="*/ 463550 h 882650"/>
                <a:gd name="connsiteX30" fmla="*/ 339725 w 2130425"/>
                <a:gd name="connsiteY30" fmla="*/ 482600 h 882650"/>
                <a:gd name="connsiteX31" fmla="*/ 342900 w 2130425"/>
                <a:gd name="connsiteY31" fmla="*/ 492125 h 882650"/>
                <a:gd name="connsiteX32" fmla="*/ 361950 w 2130425"/>
                <a:gd name="connsiteY32" fmla="*/ 498475 h 882650"/>
                <a:gd name="connsiteX33" fmla="*/ 438150 w 2130425"/>
                <a:gd name="connsiteY33" fmla="*/ 508000 h 882650"/>
                <a:gd name="connsiteX34" fmla="*/ 447675 w 2130425"/>
                <a:gd name="connsiteY34" fmla="*/ 511175 h 882650"/>
                <a:gd name="connsiteX35" fmla="*/ 466725 w 2130425"/>
                <a:gd name="connsiteY35" fmla="*/ 523875 h 882650"/>
                <a:gd name="connsiteX36" fmla="*/ 479425 w 2130425"/>
                <a:gd name="connsiteY36" fmla="*/ 533400 h 882650"/>
                <a:gd name="connsiteX37" fmla="*/ 488950 w 2130425"/>
                <a:gd name="connsiteY37" fmla="*/ 536575 h 882650"/>
                <a:gd name="connsiteX38" fmla="*/ 498475 w 2130425"/>
                <a:gd name="connsiteY38" fmla="*/ 542925 h 882650"/>
                <a:gd name="connsiteX39" fmla="*/ 514350 w 2130425"/>
                <a:gd name="connsiteY39" fmla="*/ 558800 h 882650"/>
                <a:gd name="connsiteX40" fmla="*/ 539750 w 2130425"/>
                <a:gd name="connsiteY40" fmla="*/ 587375 h 882650"/>
                <a:gd name="connsiteX41" fmla="*/ 558800 w 2130425"/>
                <a:gd name="connsiteY41" fmla="*/ 600075 h 882650"/>
                <a:gd name="connsiteX42" fmla="*/ 568325 w 2130425"/>
                <a:gd name="connsiteY42" fmla="*/ 603250 h 882650"/>
                <a:gd name="connsiteX43" fmla="*/ 577850 w 2130425"/>
                <a:gd name="connsiteY43" fmla="*/ 609600 h 882650"/>
                <a:gd name="connsiteX44" fmla="*/ 587375 w 2130425"/>
                <a:gd name="connsiteY44" fmla="*/ 612775 h 882650"/>
                <a:gd name="connsiteX45" fmla="*/ 647700 w 2130425"/>
                <a:gd name="connsiteY45" fmla="*/ 619125 h 882650"/>
                <a:gd name="connsiteX46" fmla="*/ 676275 w 2130425"/>
                <a:gd name="connsiteY46" fmla="*/ 635000 h 882650"/>
                <a:gd name="connsiteX47" fmla="*/ 685800 w 2130425"/>
                <a:gd name="connsiteY47" fmla="*/ 641350 h 882650"/>
                <a:gd name="connsiteX48" fmla="*/ 701675 w 2130425"/>
                <a:gd name="connsiteY48" fmla="*/ 654050 h 882650"/>
                <a:gd name="connsiteX49" fmla="*/ 711200 w 2130425"/>
                <a:gd name="connsiteY49" fmla="*/ 663575 h 882650"/>
                <a:gd name="connsiteX50" fmla="*/ 733425 w 2130425"/>
                <a:gd name="connsiteY50" fmla="*/ 679450 h 882650"/>
                <a:gd name="connsiteX51" fmla="*/ 742950 w 2130425"/>
                <a:gd name="connsiteY51" fmla="*/ 682625 h 882650"/>
                <a:gd name="connsiteX52" fmla="*/ 762000 w 2130425"/>
                <a:gd name="connsiteY52" fmla="*/ 695325 h 882650"/>
                <a:gd name="connsiteX53" fmla="*/ 781050 w 2130425"/>
                <a:gd name="connsiteY53" fmla="*/ 701675 h 882650"/>
                <a:gd name="connsiteX54" fmla="*/ 787400 w 2130425"/>
                <a:gd name="connsiteY54" fmla="*/ 711200 h 882650"/>
                <a:gd name="connsiteX55" fmla="*/ 815975 w 2130425"/>
                <a:gd name="connsiteY55" fmla="*/ 723900 h 882650"/>
                <a:gd name="connsiteX56" fmla="*/ 825500 w 2130425"/>
                <a:gd name="connsiteY56" fmla="*/ 727075 h 882650"/>
                <a:gd name="connsiteX57" fmla="*/ 835025 w 2130425"/>
                <a:gd name="connsiteY57" fmla="*/ 730250 h 882650"/>
                <a:gd name="connsiteX58" fmla="*/ 844550 w 2130425"/>
                <a:gd name="connsiteY58" fmla="*/ 736600 h 882650"/>
                <a:gd name="connsiteX59" fmla="*/ 854075 w 2130425"/>
                <a:gd name="connsiteY59" fmla="*/ 739775 h 882650"/>
                <a:gd name="connsiteX60" fmla="*/ 863600 w 2130425"/>
                <a:gd name="connsiteY60" fmla="*/ 749300 h 882650"/>
                <a:gd name="connsiteX61" fmla="*/ 882650 w 2130425"/>
                <a:gd name="connsiteY61" fmla="*/ 755650 h 882650"/>
                <a:gd name="connsiteX62" fmla="*/ 901700 w 2130425"/>
                <a:gd name="connsiteY62" fmla="*/ 762000 h 882650"/>
                <a:gd name="connsiteX63" fmla="*/ 927100 w 2130425"/>
                <a:gd name="connsiteY63" fmla="*/ 765175 h 882650"/>
                <a:gd name="connsiteX64" fmla="*/ 977900 w 2130425"/>
                <a:gd name="connsiteY64" fmla="*/ 774700 h 882650"/>
                <a:gd name="connsiteX65" fmla="*/ 1171575 w 2130425"/>
                <a:gd name="connsiteY65" fmla="*/ 777875 h 882650"/>
                <a:gd name="connsiteX66" fmla="*/ 1190625 w 2130425"/>
                <a:gd name="connsiteY66" fmla="*/ 784225 h 882650"/>
                <a:gd name="connsiteX67" fmla="*/ 1203325 w 2130425"/>
                <a:gd name="connsiteY67" fmla="*/ 787400 h 882650"/>
                <a:gd name="connsiteX68" fmla="*/ 1222375 w 2130425"/>
                <a:gd name="connsiteY68" fmla="*/ 793750 h 882650"/>
                <a:gd name="connsiteX69" fmla="*/ 1273175 w 2130425"/>
                <a:gd name="connsiteY69" fmla="*/ 790575 h 882650"/>
                <a:gd name="connsiteX70" fmla="*/ 1285875 w 2130425"/>
                <a:gd name="connsiteY70" fmla="*/ 787400 h 882650"/>
                <a:gd name="connsiteX71" fmla="*/ 1304925 w 2130425"/>
                <a:gd name="connsiteY71" fmla="*/ 774700 h 882650"/>
                <a:gd name="connsiteX72" fmla="*/ 1311275 w 2130425"/>
                <a:gd name="connsiteY72" fmla="*/ 765175 h 882650"/>
                <a:gd name="connsiteX73" fmla="*/ 1314450 w 2130425"/>
                <a:gd name="connsiteY73" fmla="*/ 755650 h 882650"/>
                <a:gd name="connsiteX74" fmla="*/ 1323975 w 2130425"/>
                <a:gd name="connsiteY74" fmla="*/ 752475 h 882650"/>
                <a:gd name="connsiteX75" fmla="*/ 1330325 w 2130425"/>
                <a:gd name="connsiteY75" fmla="*/ 742950 h 882650"/>
                <a:gd name="connsiteX76" fmla="*/ 1339850 w 2130425"/>
                <a:gd name="connsiteY76" fmla="*/ 736600 h 882650"/>
                <a:gd name="connsiteX77" fmla="*/ 1343025 w 2130425"/>
                <a:gd name="connsiteY77" fmla="*/ 723900 h 882650"/>
                <a:gd name="connsiteX78" fmla="*/ 1362075 w 2130425"/>
                <a:gd name="connsiteY78" fmla="*/ 711200 h 882650"/>
                <a:gd name="connsiteX79" fmla="*/ 1381125 w 2130425"/>
                <a:gd name="connsiteY79" fmla="*/ 682625 h 882650"/>
                <a:gd name="connsiteX80" fmla="*/ 1397000 w 2130425"/>
                <a:gd name="connsiteY80" fmla="*/ 663575 h 882650"/>
                <a:gd name="connsiteX81" fmla="*/ 1416050 w 2130425"/>
                <a:gd name="connsiteY81" fmla="*/ 657225 h 882650"/>
                <a:gd name="connsiteX82" fmla="*/ 1476375 w 2130425"/>
                <a:gd name="connsiteY82" fmla="*/ 660400 h 882650"/>
                <a:gd name="connsiteX83" fmla="*/ 1524000 w 2130425"/>
                <a:gd name="connsiteY83" fmla="*/ 663575 h 882650"/>
                <a:gd name="connsiteX84" fmla="*/ 1543050 w 2130425"/>
                <a:gd name="connsiteY84" fmla="*/ 669925 h 882650"/>
                <a:gd name="connsiteX85" fmla="*/ 1552575 w 2130425"/>
                <a:gd name="connsiteY85" fmla="*/ 676275 h 882650"/>
                <a:gd name="connsiteX86" fmla="*/ 1562100 w 2130425"/>
                <a:gd name="connsiteY86" fmla="*/ 679450 h 882650"/>
                <a:gd name="connsiteX87" fmla="*/ 1597025 w 2130425"/>
                <a:gd name="connsiteY87" fmla="*/ 688975 h 882650"/>
                <a:gd name="connsiteX88" fmla="*/ 1606550 w 2130425"/>
                <a:gd name="connsiteY88" fmla="*/ 695325 h 882650"/>
                <a:gd name="connsiteX89" fmla="*/ 1625600 w 2130425"/>
                <a:gd name="connsiteY89" fmla="*/ 701675 h 882650"/>
                <a:gd name="connsiteX90" fmla="*/ 1631950 w 2130425"/>
                <a:gd name="connsiteY90" fmla="*/ 711200 h 882650"/>
                <a:gd name="connsiteX91" fmla="*/ 1654175 w 2130425"/>
                <a:gd name="connsiteY91" fmla="*/ 720725 h 882650"/>
                <a:gd name="connsiteX92" fmla="*/ 1682750 w 2130425"/>
                <a:gd name="connsiteY92" fmla="*/ 717550 h 882650"/>
                <a:gd name="connsiteX93" fmla="*/ 1692275 w 2130425"/>
                <a:gd name="connsiteY93" fmla="*/ 708025 h 882650"/>
                <a:gd name="connsiteX94" fmla="*/ 1701800 w 2130425"/>
                <a:gd name="connsiteY94" fmla="*/ 704850 h 882650"/>
                <a:gd name="connsiteX95" fmla="*/ 1711325 w 2130425"/>
                <a:gd name="connsiteY95" fmla="*/ 698500 h 882650"/>
                <a:gd name="connsiteX96" fmla="*/ 1787525 w 2130425"/>
                <a:gd name="connsiteY96" fmla="*/ 698500 h 882650"/>
                <a:gd name="connsiteX97" fmla="*/ 1819275 w 2130425"/>
                <a:gd name="connsiteY97" fmla="*/ 717550 h 882650"/>
                <a:gd name="connsiteX98" fmla="*/ 1847850 w 2130425"/>
                <a:gd name="connsiteY98" fmla="*/ 739775 h 882650"/>
                <a:gd name="connsiteX99" fmla="*/ 1879600 w 2130425"/>
                <a:gd name="connsiteY99" fmla="*/ 746125 h 882650"/>
                <a:gd name="connsiteX100" fmla="*/ 1898650 w 2130425"/>
                <a:gd name="connsiteY100" fmla="*/ 752475 h 882650"/>
                <a:gd name="connsiteX101" fmla="*/ 1908175 w 2130425"/>
                <a:gd name="connsiteY101" fmla="*/ 758825 h 882650"/>
                <a:gd name="connsiteX102" fmla="*/ 1943100 w 2130425"/>
                <a:gd name="connsiteY102" fmla="*/ 768350 h 882650"/>
                <a:gd name="connsiteX103" fmla="*/ 1974850 w 2130425"/>
                <a:gd name="connsiteY103" fmla="*/ 774700 h 882650"/>
                <a:gd name="connsiteX104" fmla="*/ 1984375 w 2130425"/>
                <a:gd name="connsiteY104" fmla="*/ 777875 h 882650"/>
                <a:gd name="connsiteX105" fmla="*/ 1990725 w 2130425"/>
                <a:gd name="connsiteY105" fmla="*/ 787400 h 882650"/>
                <a:gd name="connsiteX106" fmla="*/ 2009775 w 2130425"/>
                <a:gd name="connsiteY106" fmla="*/ 800100 h 882650"/>
                <a:gd name="connsiteX107" fmla="*/ 2028825 w 2130425"/>
                <a:gd name="connsiteY107" fmla="*/ 819150 h 882650"/>
                <a:gd name="connsiteX108" fmla="*/ 2044700 w 2130425"/>
                <a:gd name="connsiteY108" fmla="*/ 835025 h 882650"/>
                <a:gd name="connsiteX109" fmla="*/ 2060575 w 2130425"/>
                <a:gd name="connsiteY109" fmla="*/ 860425 h 882650"/>
                <a:gd name="connsiteX110" fmla="*/ 2063750 w 2130425"/>
                <a:gd name="connsiteY110" fmla="*/ 869950 h 882650"/>
                <a:gd name="connsiteX111" fmla="*/ 2098675 w 2130425"/>
                <a:gd name="connsiteY111" fmla="*/ 879475 h 882650"/>
                <a:gd name="connsiteX112" fmla="*/ 2108200 w 2130425"/>
                <a:gd name="connsiteY112" fmla="*/ 882650 h 882650"/>
                <a:gd name="connsiteX113" fmla="*/ 2130425 w 2130425"/>
                <a:gd name="connsiteY113" fmla="*/ 879475 h 88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2130425" h="882650">
                  <a:moveTo>
                    <a:pt x="0" y="0"/>
                  </a:moveTo>
                  <a:lnTo>
                    <a:pt x="0" y="0"/>
                  </a:lnTo>
                  <a:cubicBezTo>
                    <a:pt x="8467" y="5292"/>
                    <a:pt x="17604" y="9638"/>
                    <a:pt x="25400" y="15875"/>
                  </a:cubicBezTo>
                  <a:cubicBezTo>
                    <a:pt x="28380" y="18259"/>
                    <a:pt x="28514" y="23378"/>
                    <a:pt x="31750" y="25400"/>
                  </a:cubicBezTo>
                  <a:cubicBezTo>
                    <a:pt x="37426" y="28948"/>
                    <a:pt x="44450" y="29633"/>
                    <a:pt x="50800" y="31750"/>
                  </a:cubicBezTo>
                  <a:cubicBezTo>
                    <a:pt x="55290" y="33247"/>
                    <a:pt x="59106" y="36342"/>
                    <a:pt x="63500" y="38100"/>
                  </a:cubicBezTo>
                  <a:cubicBezTo>
                    <a:pt x="69715" y="40586"/>
                    <a:pt x="82550" y="44450"/>
                    <a:pt x="82550" y="44450"/>
                  </a:cubicBezTo>
                  <a:cubicBezTo>
                    <a:pt x="99547" y="55781"/>
                    <a:pt x="89377" y="48102"/>
                    <a:pt x="111125" y="69850"/>
                  </a:cubicBezTo>
                  <a:cubicBezTo>
                    <a:pt x="116521" y="75246"/>
                    <a:pt x="123825" y="88900"/>
                    <a:pt x="123825" y="88900"/>
                  </a:cubicBezTo>
                  <a:cubicBezTo>
                    <a:pt x="124883" y="93133"/>
                    <a:pt x="125801" y="97404"/>
                    <a:pt x="127000" y="101600"/>
                  </a:cubicBezTo>
                  <a:cubicBezTo>
                    <a:pt x="127919" y="104818"/>
                    <a:pt x="129825" y="107797"/>
                    <a:pt x="130175" y="111125"/>
                  </a:cubicBezTo>
                  <a:cubicBezTo>
                    <a:pt x="131951" y="127998"/>
                    <a:pt x="132292" y="144992"/>
                    <a:pt x="133350" y="161925"/>
                  </a:cubicBezTo>
                  <a:cubicBezTo>
                    <a:pt x="132292" y="173567"/>
                    <a:pt x="132206" y="185338"/>
                    <a:pt x="130175" y="196850"/>
                  </a:cubicBezTo>
                  <a:cubicBezTo>
                    <a:pt x="129012" y="203442"/>
                    <a:pt x="123825" y="215900"/>
                    <a:pt x="123825" y="215900"/>
                  </a:cubicBezTo>
                  <a:cubicBezTo>
                    <a:pt x="124883" y="222250"/>
                    <a:pt x="125150" y="228784"/>
                    <a:pt x="127000" y="234950"/>
                  </a:cubicBezTo>
                  <a:cubicBezTo>
                    <a:pt x="135320" y="262683"/>
                    <a:pt x="131519" y="234647"/>
                    <a:pt x="136525" y="257175"/>
                  </a:cubicBezTo>
                  <a:cubicBezTo>
                    <a:pt x="138476" y="265955"/>
                    <a:pt x="138587" y="277173"/>
                    <a:pt x="142875" y="285750"/>
                  </a:cubicBezTo>
                  <a:cubicBezTo>
                    <a:pt x="144582" y="289163"/>
                    <a:pt x="147675" y="291788"/>
                    <a:pt x="149225" y="295275"/>
                  </a:cubicBezTo>
                  <a:cubicBezTo>
                    <a:pt x="161657" y="323247"/>
                    <a:pt x="147715" y="306465"/>
                    <a:pt x="165100" y="323850"/>
                  </a:cubicBezTo>
                  <a:lnTo>
                    <a:pt x="171450" y="342900"/>
                  </a:lnTo>
                  <a:cubicBezTo>
                    <a:pt x="174290" y="351419"/>
                    <a:pt x="184150" y="355600"/>
                    <a:pt x="190500" y="361950"/>
                  </a:cubicBezTo>
                  <a:cubicBezTo>
                    <a:pt x="202392" y="373842"/>
                    <a:pt x="195765" y="370055"/>
                    <a:pt x="209550" y="374650"/>
                  </a:cubicBezTo>
                  <a:cubicBezTo>
                    <a:pt x="212725" y="376767"/>
                    <a:pt x="215662" y="379293"/>
                    <a:pt x="219075" y="381000"/>
                  </a:cubicBezTo>
                  <a:cubicBezTo>
                    <a:pt x="222068" y="382497"/>
                    <a:pt x="225394" y="383213"/>
                    <a:pt x="228600" y="384175"/>
                  </a:cubicBezTo>
                  <a:cubicBezTo>
                    <a:pt x="264947" y="395079"/>
                    <a:pt x="238779" y="386510"/>
                    <a:pt x="260350" y="393700"/>
                  </a:cubicBezTo>
                  <a:cubicBezTo>
                    <a:pt x="262467" y="396875"/>
                    <a:pt x="263828" y="400712"/>
                    <a:pt x="266700" y="403225"/>
                  </a:cubicBezTo>
                  <a:cubicBezTo>
                    <a:pt x="291269" y="424723"/>
                    <a:pt x="279304" y="406818"/>
                    <a:pt x="295275" y="425450"/>
                  </a:cubicBezTo>
                  <a:cubicBezTo>
                    <a:pt x="297001" y="427463"/>
                    <a:pt x="309140" y="443655"/>
                    <a:pt x="311150" y="447675"/>
                  </a:cubicBezTo>
                  <a:cubicBezTo>
                    <a:pt x="312647" y="450668"/>
                    <a:pt x="312234" y="454587"/>
                    <a:pt x="314325" y="457200"/>
                  </a:cubicBezTo>
                  <a:cubicBezTo>
                    <a:pt x="316709" y="460180"/>
                    <a:pt x="320675" y="461433"/>
                    <a:pt x="323850" y="463550"/>
                  </a:cubicBezTo>
                  <a:cubicBezTo>
                    <a:pt x="344895" y="505639"/>
                    <a:pt x="315791" y="452682"/>
                    <a:pt x="339725" y="482600"/>
                  </a:cubicBezTo>
                  <a:cubicBezTo>
                    <a:pt x="341816" y="485213"/>
                    <a:pt x="340177" y="490180"/>
                    <a:pt x="342900" y="492125"/>
                  </a:cubicBezTo>
                  <a:cubicBezTo>
                    <a:pt x="348347" y="496016"/>
                    <a:pt x="355386" y="497162"/>
                    <a:pt x="361950" y="498475"/>
                  </a:cubicBezTo>
                  <a:cubicBezTo>
                    <a:pt x="408266" y="507738"/>
                    <a:pt x="382935" y="504056"/>
                    <a:pt x="438150" y="508000"/>
                  </a:cubicBezTo>
                  <a:cubicBezTo>
                    <a:pt x="441325" y="509058"/>
                    <a:pt x="444749" y="509550"/>
                    <a:pt x="447675" y="511175"/>
                  </a:cubicBezTo>
                  <a:cubicBezTo>
                    <a:pt x="454346" y="514881"/>
                    <a:pt x="460620" y="519296"/>
                    <a:pt x="466725" y="523875"/>
                  </a:cubicBezTo>
                  <a:cubicBezTo>
                    <a:pt x="470958" y="527050"/>
                    <a:pt x="474831" y="530775"/>
                    <a:pt x="479425" y="533400"/>
                  </a:cubicBezTo>
                  <a:cubicBezTo>
                    <a:pt x="482331" y="535060"/>
                    <a:pt x="485775" y="535517"/>
                    <a:pt x="488950" y="536575"/>
                  </a:cubicBezTo>
                  <a:cubicBezTo>
                    <a:pt x="492125" y="538692"/>
                    <a:pt x="495777" y="540227"/>
                    <a:pt x="498475" y="542925"/>
                  </a:cubicBezTo>
                  <a:cubicBezTo>
                    <a:pt x="519642" y="564092"/>
                    <a:pt x="488950" y="541867"/>
                    <a:pt x="514350" y="558800"/>
                  </a:cubicBezTo>
                  <a:cubicBezTo>
                    <a:pt x="521985" y="570252"/>
                    <a:pt x="526701" y="578676"/>
                    <a:pt x="539750" y="587375"/>
                  </a:cubicBezTo>
                  <a:lnTo>
                    <a:pt x="558800" y="600075"/>
                  </a:lnTo>
                  <a:cubicBezTo>
                    <a:pt x="561585" y="601931"/>
                    <a:pt x="565150" y="602192"/>
                    <a:pt x="568325" y="603250"/>
                  </a:cubicBezTo>
                  <a:cubicBezTo>
                    <a:pt x="571500" y="605367"/>
                    <a:pt x="574437" y="607893"/>
                    <a:pt x="577850" y="609600"/>
                  </a:cubicBezTo>
                  <a:cubicBezTo>
                    <a:pt x="580843" y="611097"/>
                    <a:pt x="584128" y="611963"/>
                    <a:pt x="587375" y="612775"/>
                  </a:cubicBezTo>
                  <a:cubicBezTo>
                    <a:pt x="609292" y="618254"/>
                    <a:pt x="621329" y="617241"/>
                    <a:pt x="647700" y="619125"/>
                  </a:cubicBezTo>
                  <a:cubicBezTo>
                    <a:pt x="664465" y="624713"/>
                    <a:pt x="654440" y="620444"/>
                    <a:pt x="676275" y="635000"/>
                  </a:cubicBezTo>
                  <a:lnTo>
                    <a:pt x="685800" y="641350"/>
                  </a:lnTo>
                  <a:cubicBezTo>
                    <a:pt x="700002" y="662652"/>
                    <a:pt x="683272" y="641781"/>
                    <a:pt x="701675" y="654050"/>
                  </a:cubicBezTo>
                  <a:cubicBezTo>
                    <a:pt x="705411" y="656541"/>
                    <a:pt x="707791" y="660653"/>
                    <a:pt x="711200" y="663575"/>
                  </a:cubicBezTo>
                  <a:cubicBezTo>
                    <a:pt x="713213" y="665301"/>
                    <a:pt x="729405" y="677440"/>
                    <a:pt x="733425" y="679450"/>
                  </a:cubicBezTo>
                  <a:cubicBezTo>
                    <a:pt x="736418" y="680947"/>
                    <a:pt x="739775" y="681567"/>
                    <a:pt x="742950" y="682625"/>
                  </a:cubicBezTo>
                  <a:lnTo>
                    <a:pt x="762000" y="695325"/>
                  </a:lnTo>
                  <a:cubicBezTo>
                    <a:pt x="767569" y="699038"/>
                    <a:pt x="781050" y="701675"/>
                    <a:pt x="781050" y="701675"/>
                  </a:cubicBezTo>
                  <a:cubicBezTo>
                    <a:pt x="783167" y="704850"/>
                    <a:pt x="784702" y="708502"/>
                    <a:pt x="787400" y="711200"/>
                  </a:cubicBezTo>
                  <a:cubicBezTo>
                    <a:pt x="794947" y="718747"/>
                    <a:pt x="806544" y="720756"/>
                    <a:pt x="815975" y="723900"/>
                  </a:cubicBezTo>
                  <a:lnTo>
                    <a:pt x="825500" y="727075"/>
                  </a:lnTo>
                  <a:lnTo>
                    <a:pt x="835025" y="730250"/>
                  </a:lnTo>
                  <a:cubicBezTo>
                    <a:pt x="838200" y="732367"/>
                    <a:pt x="841137" y="734893"/>
                    <a:pt x="844550" y="736600"/>
                  </a:cubicBezTo>
                  <a:cubicBezTo>
                    <a:pt x="847543" y="738097"/>
                    <a:pt x="851290" y="737919"/>
                    <a:pt x="854075" y="739775"/>
                  </a:cubicBezTo>
                  <a:cubicBezTo>
                    <a:pt x="857811" y="742266"/>
                    <a:pt x="859675" y="747119"/>
                    <a:pt x="863600" y="749300"/>
                  </a:cubicBezTo>
                  <a:cubicBezTo>
                    <a:pt x="869451" y="752551"/>
                    <a:pt x="876300" y="753533"/>
                    <a:pt x="882650" y="755650"/>
                  </a:cubicBezTo>
                  <a:lnTo>
                    <a:pt x="901700" y="762000"/>
                  </a:lnTo>
                  <a:cubicBezTo>
                    <a:pt x="909795" y="764698"/>
                    <a:pt x="918633" y="764117"/>
                    <a:pt x="927100" y="765175"/>
                  </a:cubicBezTo>
                  <a:cubicBezTo>
                    <a:pt x="944408" y="770944"/>
                    <a:pt x="958877" y="774156"/>
                    <a:pt x="977900" y="774700"/>
                  </a:cubicBezTo>
                  <a:cubicBezTo>
                    <a:pt x="1042441" y="776544"/>
                    <a:pt x="1107017" y="776817"/>
                    <a:pt x="1171575" y="777875"/>
                  </a:cubicBezTo>
                  <a:cubicBezTo>
                    <a:pt x="1177925" y="779992"/>
                    <a:pt x="1184131" y="782602"/>
                    <a:pt x="1190625" y="784225"/>
                  </a:cubicBezTo>
                  <a:cubicBezTo>
                    <a:pt x="1194858" y="785283"/>
                    <a:pt x="1199145" y="786146"/>
                    <a:pt x="1203325" y="787400"/>
                  </a:cubicBezTo>
                  <a:cubicBezTo>
                    <a:pt x="1209736" y="789323"/>
                    <a:pt x="1222375" y="793750"/>
                    <a:pt x="1222375" y="793750"/>
                  </a:cubicBezTo>
                  <a:cubicBezTo>
                    <a:pt x="1239308" y="792692"/>
                    <a:pt x="1256293" y="792263"/>
                    <a:pt x="1273175" y="790575"/>
                  </a:cubicBezTo>
                  <a:cubicBezTo>
                    <a:pt x="1277517" y="790141"/>
                    <a:pt x="1281972" y="789351"/>
                    <a:pt x="1285875" y="787400"/>
                  </a:cubicBezTo>
                  <a:cubicBezTo>
                    <a:pt x="1292701" y="783987"/>
                    <a:pt x="1304925" y="774700"/>
                    <a:pt x="1304925" y="774700"/>
                  </a:cubicBezTo>
                  <a:cubicBezTo>
                    <a:pt x="1307042" y="771525"/>
                    <a:pt x="1309568" y="768588"/>
                    <a:pt x="1311275" y="765175"/>
                  </a:cubicBezTo>
                  <a:cubicBezTo>
                    <a:pt x="1312772" y="762182"/>
                    <a:pt x="1312083" y="758017"/>
                    <a:pt x="1314450" y="755650"/>
                  </a:cubicBezTo>
                  <a:cubicBezTo>
                    <a:pt x="1316817" y="753283"/>
                    <a:pt x="1320800" y="753533"/>
                    <a:pt x="1323975" y="752475"/>
                  </a:cubicBezTo>
                  <a:cubicBezTo>
                    <a:pt x="1326092" y="749300"/>
                    <a:pt x="1327627" y="745648"/>
                    <a:pt x="1330325" y="742950"/>
                  </a:cubicBezTo>
                  <a:cubicBezTo>
                    <a:pt x="1333023" y="740252"/>
                    <a:pt x="1337733" y="739775"/>
                    <a:pt x="1339850" y="736600"/>
                  </a:cubicBezTo>
                  <a:cubicBezTo>
                    <a:pt x="1342271" y="732969"/>
                    <a:pt x="1340152" y="727184"/>
                    <a:pt x="1343025" y="723900"/>
                  </a:cubicBezTo>
                  <a:cubicBezTo>
                    <a:pt x="1348051" y="718157"/>
                    <a:pt x="1362075" y="711200"/>
                    <a:pt x="1362075" y="711200"/>
                  </a:cubicBezTo>
                  <a:lnTo>
                    <a:pt x="1381125" y="682625"/>
                  </a:lnTo>
                  <a:cubicBezTo>
                    <a:pt x="1385077" y="676697"/>
                    <a:pt x="1390529" y="667170"/>
                    <a:pt x="1397000" y="663575"/>
                  </a:cubicBezTo>
                  <a:cubicBezTo>
                    <a:pt x="1402851" y="660324"/>
                    <a:pt x="1416050" y="657225"/>
                    <a:pt x="1416050" y="657225"/>
                  </a:cubicBezTo>
                  <a:lnTo>
                    <a:pt x="1476375" y="660400"/>
                  </a:lnTo>
                  <a:cubicBezTo>
                    <a:pt x="1492258" y="661334"/>
                    <a:pt x="1508250" y="661325"/>
                    <a:pt x="1524000" y="663575"/>
                  </a:cubicBezTo>
                  <a:cubicBezTo>
                    <a:pt x="1530626" y="664522"/>
                    <a:pt x="1543050" y="669925"/>
                    <a:pt x="1543050" y="669925"/>
                  </a:cubicBezTo>
                  <a:cubicBezTo>
                    <a:pt x="1546225" y="672042"/>
                    <a:pt x="1549162" y="674568"/>
                    <a:pt x="1552575" y="676275"/>
                  </a:cubicBezTo>
                  <a:cubicBezTo>
                    <a:pt x="1555568" y="677772"/>
                    <a:pt x="1558871" y="678569"/>
                    <a:pt x="1562100" y="679450"/>
                  </a:cubicBezTo>
                  <a:cubicBezTo>
                    <a:pt x="1601489" y="690193"/>
                    <a:pt x="1575101" y="681667"/>
                    <a:pt x="1597025" y="688975"/>
                  </a:cubicBezTo>
                  <a:cubicBezTo>
                    <a:pt x="1600200" y="691092"/>
                    <a:pt x="1603063" y="693775"/>
                    <a:pt x="1606550" y="695325"/>
                  </a:cubicBezTo>
                  <a:cubicBezTo>
                    <a:pt x="1612667" y="698043"/>
                    <a:pt x="1625600" y="701675"/>
                    <a:pt x="1625600" y="701675"/>
                  </a:cubicBezTo>
                  <a:cubicBezTo>
                    <a:pt x="1627717" y="704850"/>
                    <a:pt x="1629019" y="708757"/>
                    <a:pt x="1631950" y="711200"/>
                  </a:cubicBezTo>
                  <a:cubicBezTo>
                    <a:pt x="1637181" y="715559"/>
                    <a:pt x="1647558" y="718519"/>
                    <a:pt x="1654175" y="720725"/>
                  </a:cubicBezTo>
                  <a:cubicBezTo>
                    <a:pt x="1663700" y="719667"/>
                    <a:pt x="1673658" y="720581"/>
                    <a:pt x="1682750" y="717550"/>
                  </a:cubicBezTo>
                  <a:cubicBezTo>
                    <a:pt x="1687010" y="716130"/>
                    <a:pt x="1688539" y="710516"/>
                    <a:pt x="1692275" y="708025"/>
                  </a:cubicBezTo>
                  <a:cubicBezTo>
                    <a:pt x="1695060" y="706169"/>
                    <a:pt x="1698625" y="705908"/>
                    <a:pt x="1701800" y="704850"/>
                  </a:cubicBezTo>
                  <a:cubicBezTo>
                    <a:pt x="1704975" y="702733"/>
                    <a:pt x="1707752" y="699840"/>
                    <a:pt x="1711325" y="698500"/>
                  </a:cubicBezTo>
                  <a:cubicBezTo>
                    <a:pt x="1732368" y="690609"/>
                    <a:pt x="1776203" y="697904"/>
                    <a:pt x="1787525" y="698500"/>
                  </a:cubicBezTo>
                  <a:cubicBezTo>
                    <a:pt x="1797547" y="703511"/>
                    <a:pt x="1811612" y="709887"/>
                    <a:pt x="1819275" y="717550"/>
                  </a:cubicBezTo>
                  <a:cubicBezTo>
                    <a:pt x="1834196" y="732471"/>
                    <a:pt x="1825064" y="724584"/>
                    <a:pt x="1847850" y="739775"/>
                  </a:cubicBezTo>
                  <a:cubicBezTo>
                    <a:pt x="1853895" y="743805"/>
                    <a:pt x="1877718" y="745856"/>
                    <a:pt x="1879600" y="746125"/>
                  </a:cubicBezTo>
                  <a:cubicBezTo>
                    <a:pt x="1885950" y="748242"/>
                    <a:pt x="1893081" y="748762"/>
                    <a:pt x="1898650" y="752475"/>
                  </a:cubicBezTo>
                  <a:cubicBezTo>
                    <a:pt x="1901825" y="754592"/>
                    <a:pt x="1904688" y="757275"/>
                    <a:pt x="1908175" y="758825"/>
                  </a:cubicBezTo>
                  <a:cubicBezTo>
                    <a:pt x="1923043" y="765433"/>
                    <a:pt x="1928161" y="765030"/>
                    <a:pt x="1943100" y="768350"/>
                  </a:cubicBezTo>
                  <a:cubicBezTo>
                    <a:pt x="1971518" y="774665"/>
                    <a:pt x="1937521" y="768478"/>
                    <a:pt x="1974850" y="774700"/>
                  </a:cubicBezTo>
                  <a:cubicBezTo>
                    <a:pt x="1978025" y="775758"/>
                    <a:pt x="1981762" y="775784"/>
                    <a:pt x="1984375" y="777875"/>
                  </a:cubicBezTo>
                  <a:cubicBezTo>
                    <a:pt x="1987355" y="780259"/>
                    <a:pt x="1988282" y="784469"/>
                    <a:pt x="1990725" y="787400"/>
                  </a:cubicBezTo>
                  <a:cubicBezTo>
                    <a:pt x="1999872" y="798377"/>
                    <a:pt x="1998036" y="796187"/>
                    <a:pt x="2009775" y="800100"/>
                  </a:cubicBezTo>
                  <a:cubicBezTo>
                    <a:pt x="2016125" y="806450"/>
                    <a:pt x="2023844" y="811678"/>
                    <a:pt x="2028825" y="819150"/>
                  </a:cubicBezTo>
                  <a:cubicBezTo>
                    <a:pt x="2037292" y="831850"/>
                    <a:pt x="2032000" y="826558"/>
                    <a:pt x="2044700" y="835025"/>
                  </a:cubicBezTo>
                  <a:cubicBezTo>
                    <a:pt x="2052257" y="857695"/>
                    <a:pt x="2045481" y="850362"/>
                    <a:pt x="2060575" y="860425"/>
                  </a:cubicBezTo>
                  <a:cubicBezTo>
                    <a:pt x="2061633" y="863600"/>
                    <a:pt x="2061659" y="867337"/>
                    <a:pt x="2063750" y="869950"/>
                  </a:cubicBezTo>
                  <a:cubicBezTo>
                    <a:pt x="2071754" y="879955"/>
                    <a:pt x="2088764" y="878236"/>
                    <a:pt x="2098675" y="879475"/>
                  </a:cubicBezTo>
                  <a:cubicBezTo>
                    <a:pt x="2101850" y="880533"/>
                    <a:pt x="2104853" y="882650"/>
                    <a:pt x="2108200" y="882650"/>
                  </a:cubicBezTo>
                  <a:cubicBezTo>
                    <a:pt x="2115684" y="882650"/>
                    <a:pt x="2130425" y="879475"/>
                    <a:pt x="2130425" y="879475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49" name="Freeform 24"/>
            <p:cNvSpPr/>
            <p:nvPr>
              <p:custDataLst>
                <p:tags r:id="rId9"/>
              </p:custDataLst>
            </p:nvPr>
          </p:nvSpPr>
          <p:spPr bwMode="gray">
            <a:xfrm>
              <a:off x="7054851" y="3792795"/>
              <a:ext cx="212968" cy="801005"/>
            </a:xfrm>
            <a:custGeom>
              <a:avLst/>
              <a:gdLst>
                <a:gd name="connsiteX0" fmla="*/ 47630 w 231780"/>
                <a:gd name="connsiteY0" fmla="*/ 0 h 898525"/>
                <a:gd name="connsiteX1" fmla="*/ 47630 w 231780"/>
                <a:gd name="connsiteY1" fmla="*/ 0 h 898525"/>
                <a:gd name="connsiteX2" fmla="*/ 6355 w 231780"/>
                <a:gd name="connsiteY2" fmla="*/ 38100 h 898525"/>
                <a:gd name="connsiteX3" fmla="*/ 5 w 231780"/>
                <a:gd name="connsiteY3" fmla="*/ 47625 h 898525"/>
                <a:gd name="connsiteX4" fmla="*/ 6355 w 231780"/>
                <a:gd name="connsiteY4" fmla="*/ 76200 h 898525"/>
                <a:gd name="connsiteX5" fmla="*/ 15880 w 231780"/>
                <a:gd name="connsiteY5" fmla="*/ 85725 h 898525"/>
                <a:gd name="connsiteX6" fmla="*/ 19055 w 231780"/>
                <a:gd name="connsiteY6" fmla="*/ 95250 h 898525"/>
                <a:gd name="connsiteX7" fmla="*/ 28580 w 231780"/>
                <a:gd name="connsiteY7" fmla="*/ 114300 h 898525"/>
                <a:gd name="connsiteX8" fmla="*/ 31755 w 231780"/>
                <a:gd name="connsiteY8" fmla="*/ 146050 h 898525"/>
                <a:gd name="connsiteX9" fmla="*/ 34930 w 231780"/>
                <a:gd name="connsiteY9" fmla="*/ 215900 h 898525"/>
                <a:gd name="connsiteX10" fmla="*/ 38105 w 231780"/>
                <a:gd name="connsiteY10" fmla="*/ 225425 h 898525"/>
                <a:gd name="connsiteX11" fmla="*/ 47630 w 231780"/>
                <a:gd name="connsiteY11" fmla="*/ 234950 h 898525"/>
                <a:gd name="connsiteX12" fmla="*/ 44455 w 231780"/>
                <a:gd name="connsiteY12" fmla="*/ 269875 h 898525"/>
                <a:gd name="connsiteX13" fmla="*/ 38105 w 231780"/>
                <a:gd name="connsiteY13" fmla="*/ 288925 h 898525"/>
                <a:gd name="connsiteX14" fmla="*/ 41280 w 231780"/>
                <a:gd name="connsiteY14" fmla="*/ 333375 h 898525"/>
                <a:gd name="connsiteX15" fmla="*/ 57155 w 231780"/>
                <a:gd name="connsiteY15" fmla="*/ 361950 h 898525"/>
                <a:gd name="connsiteX16" fmla="*/ 60330 w 231780"/>
                <a:gd name="connsiteY16" fmla="*/ 371475 h 898525"/>
                <a:gd name="connsiteX17" fmla="*/ 66680 w 231780"/>
                <a:gd name="connsiteY17" fmla="*/ 381000 h 898525"/>
                <a:gd name="connsiteX18" fmla="*/ 79380 w 231780"/>
                <a:gd name="connsiteY18" fmla="*/ 463550 h 898525"/>
                <a:gd name="connsiteX19" fmla="*/ 88905 w 231780"/>
                <a:gd name="connsiteY19" fmla="*/ 469900 h 898525"/>
                <a:gd name="connsiteX20" fmla="*/ 82555 w 231780"/>
                <a:gd name="connsiteY20" fmla="*/ 498475 h 898525"/>
                <a:gd name="connsiteX21" fmla="*/ 73030 w 231780"/>
                <a:gd name="connsiteY21" fmla="*/ 517525 h 898525"/>
                <a:gd name="connsiteX22" fmla="*/ 63505 w 231780"/>
                <a:gd name="connsiteY22" fmla="*/ 523875 h 898525"/>
                <a:gd name="connsiteX23" fmla="*/ 57155 w 231780"/>
                <a:gd name="connsiteY23" fmla="*/ 561975 h 898525"/>
                <a:gd name="connsiteX24" fmla="*/ 53980 w 231780"/>
                <a:gd name="connsiteY24" fmla="*/ 581025 h 898525"/>
                <a:gd name="connsiteX25" fmla="*/ 63505 w 231780"/>
                <a:gd name="connsiteY25" fmla="*/ 650875 h 898525"/>
                <a:gd name="connsiteX26" fmla="*/ 73030 w 231780"/>
                <a:gd name="connsiteY26" fmla="*/ 660400 h 898525"/>
                <a:gd name="connsiteX27" fmla="*/ 82555 w 231780"/>
                <a:gd name="connsiteY27" fmla="*/ 666750 h 898525"/>
                <a:gd name="connsiteX28" fmla="*/ 85730 w 231780"/>
                <a:gd name="connsiteY28" fmla="*/ 676275 h 898525"/>
                <a:gd name="connsiteX29" fmla="*/ 92080 w 231780"/>
                <a:gd name="connsiteY29" fmla="*/ 685800 h 898525"/>
                <a:gd name="connsiteX30" fmla="*/ 98430 w 231780"/>
                <a:gd name="connsiteY30" fmla="*/ 704850 h 898525"/>
                <a:gd name="connsiteX31" fmla="*/ 101605 w 231780"/>
                <a:gd name="connsiteY31" fmla="*/ 714375 h 898525"/>
                <a:gd name="connsiteX32" fmla="*/ 104780 w 231780"/>
                <a:gd name="connsiteY32" fmla="*/ 787400 h 898525"/>
                <a:gd name="connsiteX33" fmla="*/ 114305 w 231780"/>
                <a:gd name="connsiteY33" fmla="*/ 806450 h 898525"/>
                <a:gd name="connsiteX34" fmla="*/ 123830 w 231780"/>
                <a:gd name="connsiteY34" fmla="*/ 815975 h 898525"/>
                <a:gd name="connsiteX35" fmla="*/ 130180 w 231780"/>
                <a:gd name="connsiteY35" fmla="*/ 825500 h 898525"/>
                <a:gd name="connsiteX36" fmla="*/ 139705 w 231780"/>
                <a:gd name="connsiteY36" fmla="*/ 838200 h 898525"/>
                <a:gd name="connsiteX37" fmla="*/ 149230 w 231780"/>
                <a:gd name="connsiteY37" fmla="*/ 847725 h 898525"/>
                <a:gd name="connsiteX38" fmla="*/ 165105 w 231780"/>
                <a:gd name="connsiteY38" fmla="*/ 863600 h 898525"/>
                <a:gd name="connsiteX39" fmla="*/ 184155 w 231780"/>
                <a:gd name="connsiteY39" fmla="*/ 876300 h 898525"/>
                <a:gd name="connsiteX40" fmla="*/ 193680 w 231780"/>
                <a:gd name="connsiteY40" fmla="*/ 885825 h 898525"/>
                <a:gd name="connsiteX41" fmla="*/ 225430 w 231780"/>
                <a:gd name="connsiteY41" fmla="*/ 895350 h 898525"/>
                <a:gd name="connsiteX42" fmla="*/ 231780 w 231780"/>
                <a:gd name="connsiteY42" fmla="*/ 898525 h 898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31780" h="898525">
                  <a:moveTo>
                    <a:pt x="47630" y="0"/>
                  </a:moveTo>
                  <a:lnTo>
                    <a:pt x="47630" y="0"/>
                  </a:lnTo>
                  <a:cubicBezTo>
                    <a:pt x="13182" y="34448"/>
                    <a:pt x="28333" y="23448"/>
                    <a:pt x="6355" y="38100"/>
                  </a:cubicBezTo>
                  <a:cubicBezTo>
                    <a:pt x="4238" y="41275"/>
                    <a:pt x="426" y="43832"/>
                    <a:pt x="5" y="47625"/>
                  </a:cubicBezTo>
                  <a:cubicBezTo>
                    <a:pt x="-160" y="49107"/>
                    <a:pt x="3166" y="71417"/>
                    <a:pt x="6355" y="76200"/>
                  </a:cubicBezTo>
                  <a:cubicBezTo>
                    <a:pt x="8846" y="79936"/>
                    <a:pt x="12705" y="82550"/>
                    <a:pt x="15880" y="85725"/>
                  </a:cubicBezTo>
                  <a:cubicBezTo>
                    <a:pt x="16938" y="88900"/>
                    <a:pt x="17558" y="92257"/>
                    <a:pt x="19055" y="95250"/>
                  </a:cubicBezTo>
                  <a:cubicBezTo>
                    <a:pt x="31365" y="119869"/>
                    <a:pt x="20600" y="90359"/>
                    <a:pt x="28580" y="114300"/>
                  </a:cubicBezTo>
                  <a:cubicBezTo>
                    <a:pt x="29638" y="124883"/>
                    <a:pt x="31092" y="135435"/>
                    <a:pt x="31755" y="146050"/>
                  </a:cubicBezTo>
                  <a:cubicBezTo>
                    <a:pt x="33209" y="169312"/>
                    <a:pt x="33071" y="192667"/>
                    <a:pt x="34930" y="215900"/>
                  </a:cubicBezTo>
                  <a:cubicBezTo>
                    <a:pt x="35197" y="219236"/>
                    <a:pt x="36249" y="222640"/>
                    <a:pt x="38105" y="225425"/>
                  </a:cubicBezTo>
                  <a:cubicBezTo>
                    <a:pt x="40596" y="229161"/>
                    <a:pt x="44455" y="231775"/>
                    <a:pt x="47630" y="234950"/>
                  </a:cubicBezTo>
                  <a:cubicBezTo>
                    <a:pt x="46572" y="246592"/>
                    <a:pt x="46486" y="258363"/>
                    <a:pt x="44455" y="269875"/>
                  </a:cubicBezTo>
                  <a:cubicBezTo>
                    <a:pt x="43292" y="276467"/>
                    <a:pt x="38105" y="288925"/>
                    <a:pt x="38105" y="288925"/>
                  </a:cubicBezTo>
                  <a:cubicBezTo>
                    <a:pt x="39163" y="303742"/>
                    <a:pt x="39544" y="318622"/>
                    <a:pt x="41280" y="333375"/>
                  </a:cubicBezTo>
                  <a:cubicBezTo>
                    <a:pt x="42478" y="343554"/>
                    <a:pt x="52611" y="355134"/>
                    <a:pt x="57155" y="361950"/>
                  </a:cubicBezTo>
                  <a:cubicBezTo>
                    <a:pt x="59011" y="364735"/>
                    <a:pt x="58833" y="368482"/>
                    <a:pt x="60330" y="371475"/>
                  </a:cubicBezTo>
                  <a:cubicBezTo>
                    <a:pt x="62037" y="374888"/>
                    <a:pt x="64563" y="377825"/>
                    <a:pt x="66680" y="381000"/>
                  </a:cubicBezTo>
                  <a:cubicBezTo>
                    <a:pt x="68959" y="433406"/>
                    <a:pt x="52828" y="441423"/>
                    <a:pt x="79380" y="463550"/>
                  </a:cubicBezTo>
                  <a:cubicBezTo>
                    <a:pt x="82311" y="465993"/>
                    <a:pt x="85730" y="467783"/>
                    <a:pt x="88905" y="469900"/>
                  </a:cubicBezTo>
                  <a:cubicBezTo>
                    <a:pt x="86788" y="479425"/>
                    <a:pt x="84922" y="489009"/>
                    <a:pt x="82555" y="498475"/>
                  </a:cubicBezTo>
                  <a:cubicBezTo>
                    <a:pt x="80833" y="505361"/>
                    <a:pt x="78203" y="512352"/>
                    <a:pt x="73030" y="517525"/>
                  </a:cubicBezTo>
                  <a:cubicBezTo>
                    <a:pt x="70332" y="520223"/>
                    <a:pt x="66680" y="521758"/>
                    <a:pt x="63505" y="523875"/>
                  </a:cubicBezTo>
                  <a:lnTo>
                    <a:pt x="57155" y="561975"/>
                  </a:lnTo>
                  <a:lnTo>
                    <a:pt x="53980" y="581025"/>
                  </a:lnTo>
                  <a:cubicBezTo>
                    <a:pt x="55797" y="615556"/>
                    <a:pt x="46281" y="630206"/>
                    <a:pt x="63505" y="650875"/>
                  </a:cubicBezTo>
                  <a:cubicBezTo>
                    <a:pt x="66380" y="654324"/>
                    <a:pt x="69581" y="657525"/>
                    <a:pt x="73030" y="660400"/>
                  </a:cubicBezTo>
                  <a:cubicBezTo>
                    <a:pt x="75961" y="662843"/>
                    <a:pt x="79380" y="664633"/>
                    <a:pt x="82555" y="666750"/>
                  </a:cubicBezTo>
                  <a:cubicBezTo>
                    <a:pt x="83613" y="669925"/>
                    <a:pt x="84233" y="673282"/>
                    <a:pt x="85730" y="676275"/>
                  </a:cubicBezTo>
                  <a:cubicBezTo>
                    <a:pt x="87437" y="679688"/>
                    <a:pt x="90530" y="682313"/>
                    <a:pt x="92080" y="685800"/>
                  </a:cubicBezTo>
                  <a:cubicBezTo>
                    <a:pt x="94798" y="691917"/>
                    <a:pt x="96313" y="698500"/>
                    <a:pt x="98430" y="704850"/>
                  </a:cubicBezTo>
                  <a:lnTo>
                    <a:pt x="101605" y="714375"/>
                  </a:lnTo>
                  <a:cubicBezTo>
                    <a:pt x="102663" y="738717"/>
                    <a:pt x="102911" y="763107"/>
                    <a:pt x="104780" y="787400"/>
                  </a:cubicBezTo>
                  <a:cubicBezTo>
                    <a:pt x="105265" y="793710"/>
                    <a:pt x="110541" y="801933"/>
                    <a:pt x="114305" y="806450"/>
                  </a:cubicBezTo>
                  <a:cubicBezTo>
                    <a:pt x="117180" y="809899"/>
                    <a:pt x="120955" y="812526"/>
                    <a:pt x="123830" y="815975"/>
                  </a:cubicBezTo>
                  <a:cubicBezTo>
                    <a:pt x="126273" y="818906"/>
                    <a:pt x="127962" y="822395"/>
                    <a:pt x="130180" y="825500"/>
                  </a:cubicBezTo>
                  <a:cubicBezTo>
                    <a:pt x="133256" y="829806"/>
                    <a:pt x="136261" y="834182"/>
                    <a:pt x="139705" y="838200"/>
                  </a:cubicBezTo>
                  <a:cubicBezTo>
                    <a:pt x="142627" y="841609"/>
                    <a:pt x="146620" y="844071"/>
                    <a:pt x="149230" y="847725"/>
                  </a:cubicBezTo>
                  <a:cubicBezTo>
                    <a:pt x="161490" y="864890"/>
                    <a:pt x="147969" y="857888"/>
                    <a:pt x="165105" y="863600"/>
                  </a:cubicBezTo>
                  <a:lnTo>
                    <a:pt x="184155" y="876300"/>
                  </a:lnTo>
                  <a:cubicBezTo>
                    <a:pt x="187891" y="878791"/>
                    <a:pt x="189755" y="883644"/>
                    <a:pt x="193680" y="885825"/>
                  </a:cubicBezTo>
                  <a:cubicBezTo>
                    <a:pt x="204721" y="891959"/>
                    <a:pt x="214157" y="891592"/>
                    <a:pt x="225430" y="895350"/>
                  </a:cubicBezTo>
                  <a:cubicBezTo>
                    <a:pt x="227675" y="896098"/>
                    <a:pt x="229663" y="897467"/>
                    <a:pt x="231780" y="898525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50" name="Freeform 25"/>
            <p:cNvSpPr/>
            <p:nvPr>
              <p:custDataLst>
                <p:tags r:id="rId10"/>
              </p:custDataLst>
            </p:nvPr>
          </p:nvSpPr>
          <p:spPr bwMode="gray">
            <a:xfrm>
              <a:off x="4391360" y="4197543"/>
              <a:ext cx="1108575" cy="645333"/>
            </a:xfrm>
            <a:custGeom>
              <a:avLst/>
              <a:gdLst>
                <a:gd name="connsiteX0" fmla="*/ 0 w 1206500"/>
                <a:gd name="connsiteY0" fmla="*/ 723900 h 723900"/>
                <a:gd name="connsiteX1" fmla="*/ 0 w 1206500"/>
                <a:gd name="connsiteY1" fmla="*/ 723900 h 723900"/>
                <a:gd name="connsiteX2" fmla="*/ 25400 w 1206500"/>
                <a:gd name="connsiteY2" fmla="*/ 714375 h 723900"/>
                <a:gd name="connsiteX3" fmla="*/ 53975 w 1206500"/>
                <a:gd name="connsiteY3" fmla="*/ 698500 h 723900"/>
                <a:gd name="connsiteX4" fmla="*/ 63500 w 1206500"/>
                <a:gd name="connsiteY4" fmla="*/ 688975 h 723900"/>
                <a:gd name="connsiteX5" fmla="*/ 82550 w 1206500"/>
                <a:gd name="connsiteY5" fmla="*/ 679450 h 723900"/>
                <a:gd name="connsiteX6" fmla="*/ 92075 w 1206500"/>
                <a:gd name="connsiteY6" fmla="*/ 669925 h 723900"/>
                <a:gd name="connsiteX7" fmla="*/ 104775 w 1206500"/>
                <a:gd name="connsiteY7" fmla="*/ 666750 h 723900"/>
                <a:gd name="connsiteX8" fmla="*/ 114300 w 1206500"/>
                <a:gd name="connsiteY8" fmla="*/ 663575 h 723900"/>
                <a:gd name="connsiteX9" fmla="*/ 123825 w 1206500"/>
                <a:gd name="connsiteY9" fmla="*/ 657225 h 723900"/>
                <a:gd name="connsiteX10" fmla="*/ 146050 w 1206500"/>
                <a:gd name="connsiteY10" fmla="*/ 628650 h 723900"/>
                <a:gd name="connsiteX11" fmla="*/ 158750 w 1206500"/>
                <a:gd name="connsiteY11" fmla="*/ 600075 h 723900"/>
                <a:gd name="connsiteX12" fmla="*/ 168275 w 1206500"/>
                <a:gd name="connsiteY12" fmla="*/ 596900 h 723900"/>
                <a:gd name="connsiteX13" fmla="*/ 184150 w 1206500"/>
                <a:gd name="connsiteY13" fmla="*/ 581025 h 723900"/>
                <a:gd name="connsiteX14" fmla="*/ 200025 w 1206500"/>
                <a:gd name="connsiteY14" fmla="*/ 568325 h 723900"/>
                <a:gd name="connsiteX15" fmla="*/ 209550 w 1206500"/>
                <a:gd name="connsiteY15" fmla="*/ 561975 h 723900"/>
                <a:gd name="connsiteX16" fmla="*/ 247650 w 1206500"/>
                <a:gd name="connsiteY16" fmla="*/ 561975 h 723900"/>
                <a:gd name="connsiteX17" fmla="*/ 266700 w 1206500"/>
                <a:gd name="connsiteY17" fmla="*/ 574675 h 723900"/>
                <a:gd name="connsiteX18" fmla="*/ 282575 w 1206500"/>
                <a:gd name="connsiteY18" fmla="*/ 590550 h 723900"/>
                <a:gd name="connsiteX19" fmla="*/ 314325 w 1206500"/>
                <a:gd name="connsiteY19" fmla="*/ 584200 h 723900"/>
                <a:gd name="connsiteX20" fmla="*/ 323850 w 1206500"/>
                <a:gd name="connsiteY20" fmla="*/ 577850 h 723900"/>
                <a:gd name="connsiteX21" fmla="*/ 327025 w 1206500"/>
                <a:gd name="connsiteY21" fmla="*/ 568325 h 723900"/>
                <a:gd name="connsiteX22" fmla="*/ 336550 w 1206500"/>
                <a:gd name="connsiteY22" fmla="*/ 558800 h 723900"/>
                <a:gd name="connsiteX23" fmla="*/ 342900 w 1206500"/>
                <a:gd name="connsiteY23" fmla="*/ 549275 h 723900"/>
                <a:gd name="connsiteX24" fmla="*/ 358775 w 1206500"/>
                <a:gd name="connsiteY24" fmla="*/ 498475 h 723900"/>
                <a:gd name="connsiteX25" fmla="*/ 368300 w 1206500"/>
                <a:gd name="connsiteY25" fmla="*/ 495300 h 723900"/>
                <a:gd name="connsiteX26" fmla="*/ 390525 w 1206500"/>
                <a:gd name="connsiteY26" fmla="*/ 498475 h 723900"/>
                <a:gd name="connsiteX27" fmla="*/ 400050 w 1206500"/>
                <a:gd name="connsiteY27" fmla="*/ 504825 h 723900"/>
                <a:gd name="connsiteX28" fmla="*/ 409575 w 1206500"/>
                <a:gd name="connsiteY28" fmla="*/ 508000 h 723900"/>
                <a:gd name="connsiteX29" fmla="*/ 447675 w 1206500"/>
                <a:gd name="connsiteY29" fmla="*/ 504825 h 723900"/>
                <a:gd name="connsiteX30" fmla="*/ 469900 w 1206500"/>
                <a:gd name="connsiteY30" fmla="*/ 492125 h 723900"/>
                <a:gd name="connsiteX31" fmla="*/ 511175 w 1206500"/>
                <a:gd name="connsiteY31" fmla="*/ 495300 h 723900"/>
                <a:gd name="connsiteX32" fmla="*/ 530225 w 1206500"/>
                <a:gd name="connsiteY32" fmla="*/ 504825 h 723900"/>
                <a:gd name="connsiteX33" fmla="*/ 539750 w 1206500"/>
                <a:gd name="connsiteY33" fmla="*/ 508000 h 723900"/>
                <a:gd name="connsiteX34" fmla="*/ 555625 w 1206500"/>
                <a:gd name="connsiteY34" fmla="*/ 504825 h 723900"/>
                <a:gd name="connsiteX35" fmla="*/ 561975 w 1206500"/>
                <a:gd name="connsiteY35" fmla="*/ 485775 h 723900"/>
                <a:gd name="connsiteX36" fmla="*/ 568325 w 1206500"/>
                <a:gd name="connsiteY36" fmla="*/ 476250 h 723900"/>
                <a:gd name="connsiteX37" fmla="*/ 571500 w 1206500"/>
                <a:gd name="connsiteY37" fmla="*/ 454025 h 723900"/>
                <a:gd name="connsiteX38" fmla="*/ 593725 w 1206500"/>
                <a:gd name="connsiteY38" fmla="*/ 444500 h 723900"/>
                <a:gd name="connsiteX39" fmla="*/ 609600 w 1206500"/>
                <a:gd name="connsiteY39" fmla="*/ 428625 h 723900"/>
                <a:gd name="connsiteX40" fmla="*/ 625475 w 1206500"/>
                <a:gd name="connsiteY40" fmla="*/ 409575 h 723900"/>
                <a:gd name="connsiteX41" fmla="*/ 631825 w 1206500"/>
                <a:gd name="connsiteY41" fmla="*/ 387350 h 723900"/>
                <a:gd name="connsiteX42" fmla="*/ 638175 w 1206500"/>
                <a:gd name="connsiteY42" fmla="*/ 374650 h 723900"/>
                <a:gd name="connsiteX43" fmla="*/ 644525 w 1206500"/>
                <a:gd name="connsiteY43" fmla="*/ 355600 h 723900"/>
                <a:gd name="connsiteX44" fmla="*/ 654050 w 1206500"/>
                <a:gd name="connsiteY44" fmla="*/ 346075 h 723900"/>
                <a:gd name="connsiteX45" fmla="*/ 682625 w 1206500"/>
                <a:gd name="connsiteY45" fmla="*/ 333375 h 723900"/>
                <a:gd name="connsiteX46" fmla="*/ 720725 w 1206500"/>
                <a:gd name="connsiteY46" fmla="*/ 330200 h 723900"/>
                <a:gd name="connsiteX47" fmla="*/ 739775 w 1206500"/>
                <a:gd name="connsiteY47" fmla="*/ 314325 h 723900"/>
                <a:gd name="connsiteX48" fmla="*/ 758825 w 1206500"/>
                <a:gd name="connsiteY48" fmla="*/ 307975 h 723900"/>
                <a:gd name="connsiteX49" fmla="*/ 768350 w 1206500"/>
                <a:gd name="connsiteY49" fmla="*/ 304800 h 723900"/>
                <a:gd name="connsiteX50" fmla="*/ 777875 w 1206500"/>
                <a:gd name="connsiteY50" fmla="*/ 307975 h 723900"/>
                <a:gd name="connsiteX51" fmla="*/ 781050 w 1206500"/>
                <a:gd name="connsiteY51" fmla="*/ 317500 h 723900"/>
                <a:gd name="connsiteX52" fmla="*/ 787400 w 1206500"/>
                <a:gd name="connsiteY52" fmla="*/ 327025 h 723900"/>
                <a:gd name="connsiteX53" fmla="*/ 796925 w 1206500"/>
                <a:gd name="connsiteY53" fmla="*/ 333375 h 723900"/>
                <a:gd name="connsiteX54" fmla="*/ 815975 w 1206500"/>
                <a:gd name="connsiteY54" fmla="*/ 339725 h 723900"/>
                <a:gd name="connsiteX55" fmla="*/ 923925 w 1206500"/>
                <a:gd name="connsiteY55" fmla="*/ 336550 h 723900"/>
                <a:gd name="connsiteX56" fmla="*/ 936625 w 1206500"/>
                <a:gd name="connsiteY56" fmla="*/ 317500 h 723900"/>
                <a:gd name="connsiteX57" fmla="*/ 942975 w 1206500"/>
                <a:gd name="connsiteY57" fmla="*/ 307975 h 723900"/>
                <a:gd name="connsiteX58" fmla="*/ 949325 w 1206500"/>
                <a:gd name="connsiteY58" fmla="*/ 298450 h 723900"/>
                <a:gd name="connsiteX59" fmla="*/ 955675 w 1206500"/>
                <a:gd name="connsiteY59" fmla="*/ 282575 h 723900"/>
                <a:gd name="connsiteX60" fmla="*/ 984250 w 1206500"/>
                <a:gd name="connsiteY60" fmla="*/ 260350 h 723900"/>
                <a:gd name="connsiteX61" fmla="*/ 993775 w 1206500"/>
                <a:gd name="connsiteY61" fmla="*/ 254000 h 723900"/>
                <a:gd name="connsiteX62" fmla="*/ 1038225 w 1206500"/>
                <a:gd name="connsiteY62" fmla="*/ 247650 h 723900"/>
                <a:gd name="connsiteX63" fmla="*/ 1066800 w 1206500"/>
                <a:gd name="connsiteY63" fmla="*/ 238125 h 723900"/>
                <a:gd name="connsiteX64" fmla="*/ 1092200 w 1206500"/>
                <a:gd name="connsiteY64" fmla="*/ 231775 h 723900"/>
                <a:gd name="connsiteX65" fmla="*/ 1101725 w 1206500"/>
                <a:gd name="connsiteY65" fmla="*/ 225425 h 723900"/>
                <a:gd name="connsiteX66" fmla="*/ 1111250 w 1206500"/>
                <a:gd name="connsiteY66" fmla="*/ 206375 h 723900"/>
                <a:gd name="connsiteX67" fmla="*/ 1117600 w 1206500"/>
                <a:gd name="connsiteY67" fmla="*/ 196850 h 723900"/>
                <a:gd name="connsiteX68" fmla="*/ 1127125 w 1206500"/>
                <a:gd name="connsiteY68" fmla="*/ 187325 h 723900"/>
                <a:gd name="connsiteX69" fmla="*/ 1146175 w 1206500"/>
                <a:gd name="connsiteY69" fmla="*/ 158750 h 723900"/>
                <a:gd name="connsiteX70" fmla="*/ 1155700 w 1206500"/>
                <a:gd name="connsiteY70" fmla="*/ 149225 h 723900"/>
                <a:gd name="connsiteX71" fmla="*/ 1174750 w 1206500"/>
                <a:gd name="connsiteY71" fmla="*/ 136525 h 723900"/>
                <a:gd name="connsiteX72" fmla="*/ 1174750 w 1206500"/>
                <a:gd name="connsiteY72" fmla="*/ 104775 h 723900"/>
                <a:gd name="connsiteX73" fmla="*/ 1177925 w 1206500"/>
                <a:gd name="connsiteY73" fmla="*/ 50800 h 723900"/>
                <a:gd name="connsiteX74" fmla="*/ 1187450 w 1206500"/>
                <a:gd name="connsiteY74" fmla="*/ 15875 h 723900"/>
                <a:gd name="connsiteX75" fmla="*/ 1196975 w 1206500"/>
                <a:gd name="connsiteY75" fmla="*/ 9525 h 723900"/>
                <a:gd name="connsiteX76" fmla="*/ 1206500 w 1206500"/>
                <a:gd name="connsiteY76" fmla="*/ 0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206500" h="723900">
                  <a:moveTo>
                    <a:pt x="0" y="723900"/>
                  </a:moveTo>
                  <a:lnTo>
                    <a:pt x="0" y="723900"/>
                  </a:lnTo>
                  <a:cubicBezTo>
                    <a:pt x="8467" y="720725"/>
                    <a:pt x="17312" y="718419"/>
                    <a:pt x="25400" y="714375"/>
                  </a:cubicBezTo>
                  <a:cubicBezTo>
                    <a:pt x="69069" y="692540"/>
                    <a:pt x="27635" y="707280"/>
                    <a:pt x="53975" y="698500"/>
                  </a:cubicBezTo>
                  <a:cubicBezTo>
                    <a:pt x="57150" y="695325"/>
                    <a:pt x="59764" y="691466"/>
                    <a:pt x="63500" y="688975"/>
                  </a:cubicBezTo>
                  <a:cubicBezTo>
                    <a:pt x="92139" y="669882"/>
                    <a:pt x="52575" y="704429"/>
                    <a:pt x="82550" y="679450"/>
                  </a:cubicBezTo>
                  <a:cubicBezTo>
                    <a:pt x="85999" y="676575"/>
                    <a:pt x="88176" y="672153"/>
                    <a:pt x="92075" y="669925"/>
                  </a:cubicBezTo>
                  <a:cubicBezTo>
                    <a:pt x="95864" y="667760"/>
                    <a:pt x="100579" y="667949"/>
                    <a:pt x="104775" y="666750"/>
                  </a:cubicBezTo>
                  <a:cubicBezTo>
                    <a:pt x="107993" y="665831"/>
                    <a:pt x="111125" y="664633"/>
                    <a:pt x="114300" y="663575"/>
                  </a:cubicBezTo>
                  <a:cubicBezTo>
                    <a:pt x="117475" y="661458"/>
                    <a:pt x="120894" y="659668"/>
                    <a:pt x="123825" y="657225"/>
                  </a:cubicBezTo>
                  <a:cubicBezTo>
                    <a:pt x="135016" y="647899"/>
                    <a:pt x="137200" y="641925"/>
                    <a:pt x="146050" y="628650"/>
                  </a:cubicBezTo>
                  <a:cubicBezTo>
                    <a:pt x="152148" y="619503"/>
                    <a:pt x="149519" y="607460"/>
                    <a:pt x="158750" y="600075"/>
                  </a:cubicBezTo>
                  <a:cubicBezTo>
                    <a:pt x="161363" y="597984"/>
                    <a:pt x="165100" y="597958"/>
                    <a:pt x="168275" y="596900"/>
                  </a:cubicBezTo>
                  <a:cubicBezTo>
                    <a:pt x="185208" y="571500"/>
                    <a:pt x="162983" y="602192"/>
                    <a:pt x="184150" y="581025"/>
                  </a:cubicBezTo>
                  <a:cubicBezTo>
                    <a:pt x="198511" y="566664"/>
                    <a:pt x="181482" y="574506"/>
                    <a:pt x="200025" y="568325"/>
                  </a:cubicBezTo>
                  <a:cubicBezTo>
                    <a:pt x="203200" y="566208"/>
                    <a:pt x="205977" y="563315"/>
                    <a:pt x="209550" y="561975"/>
                  </a:cubicBezTo>
                  <a:cubicBezTo>
                    <a:pt x="224919" y="556212"/>
                    <a:pt x="230961" y="559591"/>
                    <a:pt x="247650" y="561975"/>
                  </a:cubicBezTo>
                  <a:cubicBezTo>
                    <a:pt x="254000" y="566208"/>
                    <a:pt x="262467" y="568325"/>
                    <a:pt x="266700" y="574675"/>
                  </a:cubicBezTo>
                  <a:cubicBezTo>
                    <a:pt x="275167" y="587375"/>
                    <a:pt x="269875" y="582083"/>
                    <a:pt x="282575" y="590550"/>
                  </a:cubicBezTo>
                  <a:cubicBezTo>
                    <a:pt x="290765" y="589380"/>
                    <a:pt x="305459" y="588633"/>
                    <a:pt x="314325" y="584200"/>
                  </a:cubicBezTo>
                  <a:cubicBezTo>
                    <a:pt x="317738" y="582493"/>
                    <a:pt x="320675" y="579967"/>
                    <a:pt x="323850" y="577850"/>
                  </a:cubicBezTo>
                  <a:cubicBezTo>
                    <a:pt x="324908" y="574675"/>
                    <a:pt x="325169" y="571110"/>
                    <a:pt x="327025" y="568325"/>
                  </a:cubicBezTo>
                  <a:cubicBezTo>
                    <a:pt x="329516" y="564589"/>
                    <a:pt x="333675" y="562249"/>
                    <a:pt x="336550" y="558800"/>
                  </a:cubicBezTo>
                  <a:cubicBezTo>
                    <a:pt x="338993" y="555869"/>
                    <a:pt x="340783" y="552450"/>
                    <a:pt x="342900" y="549275"/>
                  </a:cubicBezTo>
                  <a:cubicBezTo>
                    <a:pt x="343706" y="541216"/>
                    <a:pt x="342420" y="503927"/>
                    <a:pt x="358775" y="498475"/>
                  </a:cubicBezTo>
                  <a:lnTo>
                    <a:pt x="368300" y="495300"/>
                  </a:lnTo>
                  <a:cubicBezTo>
                    <a:pt x="375708" y="496358"/>
                    <a:pt x="383357" y="496325"/>
                    <a:pt x="390525" y="498475"/>
                  </a:cubicBezTo>
                  <a:cubicBezTo>
                    <a:pt x="394180" y="499571"/>
                    <a:pt x="396637" y="503118"/>
                    <a:pt x="400050" y="504825"/>
                  </a:cubicBezTo>
                  <a:cubicBezTo>
                    <a:pt x="403043" y="506322"/>
                    <a:pt x="406400" y="506942"/>
                    <a:pt x="409575" y="508000"/>
                  </a:cubicBezTo>
                  <a:cubicBezTo>
                    <a:pt x="422275" y="506942"/>
                    <a:pt x="435149" y="507174"/>
                    <a:pt x="447675" y="504825"/>
                  </a:cubicBezTo>
                  <a:cubicBezTo>
                    <a:pt x="453280" y="503774"/>
                    <a:pt x="464909" y="495452"/>
                    <a:pt x="469900" y="492125"/>
                  </a:cubicBezTo>
                  <a:cubicBezTo>
                    <a:pt x="483658" y="493183"/>
                    <a:pt x="497483" y="493588"/>
                    <a:pt x="511175" y="495300"/>
                  </a:cubicBezTo>
                  <a:cubicBezTo>
                    <a:pt x="521816" y="496630"/>
                    <a:pt x="520771" y="500098"/>
                    <a:pt x="530225" y="504825"/>
                  </a:cubicBezTo>
                  <a:cubicBezTo>
                    <a:pt x="533218" y="506322"/>
                    <a:pt x="536575" y="506942"/>
                    <a:pt x="539750" y="508000"/>
                  </a:cubicBezTo>
                  <a:cubicBezTo>
                    <a:pt x="545042" y="506942"/>
                    <a:pt x="551809" y="508641"/>
                    <a:pt x="555625" y="504825"/>
                  </a:cubicBezTo>
                  <a:cubicBezTo>
                    <a:pt x="560358" y="500092"/>
                    <a:pt x="558262" y="491344"/>
                    <a:pt x="561975" y="485775"/>
                  </a:cubicBezTo>
                  <a:lnTo>
                    <a:pt x="568325" y="476250"/>
                  </a:lnTo>
                  <a:cubicBezTo>
                    <a:pt x="569383" y="468842"/>
                    <a:pt x="567866" y="460567"/>
                    <a:pt x="571500" y="454025"/>
                  </a:cubicBezTo>
                  <a:cubicBezTo>
                    <a:pt x="573283" y="450815"/>
                    <a:pt x="589546" y="445893"/>
                    <a:pt x="593725" y="444500"/>
                  </a:cubicBezTo>
                  <a:cubicBezTo>
                    <a:pt x="611188" y="432858"/>
                    <a:pt x="596371" y="444500"/>
                    <a:pt x="609600" y="428625"/>
                  </a:cubicBezTo>
                  <a:cubicBezTo>
                    <a:pt x="629972" y="404179"/>
                    <a:pt x="609709" y="433224"/>
                    <a:pt x="625475" y="409575"/>
                  </a:cubicBezTo>
                  <a:cubicBezTo>
                    <a:pt x="627086" y="403130"/>
                    <a:pt x="629092" y="393727"/>
                    <a:pt x="631825" y="387350"/>
                  </a:cubicBezTo>
                  <a:cubicBezTo>
                    <a:pt x="633689" y="383000"/>
                    <a:pt x="636417" y="379044"/>
                    <a:pt x="638175" y="374650"/>
                  </a:cubicBezTo>
                  <a:cubicBezTo>
                    <a:pt x="640661" y="368435"/>
                    <a:pt x="639792" y="360333"/>
                    <a:pt x="644525" y="355600"/>
                  </a:cubicBezTo>
                  <a:cubicBezTo>
                    <a:pt x="647700" y="352425"/>
                    <a:pt x="650601" y="348950"/>
                    <a:pt x="654050" y="346075"/>
                  </a:cubicBezTo>
                  <a:cubicBezTo>
                    <a:pt x="661482" y="339882"/>
                    <a:pt x="673395" y="334144"/>
                    <a:pt x="682625" y="333375"/>
                  </a:cubicBezTo>
                  <a:lnTo>
                    <a:pt x="720725" y="330200"/>
                  </a:lnTo>
                  <a:cubicBezTo>
                    <a:pt x="726707" y="324218"/>
                    <a:pt x="731818" y="317861"/>
                    <a:pt x="739775" y="314325"/>
                  </a:cubicBezTo>
                  <a:cubicBezTo>
                    <a:pt x="745892" y="311607"/>
                    <a:pt x="752475" y="310092"/>
                    <a:pt x="758825" y="307975"/>
                  </a:cubicBezTo>
                  <a:lnTo>
                    <a:pt x="768350" y="304800"/>
                  </a:lnTo>
                  <a:cubicBezTo>
                    <a:pt x="771525" y="305858"/>
                    <a:pt x="775508" y="305608"/>
                    <a:pt x="777875" y="307975"/>
                  </a:cubicBezTo>
                  <a:cubicBezTo>
                    <a:pt x="780242" y="310342"/>
                    <a:pt x="779553" y="314507"/>
                    <a:pt x="781050" y="317500"/>
                  </a:cubicBezTo>
                  <a:cubicBezTo>
                    <a:pt x="782757" y="320913"/>
                    <a:pt x="784702" y="324327"/>
                    <a:pt x="787400" y="327025"/>
                  </a:cubicBezTo>
                  <a:cubicBezTo>
                    <a:pt x="790098" y="329723"/>
                    <a:pt x="793438" y="331825"/>
                    <a:pt x="796925" y="333375"/>
                  </a:cubicBezTo>
                  <a:cubicBezTo>
                    <a:pt x="803042" y="336093"/>
                    <a:pt x="815975" y="339725"/>
                    <a:pt x="815975" y="339725"/>
                  </a:cubicBezTo>
                  <a:cubicBezTo>
                    <a:pt x="851958" y="338667"/>
                    <a:pt x="888522" y="343072"/>
                    <a:pt x="923925" y="336550"/>
                  </a:cubicBezTo>
                  <a:cubicBezTo>
                    <a:pt x="931430" y="335167"/>
                    <a:pt x="932392" y="323850"/>
                    <a:pt x="936625" y="317500"/>
                  </a:cubicBezTo>
                  <a:lnTo>
                    <a:pt x="942975" y="307975"/>
                  </a:lnTo>
                  <a:cubicBezTo>
                    <a:pt x="945092" y="304800"/>
                    <a:pt x="947908" y="301993"/>
                    <a:pt x="949325" y="298450"/>
                  </a:cubicBezTo>
                  <a:cubicBezTo>
                    <a:pt x="951442" y="293158"/>
                    <a:pt x="952323" y="287184"/>
                    <a:pt x="955675" y="282575"/>
                  </a:cubicBezTo>
                  <a:cubicBezTo>
                    <a:pt x="969382" y="263728"/>
                    <a:pt x="969079" y="265407"/>
                    <a:pt x="984250" y="260350"/>
                  </a:cubicBezTo>
                  <a:cubicBezTo>
                    <a:pt x="987425" y="258233"/>
                    <a:pt x="990362" y="255707"/>
                    <a:pt x="993775" y="254000"/>
                  </a:cubicBezTo>
                  <a:cubicBezTo>
                    <a:pt x="1005991" y="247892"/>
                    <a:pt x="1029302" y="248461"/>
                    <a:pt x="1038225" y="247650"/>
                  </a:cubicBezTo>
                  <a:lnTo>
                    <a:pt x="1066800" y="238125"/>
                  </a:lnTo>
                  <a:cubicBezTo>
                    <a:pt x="1075079" y="235365"/>
                    <a:pt x="1092200" y="231775"/>
                    <a:pt x="1092200" y="231775"/>
                  </a:cubicBezTo>
                  <a:cubicBezTo>
                    <a:pt x="1095375" y="229658"/>
                    <a:pt x="1099027" y="228123"/>
                    <a:pt x="1101725" y="225425"/>
                  </a:cubicBezTo>
                  <a:cubicBezTo>
                    <a:pt x="1110824" y="216326"/>
                    <a:pt x="1106085" y="216704"/>
                    <a:pt x="1111250" y="206375"/>
                  </a:cubicBezTo>
                  <a:cubicBezTo>
                    <a:pt x="1112957" y="202962"/>
                    <a:pt x="1115157" y="199781"/>
                    <a:pt x="1117600" y="196850"/>
                  </a:cubicBezTo>
                  <a:cubicBezTo>
                    <a:pt x="1120475" y="193401"/>
                    <a:pt x="1124368" y="190869"/>
                    <a:pt x="1127125" y="187325"/>
                  </a:cubicBezTo>
                  <a:lnTo>
                    <a:pt x="1146175" y="158750"/>
                  </a:lnTo>
                  <a:cubicBezTo>
                    <a:pt x="1148666" y="155014"/>
                    <a:pt x="1152156" y="151982"/>
                    <a:pt x="1155700" y="149225"/>
                  </a:cubicBezTo>
                  <a:cubicBezTo>
                    <a:pt x="1161724" y="144540"/>
                    <a:pt x="1174750" y="136525"/>
                    <a:pt x="1174750" y="136525"/>
                  </a:cubicBezTo>
                  <a:cubicBezTo>
                    <a:pt x="1181923" y="115006"/>
                    <a:pt x="1174750" y="141258"/>
                    <a:pt x="1174750" y="104775"/>
                  </a:cubicBezTo>
                  <a:cubicBezTo>
                    <a:pt x="1174750" y="86752"/>
                    <a:pt x="1176293" y="68749"/>
                    <a:pt x="1177925" y="50800"/>
                  </a:cubicBezTo>
                  <a:cubicBezTo>
                    <a:pt x="1179047" y="38459"/>
                    <a:pt x="1183568" y="27520"/>
                    <a:pt x="1187450" y="15875"/>
                  </a:cubicBezTo>
                  <a:cubicBezTo>
                    <a:pt x="1188657" y="12255"/>
                    <a:pt x="1194044" y="11968"/>
                    <a:pt x="1196975" y="9525"/>
                  </a:cubicBezTo>
                  <a:cubicBezTo>
                    <a:pt x="1200424" y="6650"/>
                    <a:pt x="1206500" y="0"/>
                    <a:pt x="1206500" y="0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51" name="Freeform 26"/>
            <p:cNvSpPr/>
            <p:nvPr>
              <p:custDataLst>
                <p:tags r:id="rId11"/>
              </p:custDataLst>
            </p:nvPr>
          </p:nvSpPr>
          <p:spPr bwMode="gray">
            <a:xfrm>
              <a:off x="2307677" y="3720620"/>
              <a:ext cx="2693399" cy="440005"/>
            </a:xfrm>
            <a:custGeom>
              <a:avLst/>
              <a:gdLst>
                <a:gd name="connsiteX0" fmla="*/ 0 w 2931319"/>
                <a:gd name="connsiteY0" fmla="*/ 373856 h 493574"/>
                <a:gd name="connsiteX1" fmla="*/ 0 w 2931319"/>
                <a:gd name="connsiteY1" fmla="*/ 373856 h 493574"/>
                <a:gd name="connsiteX2" fmla="*/ 19050 w 2931319"/>
                <a:gd name="connsiteY2" fmla="*/ 383381 h 493574"/>
                <a:gd name="connsiteX3" fmla="*/ 28575 w 2931319"/>
                <a:gd name="connsiteY3" fmla="*/ 397668 h 493574"/>
                <a:gd name="connsiteX4" fmla="*/ 47625 w 2931319"/>
                <a:gd name="connsiteY4" fmla="*/ 414337 h 493574"/>
                <a:gd name="connsiteX5" fmla="*/ 83344 w 2931319"/>
                <a:gd name="connsiteY5" fmla="*/ 419100 h 493574"/>
                <a:gd name="connsiteX6" fmla="*/ 100013 w 2931319"/>
                <a:gd name="connsiteY6" fmla="*/ 438150 h 493574"/>
                <a:gd name="connsiteX7" fmla="*/ 107157 w 2931319"/>
                <a:gd name="connsiteY7" fmla="*/ 440531 h 493574"/>
                <a:gd name="connsiteX8" fmla="*/ 123825 w 2931319"/>
                <a:gd name="connsiteY8" fmla="*/ 452437 h 493574"/>
                <a:gd name="connsiteX9" fmla="*/ 138113 w 2931319"/>
                <a:gd name="connsiteY9" fmla="*/ 457200 h 493574"/>
                <a:gd name="connsiteX10" fmla="*/ 159544 w 2931319"/>
                <a:gd name="connsiteY10" fmla="*/ 464343 h 493574"/>
                <a:gd name="connsiteX11" fmla="*/ 173832 w 2931319"/>
                <a:gd name="connsiteY11" fmla="*/ 473868 h 493574"/>
                <a:gd name="connsiteX12" fmla="*/ 180975 w 2931319"/>
                <a:gd name="connsiteY12" fmla="*/ 476250 h 493574"/>
                <a:gd name="connsiteX13" fmla="*/ 190500 w 2931319"/>
                <a:gd name="connsiteY13" fmla="*/ 481012 h 493574"/>
                <a:gd name="connsiteX14" fmla="*/ 197644 w 2931319"/>
                <a:gd name="connsiteY14" fmla="*/ 485775 h 493574"/>
                <a:gd name="connsiteX15" fmla="*/ 214313 w 2931319"/>
                <a:gd name="connsiteY15" fmla="*/ 488156 h 493574"/>
                <a:gd name="connsiteX16" fmla="*/ 264319 w 2931319"/>
                <a:gd name="connsiteY16" fmla="*/ 490537 h 493574"/>
                <a:gd name="connsiteX17" fmla="*/ 278607 w 2931319"/>
                <a:gd name="connsiteY17" fmla="*/ 485775 h 493574"/>
                <a:gd name="connsiteX18" fmla="*/ 288132 w 2931319"/>
                <a:gd name="connsiteY18" fmla="*/ 481012 h 493574"/>
                <a:gd name="connsiteX19" fmla="*/ 295275 w 2931319"/>
                <a:gd name="connsiteY19" fmla="*/ 478631 h 493574"/>
                <a:gd name="connsiteX20" fmla="*/ 316707 w 2931319"/>
                <a:gd name="connsiteY20" fmla="*/ 466725 h 493574"/>
                <a:gd name="connsiteX21" fmla="*/ 330994 w 2931319"/>
                <a:gd name="connsiteY21" fmla="*/ 457200 h 493574"/>
                <a:gd name="connsiteX22" fmla="*/ 345282 w 2931319"/>
                <a:gd name="connsiteY22" fmla="*/ 452437 h 493574"/>
                <a:gd name="connsiteX23" fmla="*/ 411957 w 2931319"/>
                <a:gd name="connsiteY23" fmla="*/ 452437 h 493574"/>
                <a:gd name="connsiteX24" fmla="*/ 419100 w 2931319"/>
                <a:gd name="connsiteY24" fmla="*/ 450056 h 493574"/>
                <a:gd name="connsiteX25" fmla="*/ 431007 w 2931319"/>
                <a:gd name="connsiteY25" fmla="*/ 435768 h 493574"/>
                <a:gd name="connsiteX26" fmla="*/ 440532 w 2931319"/>
                <a:gd name="connsiteY26" fmla="*/ 433387 h 493574"/>
                <a:gd name="connsiteX27" fmla="*/ 538163 w 2931319"/>
                <a:gd name="connsiteY27" fmla="*/ 431006 h 493574"/>
                <a:gd name="connsiteX28" fmla="*/ 583407 w 2931319"/>
                <a:gd name="connsiteY28" fmla="*/ 428625 h 493574"/>
                <a:gd name="connsiteX29" fmla="*/ 595313 w 2931319"/>
                <a:gd name="connsiteY29" fmla="*/ 426243 h 493574"/>
                <a:gd name="connsiteX30" fmla="*/ 619125 w 2931319"/>
                <a:gd name="connsiteY30" fmla="*/ 414337 h 493574"/>
                <a:gd name="connsiteX31" fmla="*/ 640557 w 2931319"/>
                <a:gd name="connsiteY31" fmla="*/ 416718 h 493574"/>
                <a:gd name="connsiteX32" fmla="*/ 664369 w 2931319"/>
                <a:gd name="connsiteY32" fmla="*/ 426243 h 493574"/>
                <a:gd name="connsiteX33" fmla="*/ 681038 w 2931319"/>
                <a:gd name="connsiteY33" fmla="*/ 428625 h 493574"/>
                <a:gd name="connsiteX34" fmla="*/ 731044 w 2931319"/>
                <a:gd name="connsiteY34" fmla="*/ 431006 h 493574"/>
                <a:gd name="connsiteX35" fmla="*/ 752475 w 2931319"/>
                <a:gd name="connsiteY35" fmla="*/ 438150 h 493574"/>
                <a:gd name="connsiteX36" fmla="*/ 764382 w 2931319"/>
                <a:gd name="connsiteY36" fmla="*/ 440531 h 493574"/>
                <a:gd name="connsiteX37" fmla="*/ 771525 w 2931319"/>
                <a:gd name="connsiteY37" fmla="*/ 442912 h 493574"/>
                <a:gd name="connsiteX38" fmla="*/ 778669 w 2931319"/>
                <a:gd name="connsiteY38" fmla="*/ 447675 h 493574"/>
                <a:gd name="connsiteX39" fmla="*/ 802482 w 2931319"/>
                <a:gd name="connsiteY39" fmla="*/ 452437 h 493574"/>
                <a:gd name="connsiteX40" fmla="*/ 816769 w 2931319"/>
                <a:gd name="connsiteY40" fmla="*/ 450056 h 493574"/>
                <a:gd name="connsiteX41" fmla="*/ 819150 w 2931319"/>
                <a:gd name="connsiteY41" fmla="*/ 438150 h 493574"/>
                <a:gd name="connsiteX42" fmla="*/ 823913 w 2931319"/>
                <a:gd name="connsiteY42" fmla="*/ 400050 h 493574"/>
                <a:gd name="connsiteX43" fmla="*/ 826294 w 2931319"/>
                <a:gd name="connsiteY43" fmla="*/ 392906 h 493574"/>
                <a:gd name="connsiteX44" fmla="*/ 833438 w 2931319"/>
                <a:gd name="connsiteY44" fmla="*/ 385762 h 493574"/>
                <a:gd name="connsiteX45" fmla="*/ 850107 w 2931319"/>
                <a:gd name="connsiteY45" fmla="*/ 378618 h 493574"/>
                <a:gd name="connsiteX46" fmla="*/ 892969 w 2931319"/>
                <a:gd name="connsiteY46" fmla="*/ 373856 h 493574"/>
                <a:gd name="connsiteX47" fmla="*/ 919163 w 2931319"/>
                <a:gd name="connsiteY47" fmla="*/ 369093 h 493574"/>
                <a:gd name="connsiteX48" fmla="*/ 933450 w 2931319"/>
                <a:gd name="connsiteY48" fmla="*/ 364331 h 493574"/>
                <a:gd name="connsiteX49" fmla="*/ 966788 w 2931319"/>
                <a:gd name="connsiteY49" fmla="*/ 361950 h 493574"/>
                <a:gd name="connsiteX50" fmla="*/ 983457 w 2931319"/>
                <a:gd name="connsiteY50" fmla="*/ 357187 h 493574"/>
                <a:gd name="connsiteX51" fmla="*/ 992982 w 2931319"/>
                <a:gd name="connsiteY51" fmla="*/ 352425 h 493574"/>
                <a:gd name="connsiteX52" fmla="*/ 1000125 w 2931319"/>
                <a:gd name="connsiteY52" fmla="*/ 345281 h 493574"/>
                <a:gd name="connsiteX53" fmla="*/ 1002507 w 2931319"/>
                <a:gd name="connsiteY53" fmla="*/ 338137 h 493574"/>
                <a:gd name="connsiteX54" fmla="*/ 1019175 w 2931319"/>
                <a:gd name="connsiteY54" fmla="*/ 328612 h 493574"/>
                <a:gd name="connsiteX55" fmla="*/ 1033463 w 2931319"/>
                <a:gd name="connsiteY55" fmla="*/ 316706 h 493574"/>
                <a:gd name="connsiteX56" fmla="*/ 1040607 w 2931319"/>
                <a:gd name="connsiteY56" fmla="*/ 314325 h 493574"/>
                <a:gd name="connsiteX57" fmla="*/ 1047750 w 2931319"/>
                <a:gd name="connsiteY57" fmla="*/ 309562 h 493574"/>
                <a:gd name="connsiteX58" fmla="*/ 1076325 w 2931319"/>
                <a:gd name="connsiteY58" fmla="*/ 302418 h 493574"/>
                <a:gd name="connsiteX59" fmla="*/ 1090613 w 2931319"/>
                <a:gd name="connsiteY59" fmla="*/ 297656 h 493574"/>
                <a:gd name="connsiteX60" fmla="*/ 1104900 w 2931319"/>
                <a:gd name="connsiteY60" fmla="*/ 285750 h 493574"/>
                <a:gd name="connsiteX61" fmla="*/ 1119188 w 2931319"/>
                <a:gd name="connsiteY61" fmla="*/ 278606 h 493574"/>
                <a:gd name="connsiteX62" fmla="*/ 1126332 w 2931319"/>
                <a:gd name="connsiteY62" fmla="*/ 264318 h 493574"/>
                <a:gd name="connsiteX63" fmla="*/ 1131094 w 2931319"/>
                <a:gd name="connsiteY63" fmla="*/ 247650 h 493574"/>
                <a:gd name="connsiteX64" fmla="*/ 1133475 w 2931319"/>
                <a:gd name="connsiteY64" fmla="*/ 240506 h 493574"/>
                <a:gd name="connsiteX65" fmla="*/ 1147763 w 2931319"/>
                <a:gd name="connsiteY65" fmla="*/ 219075 h 493574"/>
                <a:gd name="connsiteX66" fmla="*/ 1162050 w 2931319"/>
                <a:gd name="connsiteY66" fmla="*/ 204787 h 493574"/>
                <a:gd name="connsiteX67" fmla="*/ 1178719 w 2931319"/>
                <a:gd name="connsiteY67" fmla="*/ 183356 h 493574"/>
                <a:gd name="connsiteX68" fmla="*/ 1193007 w 2931319"/>
                <a:gd name="connsiteY68" fmla="*/ 173831 h 493574"/>
                <a:gd name="connsiteX69" fmla="*/ 1204913 w 2931319"/>
                <a:gd name="connsiteY69" fmla="*/ 164306 h 493574"/>
                <a:gd name="connsiteX70" fmla="*/ 1207294 w 2931319"/>
                <a:gd name="connsiteY70" fmla="*/ 171450 h 493574"/>
                <a:gd name="connsiteX71" fmla="*/ 1212057 w 2931319"/>
                <a:gd name="connsiteY71" fmla="*/ 178593 h 493574"/>
                <a:gd name="connsiteX72" fmla="*/ 1226344 w 2931319"/>
                <a:gd name="connsiteY72" fmla="*/ 185737 h 493574"/>
                <a:gd name="connsiteX73" fmla="*/ 1233488 w 2931319"/>
                <a:gd name="connsiteY73" fmla="*/ 190500 h 493574"/>
                <a:gd name="connsiteX74" fmla="*/ 1247775 w 2931319"/>
                <a:gd name="connsiteY74" fmla="*/ 195262 h 493574"/>
                <a:gd name="connsiteX75" fmla="*/ 1254919 w 2931319"/>
                <a:gd name="connsiteY75" fmla="*/ 200025 h 493574"/>
                <a:gd name="connsiteX76" fmla="*/ 1262063 w 2931319"/>
                <a:gd name="connsiteY76" fmla="*/ 202406 h 493574"/>
                <a:gd name="connsiteX77" fmla="*/ 1276350 w 2931319"/>
                <a:gd name="connsiteY77" fmla="*/ 216693 h 493574"/>
                <a:gd name="connsiteX78" fmla="*/ 1297782 w 2931319"/>
                <a:gd name="connsiteY78" fmla="*/ 238125 h 493574"/>
                <a:gd name="connsiteX79" fmla="*/ 1304925 w 2931319"/>
                <a:gd name="connsiteY79" fmla="*/ 242887 h 493574"/>
                <a:gd name="connsiteX80" fmla="*/ 1314450 w 2931319"/>
                <a:gd name="connsiteY80" fmla="*/ 264318 h 493574"/>
                <a:gd name="connsiteX81" fmla="*/ 1328738 w 2931319"/>
                <a:gd name="connsiteY81" fmla="*/ 276225 h 493574"/>
                <a:gd name="connsiteX82" fmla="*/ 1343025 w 2931319"/>
                <a:gd name="connsiteY82" fmla="*/ 280987 h 493574"/>
                <a:gd name="connsiteX83" fmla="*/ 1350169 w 2931319"/>
                <a:gd name="connsiteY83" fmla="*/ 283368 h 493574"/>
                <a:gd name="connsiteX84" fmla="*/ 1373982 w 2931319"/>
                <a:gd name="connsiteY84" fmla="*/ 288131 h 493574"/>
                <a:gd name="connsiteX85" fmla="*/ 1447800 w 2931319"/>
                <a:gd name="connsiteY85" fmla="*/ 285750 h 493574"/>
                <a:gd name="connsiteX86" fmla="*/ 1457325 w 2931319"/>
                <a:gd name="connsiteY86" fmla="*/ 271462 h 493574"/>
                <a:gd name="connsiteX87" fmla="*/ 1471613 w 2931319"/>
                <a:gd name="connsiteY87" fmla="*/ 261937 h 493574"/>
                <a:gd name="connsiteX88" fmla="*/ 1478757 w 2931319"/>
                <a:gd name="connsiteY88" fmla="*/ 254793 h 493574"/>
                <a:gd name="connsiteX89" fmla="*/ 1485900 w 2931319"/>
                <a:gd name="connsiteY89" fmla="*/ 252412 h 493574"/>
                <a:gd name="connsiteX90" fmla="*/ 1502569 w 2931319"/>
                <a:gd name="connsiteY90" fmla="*/ 242887 h 493574"/>
                <a:gd name="connsiteX91" fmla="*/ 1533525 w 2931319"/>
                <a:gd name="connsiteY91" fmla="*/ 238125 h 493574"/>
                <a:gd name="connsiteX92" fmla="*/ 1543050 w 2931319"/>
                <a:gd name="connsiteY92" fmla="*/ 235743 h 493574"/>
                <a:gd name="connsiteX93" fmla="*/ 1550194 w 2931319"/>
                <a:gd name="connsiteY93" fmla="*/ 233362 h 493574"/>
                <a:gd name="connsiteX94" fmla="*/ 1566863 w 2931319"/>
                <a:gd name="connsiteY94" fmla="*/ 230981 h 493574"/>
                <a:gd name="connsiteX95" fmla="*/ 1588294 w 2931319"/>
                <a:gd name="connsiteY95" fmla="*/ 223837 h 493574"/>
                <a:gd name="connsiteX96" fmla="*/ 1602582 w 2931319"/>
                <a:gd name="connsiteY96" fmla="*/ 219075 h 493574"/>
                <a:gd name="connsiteX97" fmla="*/ 1616869 w 2931319"/>
                <a:gd name="connsiteY97" fmla="*/ 216693 h 493574"/>
                <a:gd name="connsiteX98" fmla="*/ 1647825 w 2931319"/>
                <a:gd name="connsiteY98" fmla="*/ 207168 h 493574"/>
                <a:gd name="connsiteX99" fmla="*/ 1657350 w 2931319"/>
                <a:gd name="connsiteY99" fmla="*/ 204787 h 493574"/>
                <a:gd name="connsiteX100" fmla="*/ 1664494 w 2931319"/>
                <a:gd name="connsiteY100" fmla="*/ 197643 h 493574"/>
                <a:gd name="connsiteX101" fmla="*/ 1671638 w 2931319"/>
                <a:gd name="connsiteY101" fmla="*/ 192881 h 493574"/>
                <a:gd name="connsiteX102" fmla="*/ 1683544 w 2931319"/>
                <a:gd name="connsiteY102" fmla="*/ 180975 h 493574"/>
                <a:gd name="connsiteX103" fmla="*/ 1693069 w 2931319"/>
                <a:gd name="connsiteY103" fmla="*/ 164306 h 493574"/>
                <a:gd name="connsiteX104" fmla="*/ 1697832 w 2931319"/>
                <a:gd name="connsiteY104" fmla="*/ 154781 h 493574"/>
                <a:gd name="connsiteX105" fmla="*/ 1702594 w 2931319"/>
                <a:gd name="connsiteY105" fmla="*/ 147637 h 493574"/>
                <a:gd name="connsiteX106" fmla="*/ 1714500 w 2931319"/>
                <a:gd name="connsiteY106" fmla="*/ 126206 h 493574"/>
                <a:gd name="connsiteX107" fmla="*/ 1721644 w 2931319"/>
                <a:gd name="connsiteY107" fmla="*/ 119062 h 493574"/>
                <a:gd name="connsiteX108" fmla="*/ 1726407 w 2931319"/>
                <a:gd name="connsiteY108" fmla="*/ 111918 h 493574"/>
                <a:gd name="connsiteX109" fmla="*/ 1733550 w 2931319"/>
                <a:gd name="connsiteY109" fmla="*/ 104775 h 493574"/>
                <a:gd name="connsiteX110" fmla="*/ 1738313 w 2931319"/>
                <a:gd name="connsiteY110" fmla="*/ 97631 h 493574"/>
                <a:gd name="connsiteX111" fmla="*/ 1747838 w 2931319"/>
                <a:gd name="connsiteY111" fmla="*/ 92868 h 493574"/>
                <a:gd name="connsiteX112" fmla="*/ 1754982 w 2931319"/>
                <a:gd name="connsiteY112" fmla="*/ 88106 h 493574"/>
                <a:gd name="connsiteX113" fmla="*/ 1759744 w 2931319"/>
                <a:gd name="connsiteY113" fmla="*/ 61912 h 493574"/>
                <a:gd name="connsiteX114" fmla="*/ 1764507 w 2931319"/>
                <a:gd name="connsiteY114" fmla="*/ 54768 h 493574"/>
                <a:gd name="connsiteX115" fmla="*/ 1771650 w 2931319"/>
                <a:gd name="connsiteY115" fmla="*/ 38100 h 493574"/>
                <a:gd name="connsiteX116" fmla="*/ 1778794 w 2931319"/>
                <a:gd name="connsiteY116" fmla="*/ 35718 h 493574"/>
                <a:gd name="connsiteX117" fmla="*/ 1785938 w 2931319"/>
                <a:gd name="connsiteY117" fmla="*/ 30956 h 493574"/>
                <a:gd name="connsiteX118" fmla="*/ 1816894 w 2931319"/>
                <a:gd name="connsiteY118" fmla="*/ 38100 h 493574"/>
                <a:gd name="connsiteX119" fmla="*/ 1833563 w 2931319"/>
                <a:gd name="connsiteY119" fmla="*/ 47625 h 493574"/>
                <a:gd name="connsiteX120" fmla="*/ 1864519 w 2931319"/>
                <a:gd name="connsiteY120" fmla="*/ 57150 h 493574"/>
                <a:gd name="connsiteX121" fmla="*/ 1878807 w 2931319"/>
                <a:gd name="connsiteY121" fmla="*/ 61912 h 493574"/>
                <a:gd name="connsiteX122" fmla="*/ 1888332 w 2931319"/>
                <a:gd name="connsiteY122" fmla="*/ 64293 h 493574"/>
                <a:gd name="connsiteX123" fmla="*/ 1902619 w 2931319"/>
                <a:gd name="connsiteY123" fmla="*/ 71437 h 493574"/>
                <a:gd name="connsiteX124" fmla="*/ 1912144 w 2931319"/>
                <a:gd name="connsiteY124" fmla="*/ 73818 h 493574"/>
                <a:gd name="connsiteX125" fmla="*/ 1919288 w 2931319"/>
                <a:gd name="connsiteY125" fmla="*/ 78581 h 493574"/>
                <a:gd name="connsiteX126" fmla="*/ 1940719 w 2931319"/>
                <a:gd name="connsiteY126" fmla="*/ 83343 h 493574"/>
                <a:gd name="connsiteX127" fmla="*/ 1950244 w 2931319"/>
                <a:gd name="connsiteY127" fmla="*/ 85725 h 493574"/>
                <a:gd name="connsiteX128" fmla="*/ 1962150 w 2931319"/>
                <a:gd name="connsiteY128" fmla="*/ 88106 h 493574"/>
                <a:gd name="connsiteX129" fmla="*/ 1969294 w 2931319"/>
                <a:gd name="connsiteY129" fmla="*/ 90487 h 493574"/>
                <a:gd name="connsiteX130" fmla="*/ 1988344 w 2931319"/>
                <a:gd name="connsiteY130" fmla="*/ 95250 h 493574"/>
                <a:gd name="connsiteX131" fmla="*/ 2024063 w 2931319"/>
                <a:gd name="connsiteY131" fmla="*/ 92868 h 493574"/>
                <a:gd name="connsiteX132" fmla="*/ 2040732 w 2931319"/>
                <a:gd name="connsiteY132" fmla="*/ 83343 h 493574"/>
                <a:gd name="connsiteX133" fmla="*/ 2047875 w 2931319"/>
                <a:gd name="connsiteY133" fmla="*/ 80962 h 493574"/>
                <a:gd name="connsiteX134" fmla="*/ 2057400 w 2931319"/>
                <a:gd name="connsiteY134" fmla="*/ 76200 h 493574"/>
                <a:gd name="connsiteX135" fmla="*/ 2076450 w 2931319"/>
                <a:gd name="connsiteY135" fmla="*/ 71437 h 493574"/>
                <a:gd name="connsiteX136" fmla="*/ 2100263 w 2931319"/>
                <a:gd name="connsiteY136" fmla="*/ 59531 h 493574"/>
                <a:gd name="connsiteX137" fmla="*/ 2109788 w 2931319"/>
                <a:gd name="connsiteY137" fmla="*/ 54768 h 493574"/>
                <a:gd name="connsiteX138" fmla="*/ 2124075 w 2931319"/>
                <a:gd name="connsiteY138" fmla="*/ 50006 h 493574"/>
                <a:gd name="connsiteX139" fmla="*/ 2140744 w 2931319"/>
                <a:gd name="connsiteY139" fmla="*/ 38100 h 493574"/>
                <a:gd name="connsiteX140" fmla="*/ 2155032 w 2931319"/>
                <a:gd name="connsiteY140" fmla="*/ 30956 h 493574"/>
                <a:gd name="connsiteX141" fmla="*/ 2164557 w 2931319"/>
                <a:gd name="connsiteY141" fmla="*/ 16668 h 493574"/>
                <a:gd name="connsiteX142" fmla="*/ 2174082 w 2931319"/>
                <a:gd name="connsiteY142" fmla="*/ 0 h 493574"/>
                <a:gd name="connsiteX143" fmla="*/ 2216944 w 2931319"/>
                <a:gd name="connsiteY143" fmla="*/ 2381 h 493574"/>
                <a:gd name="connsiteX144" fmla="*/ 2226469 w 2931319"/>
                <a:gd name="connsiteY144" fmla="*/ 19050 h 493574"/>
                <a:gd name="connsiteX145" fmla="*/ 2247900 w 2931319"/>
                <a:gd name="connsiteY145" fmla="*/ 35718 h 493574"/>
                <a:gd name="connsiteX146" fmla="*/ 2319338 w 2931319"/>
                <a:gd name="connsiteY146" fmla="*/ 42862 h 493574"/>
                <a:gd name="connsiteX147" fmla="*/ 2340769 w 2931319"/>
                <a:gd name="connsiteY147" fmla="*/ 50006 h 493574"/>
                <a:gd name="connsiteX148" fmla="*/ 2369344 w 2931319"/>
                <a:gd name="connsiteY148" fmla="*/ 54768 h 493574"/>
                <a:gd name="connsiteX149" fmla="*/ 2381250 w 2931319"/>
                <a:gd name="connsiteY149" fmla="*/ 57150 h 493574"/>
                <a:gd name="connsiteX150" fmla="*/ 2390775 w 2931319"/>
                <a:gd name="connsiteY150" fmla="*/ 59531 h 493574"/>
                <a:gd name="connsiteX151" fmla="*/ 2462213 w 2931319"/>
                <a:gd name="connsiteY151" fmla="*/ 64293 h 493574"/>
                <a:gd name="connsiteX152" fmla="*/ 2466975 w 2931319"/>
                <a:gd name="connsiteY152" fmla="*/ 71437 h 493574"/>
                <a:gd name="connsiteX153" fmla="*/ 2476500 w 2931319"/>
                <a:gd name="connsiteY153" fmla="*/ 76200 h 493574"/>
                <a:gd name="connsiteX154" fmla="*/ 2483644 w 2931319"/>
                <a:gd name="connsiteY154" fmla="*/ 80962 h 493574"/>
                <a:gd name="connsiteX155" fmla="*/ 2488407 w 2931319"/>
                <a:gd name="connsiteY155" fmla="*/ 88106 h 493574"/>
                <a:gd name="connsiteX156" fmla="*/ 2533650 w 2931319"/>
                <a:gd name="connsiteY156" fmla="*/ 97631 h 493574"/>
                <a:gd name="connsiteX157" fmla="*/ 2564607 w 2931319"/>
                <a:gd name="connsiteY157" fmla="*/ 95250 h 493574"/>
                <a:gd name="connsiteX158" fmla="*/ 2581275 w 2931319"/>
                <a:gd name="connsiteY158" fmla="*/ 88106 h 493574"/>
                <a:gd name="connsiteX159" fmla="*/ 2593182 w 2931319"/>
                <a:gd name="connsiteY159" fmla="*/ 85725 h 493574"/>
                <a:gd name="connsiteX160" fmla="*/ 2657475 w 2931319"/>
                <a:gd name="connsiteY160" fmla="*/ 80962 h 493574"/>
                <a:gd name="connsiteX161" fmla="*/ 2678907 w 2931319"/>
                <a:gd name="connsiteY161" fmla="*/ 78581 h 493574"/>
                <a:gd name="connsiteX162" fmla="*/ 2695575 w 2931319"/>
                <a:gd name="connsiteY162" fmla="*/ 76200 h 493574"/>
                <a:gd name="connsiteX163" fmla="*/ 2707482 w 2931319"/>
                <a:gd name="connsiteY163" fmla="*/ 61912 h 493574"/>
                <a:gd name="connsiteX164" fmla="*/ 2714625 w 2931319"/>
                <a:gd name="connsiteY164" fmla="*/ 59531 h 493574"/>
                <a:gd name="connsiteX165" fmla="*/ 2736057 w 2931319"/>
                <a:gd name="connsiteY165" fmla="*/ 52387 h 493574"/>
                <a:gd name="connsiteX166" fmla="*/ 2750344 w 2931319"/>
                <a:gd name="connsiteY166" fmla="*/ 47625 h 493574"/>
                <a:gd name="connsiteX167" fmla="*/ 2774157 w 2931319"/>
                <a:gd name="connsiteY167" fmla="*/ 50006 h 493574"/>
                <a:gd name="connsiteX168" fmla="*/ 2783682 w 2931319"/>
                <a:gd name="connsiteY168" fmla="*/ 52387 h 493574"/>
                <a:gd name="connsiteX169" fmla="*/ 2817019 w 2931319"/>
                <a:gd name="connsiteY169" fmla="*/ 57150 h 493574"/>
                <a:gd name="connsiteX170" fmla="*/ 2819400 w 2931319"/>
                <a:gd name="connsiteY170" fmla="*/ 64293 h 493574"/>
                <a:gd name="connsiteX171" fmla="*/ 2828925 w 2931319"/>
                <a:gd name="connsiteY171" fmla="*/ 71437 h 493574"/>
                <a:gd name="connsiteX172" fmla="*/ 2836069 w 2931319"/>
                <a:gd name="connsiteY172" fmla="*/ 73818 h 493574"/>
                <a:gd name="connsiteX173" fmla="*/ 2888457 w 2931319"/>
                <a:gd name="connsiteY173" fmla="*/ 76200 h 493574"/>
                <a:gd name="connsiteX174" fmla="*/ 2895600 w 2931319"/>
                <a:gd name="connsiteY174" fmla="*/ 73818 h 493574"/>
                <a:gd name="connsiteX175" fmla="*/ 2909888 w 2931319"/>
                <a:gd name="connsiteY175" fmla="*/ 59531 h 493574"/>
                <a:gd name="connsiteX176" fmla="*/ 2917032 w 2931319"/>
                <a:gd name="connsiteY176" fmla="*/ 57150 h 493574"/>
                <a:gd name="connsiteX177" fmla="*/ 2924175 w 2931319"/>
                <a:gd name="connsiteY177" fmla="*/ 52387 h 493574"/>
                <a:gd name="connsiteX178" fmla="*/ 2931319 w 2931319"/>
                <a:gd name="connsiteY178" fmla="*/ 45243 h 493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2931319" h="493574">
                  <a:moveTo>
                    <a:pt x="0" y="373856"/>
                  </a:moveTo>
                  <a:lnTo>
                    <a:pt x="0" y="373856"/>
                  </a:lnTo>
                  <a:cubicBezTo>
                    <a:pt x="6350" y="377031"/>
                    <a:pt x="13596" y="378836"/>
                    <a:pt x="19050" y="383381"/>
                  </a:cubicBezTo>
                  <a:cubicBezTo>
                    <a:pt x="23447" y="387045"/>
                    <a:pt x="25400" y="392906"/>
                    <a:pt x="28575" y="397668"/>
                  </a:cubicBezTo>
                  <a:cubicBezTo>
                    <a:pt x="33734" y="405406"/>
                    <a:pt x="36514" y="411560"/>
                    <a:pt x="47625" y="414337"/>
                  </a:cubicBezTo>
                  <a:cubicBezTo>
                    <a:pt x="65656" y="418844"/>
                    <a:pt x="53891" y="416422"/>
                    <a:pt x="83344" y="419100"/>
                  </a:cubicBezTo>
                  <a:cubicBezTo>
                    <a:pt x="95251" y="427037"/>
                    <a:pt x="88901" y="421481"/>
                    <a:pt x="100013" y="438150"/>
                  </a:cubicBezTo>
                  <a:cubicBezTo>
                    <a:pt x="101405" y="440239"/>
                    <a:pt x="104776" y="439737"/>
                    <a:pt x="107157" y="440531"/>
                  </a:cubicBezTo>
                  <a:cubicBezTo>
                    <a:pt x="114829" y="448204"/>
                    <a:pt x="113376" y="448258"/>
                    <a:pt x="123825" y="452437"/>
                  </a:cubicBezTo>
                  <a:cubicBezTo>
                    <a:pt x="128486" y="454301"/>
                    <a:pt x="133936" y="454415"/>
                    <a:pt x="138113" y="457200"/>
                  </a:cubicBezTo>
                  <a:cubicBezTo>
                    <a:pt x="149274" y="464640"/>
                    <a:pt x="142434" y="461492"/>
                    <a:pt x="159544" y="464343"/>
                  </a:cubicBezTo>
                  <a:lnTo>
                    <a:pt x="173832" y="473868"/>
                  </a:lnTo>
                  <a:cubicBezTo>
                    <a:pt x="175920" y="475260"/>
                    <a:pt x="178668" y="475261"/>
                    <a:pt x="180975" y="476250"/>
                  </a:cubicBezTo>
                  <a:cubicBezTo>
                    <a:pt x="184238" y="477648"/>
                    <a:pt x="187418" y="479251"/>
                    <a:pt x="190500" y="481012"/>
                  </a:cubicBezTo>
                  <a:cubicBezTo>
                    <a:pt x="192985" y="482432"/>
                    <a:pt x="194903" y="484953"/>
                    <a:pt x="197644" y="485775"/>
                  </a:cubicBezTo>
                  <a:cubicBezTo>
                    <a:pt x="203020" y="487388"/>
                    <a:pt x="208757" y="487362"/>
                    <a:pt x="214313" y="488156"/>
                  </a:cubicBezTo>
                  <a:cubicBezTo>
                    <a:pt x="239920" y="496691"/>
                    <a:pt x="223591" y="493252"/>
                    <a:pt x="264319" y="490537"/>
                  </a:cubicBezTo>
                  <a:lnTo>
                    <a:pt x="278607" y="485775"/>
                  </a:lnTo>
                  <a:cubicBezTo>
                    <a:pt x="281975" y="484653"/>
                    <a:pt x="284869" y="482410"/>
                    <a:pt x="288132" y="481012"/>
                  </a:cubicBezTo>
                  <a:cubicBezTo>
                    <a:pt x="290439" y="480023"/>
                    <a:pt x="292894" y="479425"/>
                    <a:pt x="295275" y="478631"/>
                  </a:cubicBezTo>
                  <a:cubicBezTo>
                    <a:pt x="311652" y="467714"/>
                    <a:pt x="304133" y="470916"/>
                    <a:pt x="316707" y="466725"/>
                  </a:cubicBezTo>
                  <a:lnTo>
                    <a:pt x="330994" y="457200"/>
                  </a:lnTo>
                  <a:cubicBezTo>
                    <a:pt x="335171" y="454415"/>
                    <a:pt x="345282" y="452437"/>
                    <a:pt x="345282" y="452437"/>
                  </a:cubicBezTo>
                  <a:cubicBezTo>
                    <a:pt x="378897" y="454538"/>
                    <a:pt x="381235" y="456533"/>
                    <a:pt x="411957" y="452437"/>
                  </a:cubicBezTo>
                  <a:cubicBezTo>
                    <a:pt x="414445" y="452105"/>
                    <a:pt x="416719" y="450850"/>
                    <a:pt x="419100" y="450056"/>
                  </a:cubicBezTo>
                  <a:cubicBezTo>
                    <a:pt x="422135" y="445504"/>
                    <a:pt x="426071" y="438589"/>
                    <a:pt x="431007" y="435768"/>
                  </a:cubicBezTo>
                  <a:cubicBezTo>
                    <a:pt x="433849" y="434144"/>
                    <a:pt x="437263" y="433532"/>
                    <a:pt x="440532" y="433387"/>
                  </a:cubicBezTo>
                  <a:cubicBezTo>
                    <a:pt x="473053" y="431942"/>
                    <a:pt x="505619" y="431800"/>
                    <a:pt x="538163" y="431006"/>
                  </a:cubicBezTo>
                  <a:cubicBezTo>
                    <a:pt x="553244" y="430212"/>
                    <a:pt x="568357" y="429879"/>
                    <a:pt x="583407" y="428625"/>
                  </a:cubicBezTo>
                  <a:cubicBezTo>
                    <a:pt x="587440" y="428289"/>
                    <a:pt x="591629" y="427918"/>
                    <a:pt x="595313" y="426243"/>
                  </a:cubicBezTo>
                  <a:cubicBezTo>
                    <a:pt x="629956" y="410495"/>
                    <a:pt x="593965" y="420626"/>
                    <a:pt x="619125" y="414337"/>
                  </a:cubicBezTo>
                  <a:cubicBezTo>
                    <a:pt x="626269" y="415131"/>
                    <a:pt x="633509" y="415308"/>
                    <a:pt x="640557" y="416718"/>
                  </a:cubicBezTo>
                  <a:cubicBezTo>
                    <a:pt x="687757" y="426158"/>
                    <a:pt x="629462" y="416723"/>
                    <a:pt x="664369" y="426243"/>
                  </a:cubicBezTo>
                  <a:cubicBezTo>
                    <a:pt x="669784" y="427720"/>
                    <a:pt x="675439" y="428225"/>
                    <a:pt x="681038" y="428625"/>
                  </a:cubicBezTo>
                  <a:cubicBezTo>
                    <a:pt x="697683" y="429814"/>
                    <a:pt x="714375" y="430212"/>
                    <a:pt x="731044" y="431006"/>
                  </a:cubicBezTo>
                  <a:lnTo>
                    <a:pt x="752475" y="438150"/>
                  </a:lnTo>
                  <a:cubicBezTo>
                    <a:pt x="756315" y="439430"/>
                    <a:pt x="760455" y="439549"/>
                    <a:pt x="764382" y="440531"/>
                  </a:cubicBezTo>
                  <a:cubicBezTo>
                    <a:pt x="766817" y="441140"/>
                    <a:pt x="769144" y="442118"/>
                    <a:pt x="771525" y="442912"/>
                  </a:cubicBezTo>
                  <a:cubicBezTo>
                    <a:pt x="773906" y="444500"/>
                    <a:pt x="776038" y="446548"/>
                    <a:pt x="778669" y="447675"/>
                  </a:cubicBezTo>
                  <a:cubicBezTo>
                    <a:pt x="783189" y="449612"/>
                    <a:pt x="799260" y="451900"/>
                    <a:pt x="802482" y="452437"/>
                  </a:cubicBezTo>
                  <a:cubicBezTo>
                    <a:pt x="807244" y="451643"/>
                    <a:pt x="813103" y="453198"/>
                    <a:pt x="816769" y="450056"/>
                  </a:cubicBezTo>
                  <a:cubicBezTo>
                    <a:pt x="819842" y="447422"/>
                    <a:pt x="818648" y="442166"/>
                    <a:pt x="819150" y="438150"/>
                  </a:cubicBezTo>
                  <a:cubicBezTo>
                    <a:pt x="821738" y="417451"/>
                    <a:pt x="819887" y="416156"/>
                    <a:pt x="823913" y="400050"/>
                  </a:cubicBezTo>
                  <a:cubicBezTo>
                    <a:pt x="824522" y="397615"/>
                    <a:pt x="824902" y="394995"/>
                    <a:pt x="826294" y="392906"/>
                  </a:cubicBezTo>
                  <a:cubicBezTo>
                    <a:pt x="828162" y="390104"/>
                    <a:pt x="830851" y="387918"/>
                    <a:pt x="833438" y="385762"/>
                  </a:cubicBezTo>
                  <a:cubicBezTo>
                    <a:pt x="840123" y="380191"/>
                    <a:pt x="841445" y="380543"/>
                    <a:pt x="850107" y="378618"/>
                  </a:cubicBezTo>
                  <a:cubicBezTo>
                    <a:pt x="870727" y="374035"/>
                    <a:pt x="861644" y="376988"/>
                    <a:pt x="892969" y="373856"/>
                  </a:cubicBezTo>
                  <a:cubicBezTo>
                    <a:pt x="902203" y="372933"/>
                    <a:pt x="910417" y="371717"/>
                    <a:pt x="919163" y="369093"/>
                  </a:cubicBezTo>
                  <a:cubicBezTo>
                    <a:pt x="923971" y="367650"/>
                    <a:pt x="928443" y="364689"/>
                    <a:pt x="933450" y="364331"/>
                  </a:cubicBezTo>
                  <a:lnTo>
                    <a:pt x="966788" y="361950"/>
                  </a:lnTo>
                  <a:cubicBezTo>
                    <a:pt x="971616" y="360743"/>
                    <a:pt x="978678" y="359235"/>
                    <a:pt x="983457" y="357187"/>
                  </a:cubicBezTo>
                  <a:cubicBezTo>
                    <a:pt x="986720" y="355789"/>
                    <a:pt x="989807" y="354012"/>
                    <a:pt x="992982" y="352425"/>
                  </a:cubicBezTo>
                  <a:cubicBezTo>
                    <a:pt x="995363" y="350044"/>
                    <a:pt x="998257" y="348083"/>
                    <a:pt x="1000125" y="345281"/>
                  </a:cubicBezTo>
                  <a:cubicBezTo>
                    <a:pt x="1001517" y="343192"/>
                    <a:pt x="1000900" y="340065"/>
                    <a:pt x="1002507" y="338137"/>
                  </a:cubicBezTo>
                  <a:cubicBezTo>
                    <a:pt x="1008052" y="331483"/>
                    <a:pt x="1012053" y="330986"/>
                    <a:pt x="1019175" y="328612"/>
                  </a:cubicBezTo>
                  <a:cubicBezTo>
                    <a:pt x="1024442" y="323345"/>
                    <a:pt x="1026831" y="320021"/>
                    <a:pt x="1033463" y="316706"/>
                  </a:cubicBezTo>
                  <a:cubicBezTo>
                    <a:pt x="1035708" y="315584"/>
                    <a:pt x="1038226" y="315119"/>
                    <a:pt x="1040607" y="314325"/>
                  </a:cubicBezTo>
                  <a:cubicBezTo>
                    <a:pt x="1042988" y="312737"/>
                    <a:pt x="1045061" y="310540"/>
                    <a:pt x="1047750" y="309562"/>
                  </a:cubicBezTo>
                  <a:cubicBezTo>
                    <a:pt x="1073775" y="300098"/>
                    <a:pt x="1058550" y="308342"/>
                    <a:pt x="1076325" y="302418"/>
                  </a:cubicBezTo>
                  <a:lnTo>
                    <a:pt x="1090613" y="297656"/>
                  </a:lnTo>
                  <a:cubicBezTo>
                    <a:pt x="1095880" y="292389"/>
                    <a:pt x="1098269" y="289065"/>
                    <a:pt x="1104900" y="285750"/>
                  </a:cubicBezTo>
                  <a:cubicBezTo>
                    <a:pt x="1124622" y="275888"/>
                    <a:pt x="1098710" y="292256"/>
                    <a:pt x="1119188" y="278606"/>
                  </a:cubicBezTo>
                  <a:cubicBezTo>
                    <a:pt x="1125171" y="260653"/>
                    <a:pt x="1117101" y="282779"/>
                    <a:pt x="1126332" y="264318"/>
                  </a:cubicBezTo>
                  <a:cubicBezTo>
                    <a:pt x="1128235" y="260512"/>
                    <a:pt x="1130077" y="251210"/>
                    <a:pt x="1131094" y="247650"/>
                  </a:cubicBezTo>
                  <a:cubicBezTo>
                    <a:pt x="1131784" y="245236"/>
                    <a:pt x="1132256" y="242700"/>
                    <a:pt x="1133475" y="240506"/>
                  </a:cubicBezTo>
                  <a:cubicBezTo>
                    <a:pt x="1133489" y="240482"/>
                    <a:pt x="1145374" y="222658"/>
                    <a:pt x="1147763" y="219075"/>
                  </a:cubicBezTo>
                  <a:cubicBezTo>
                    <a:pt x="1151500" y="213471"/>
                    <a:pt x="1157288" y="209550"/>
                    <a:pt x="1162050" y="204787"/>
                  </a:cubicBezTo>
                  <a:cubicBezTo>
                    <a:pt x="1173242" y="193594"/>
                    <a:pt x="1167324" y="200448"/>
                    <a:pt x="1178719" y="183356"/>
                  </a:cubicBezTo>
                  <a:cubicBezTo>
                    <a:pt x="1181894" y="178593"/>
                    <a:pt x="1193007" y="173831"/>
                    <a:pt x="1193007" y="173831"/>
                  </a:cubicBezTo>
                  <a:cubicBezTo>
                    <a:pt x="1194478" y="171624"/>
                    <a:pt x="1199161" y="161430"/>
                    <a:pt x="1204913" y="164306"/>
                  </a:cubicBezTo>
                  <a:cubicBezTo>
                    <a:pt x="1207158" y="165429"/>
                    <a:pt x="1206171" y="169205"/>
                    <a:pt x="1207294" y="171450"/>
                  </a:cubicBezTo>
                  <a:cubicBezTo>
                    <a:pt x="1208574" y="174010"/>
                    <a:pt x="1210033" y="176569"/>
                    <a:pt x="1212057" y="178593"/>
                  </a:cubicBezTo>
                  <a:cubicBezTo>
                    <a:pt x="1216675" y="183211"/>
                    <a:pt x="1220532" y="183800"/>
                    <a:pt x="1226344" y="185737"/>
                  </a:cubicBezTo>
                  <a:cubicBezTo>
                    <a:pt x="1228725" y="187325"/>
                    <a:pt x="1230873" y="189338"/>
                    <a:pt x="1233488" y="190500"/>
                  </a:cubicBezTo>
                  <a:cubicBezTo>
                    <a:pt x="1238075" y="192539"/>
                    <a:pt x="1247775" y="195262"/>
                    <a:pt x="1247775" y="195262"/>
                  </a:cubicBezTo>
                  <a:cubicBezTo>
                    <a:pt x="1250156" y="196850"/>
                    <a:pt x="1252359" y="198745"/>
                    <a:pt x="1254919" y="200025"/>
                  </a:cubicBezTo>
                  <a:cubicBezTo>
                    <a:pt x="1257164" y="201148"/>
                    <a:pt x="1260082" y="200865"/>
                    <a:pt x="1262063" y="202406"/>
                  </a:cubicBezTo>
                  <a:cubicBezTo>
                    <a:pt x="1267379" y="206541"/>
                    <a:pt x="1271588" y="211931"/>
                    <a:pt x="1276350" y="216693"/>
                  </a:cubicBezTo>
                  <a:lnTo>
                    <a:pt x="1297782" y="238125"/>
                  </a:lnTo>
                  <a:cubicBezTo>
                    <a:pt x="1299805" y="240148"/>
                    <a:pt x="1302544" y="241300"/>
                    <a:pt x="1304925" y="242887"/>
                  </a:cubicBezTo>
                  <a:cubicBezTo>
                    <a:pt x="1312473" y="254208"/>
                    <a:pt x="1308783" y="247316"/>
                    <a:pt x="1314450" y="264318"/>
                  </a:cubicBezTo>
                  <a:cubicBezTo>
                    <a:pt x="1315425" y="267243"/>
                    <a:pt x="1325755" y="274899"/>
                    <a:pt x="1328738" y="276225"/>
                  </a:cubicBezTo>
                  <a:cubicBezTo>
                    <a:pt x="1333325" y="278264"/>
                    <a:pt x="1338263" y="279400"/>
                    <a:pt x="1343025" y="280987"/>
                  </a:cubicBezTo>
                  <a:cubicBezTo>
                    <a:pt x="1345406" y="281781"/>
                    <a:pt x="1347708" y="282876"/>
                    <a:pt x="1350169" y="283368"/>
                  </a:cubicBezTo>
                  <a:lnTo>
                    <a:pt x="1373982" y="288131"/>
                  </a:lnTo>
                  <a:cubicBezTo>
                    <a:pt x="1398588" y="287337"/>
                    <a:pt x="1423659" y="290578"/>
                    <a:pt x="1447800" y="285750"/>
                  </a:cubicBezTo>
                  <a:cubicBezTo>
                    <a:pt x="1453413" y="284627"/>
                    <a:pt x="1452562" y="274637"/>
                    <a:pt x="1457325" y="271462"/>
                  </a:cubicBezTo>
                  <a:cubicBezTo>
                    <a:pt x="1462088" y="268287"/>
                    <a:pt x="1467566" y="265984"/>
                    <a:pt x="1471613" y="261937"/>
                  </a:cubicBezTo>
                  <a:cubicBezTo>
                    <a:pt x="1473994" y="259556"/>
                    <a:pt x="1475955" y="256661"/>
                    <a:pt x="1478757" y="254793"/>
                  </a:cubicBezTo>
                  <a:cubicBezTo>
                    <a:pt x="1480845" y="253401"/>
                    <a:pt x="1483655" y="253534"/>
                    <a:pt x="1485900" y="252412"/>
                  </a:cubicBezTo>
                  <a:cubicBezTo>
                    <a:pt x="1496347" y="247189"/>
                    <a:pt x="1490051" y="247060"/>
                    <a:pt x="1502569" y="242887"/>
                  </a:cubicBezTo>
                  <a:cubicBezTo>
                    <a:pt x="1509113" y="240706"/>
                    <a:pt x="1528859" y="238708"/>
                    <a:pt x="1533525" y="238125"/>
                  </a:cubicBezTo>
                  <a:cubicBezTo>
                    <a:pt x="1536700" y="237331"/>
                    <a:pt x="1539903" y="236642"/>
                    <a:pt x="1543050" y="235743"/>
                  </a:cubicBezTo>
                  <a:cubicBezTo>
                    <a:pt x="1545464" y="235053"/>
                    <a:pt x="1547733" y="233854"/>
                    <a:pt x="1550194" y="233362"/>
                  </a:cubicBezTo>
                  <a:cubicBezTo>
                    <a:pt x="1555698" y="232261"/>
                    <a:pt x="1561307" y="231775"/>
                    <a:pt x="1566863" y="230981"/>
                  </a:cubicBezTo>
                  <a:cubicBezTo>
                    <a:pt x="1580052" y="222188"/>
                    <a:pt x="1567763" y="228969"/>
                    <a:pt x="1588294" y="223837"/>
                  </a:cubicBezTo>
                  <a:cubicBezTo>
                    <a:pt x="1593164" y="222620"/>
                    <a:pt x="1597630" y="219901"/>
                    <a:pt x="1602582" y="219075"/>
                  </a:cubicBezTo>
                  <a:cubicBezTo>
                    <a:pt x="1607344" y="218281"/>
                    <a:pt x="1612135" y="217640"/>
                    <a:pt x="1616869" y="216693"/>
                  </a:cubicBezTo>
                  <a:cubicBezTo>
                    <a:pt x="1627481" y="214570"/>
                    <a:pt x="1637590" y="210581"/>
                    <a:pt x="1647825" y="207168"/>
                  </a:cubicBezTo>
                  <a:cubicBezTo>
                    <a:pt x="1650930" y="206133"/>
                    <a:pt x="1654175" y="205581"/>
                    <a:pt x="1657350" y="204787"/>
                  </a:cubicBezTo>
                  <a:cubicBezTo>
                    <a:pt x="1659731" y="202406"/>
                    <a:pt x="1661907" y="199799"/>
                    <a:pt x="1664494" y="197643"/>
                  </a:cubicBezTo>
                  <a:cubicBezTo>
                    <a:pt x="1666693" y="195811"/>
                    <a:pt x="1669614" y="194905"/>
                    <a:pt x="1671638" y="192881"/>
                  </a:cubicBezTo>
                  <a:cubicBezTo>
                    <a:pt x="1687513" y="177006"/>
                    <a:pt x="1664493" y="193674"/>
                    <a:pt x="1683544" y="180975"/>
                  </a:cubicBezTo>
                  <a:cubicBezTo>
                    <a:pt x="1697938" y="152191"/>
                    <a:pt x="1679606" y="187867"/>
                    <a:pt x="1693069" y="164306"/>
                  </a:cubicBezTo>
                  <a:cubicBezTo>
                    <a:pt x="1694830" y="161224"/>
                    <a:pt x="1696071" y="157863"/>
                    <a:pt x="1697832" y="154781"/>
                  </a:cubicBezTo>
                  <a:cubicBezTo>
                    <a:pt x="1699252" y="152296"/>
                    <a:pt x="1701314" y="150197"/>
                    <a:pt x="1702594" y="147637"/>
                  </a:cubicBezTo>
                  <a:cubicBezTo>
                    <a:pt x="1708582" y="135659"/>
                    <a:pt x="1699485" y="141221"/>
                    <a:pt x="1714500" y="126206"/>
                  </a:cubicBezTo>
                  <a:cubicBezTo>
                    <a:pt x="1716881" y="123825"/>
                    <a:pt x="1719488" y="121649"/>
                    <a:pt x="1721644" y="119062"/>
                  </a:cubicBezTo>
                  <a:cubicBezTo>
                    <a:pt x="1723476" y="116863"/>
                    <a:pt x="1724575" y="114117"/>
                    <a:pt x="1726407" y="111918"/>
                  </a:cubicBezTo>
                  <a:cubicBezTo>
                    <a:pt x="1728563" y="109331"/>
                    <a:pt x="1731394" y="107362"/>
                    <a:pt x="1733550" y="104775"/>
                  </a:cubicBezTo>
                  <a:cubicBezTo>
                    <a:pt x="1735382" y="102576"/>
                    <a:pt x="1736114" y="99463"/>
                    <a:pt x="1738313" y="97631"/>
                  </a:cubicBezTo>
                  <a:cubicBezTo>
                    <a:pt x="1741040" y="95358"/>
                    <a:pt x="1744756" y="94629"/>
                    <a:pt x="1747838" y="92868"/>
                  </a:cubicBezTo>
                  <a:cubicBezTo>
                    <a:pt x="1750323" y="91448"/>
                    <a:pt x="1752601" y="89693"/>
                    <a:pt x="1754982" y="88106"/>
                  </a:cubicBezTo>
                  <a:cubicBezTo>
                    <a:pt x="1755249" y="86502"/>
                    <a:pt x="1758746" y="64575"/>
                    <a:pt x="1759744" y="61912"/>
                  </a:cubicBezTo>
                  <a:cubicBezTo>
                    <a:pt x="1760749" y="59232"/>
                    <a:pt x="1762919" y="57149"/>
                    <a:pt x="1764507" y="54768"/>
                  </a:cubicBezTo>
                  <a:cubicBezTo>
                    <a:pt x="1765930" y="50499"/>
                    <a:pt x="1768708" y="41042"/>
                    <a:pt x="1771650" y="38100"/>
                  </a:cubicBezTo>
                  <a:cubicBezTo>
                    <a:pt x="1773425" y="36325"/>
                    <a:pt x="1776549" y="36841"/>
                    <a:pt x="1778794" y="35718"/>
                  </a:cubicBezTo>
                  <a:cubicBezTo>
                    <a:pt x="1781354" y="34438"/>
                    <a:pt x="1783557" y="32543"/>
                    <a:pt x="1785938" y="30956"/>
                  </a:cubicBezTo>
                  <a:cubicBezTo>
                    <a:pt x="1807577" y="34047"/>
                    <a:pt x="1797282" y="31562"/>
                    <a:pt x="1816894" y="38100"/>
                  </a:cubicBezTo>
                  <a:cubicBezTo>
                    <a:pt x="1842411" y="46607"/>
                    <a:pt x="1812636" y="38905"/>
                    <a:pt x="1833563" y="47625"/>
                  </a:cubicBezTo>
                  <a:cubicBezTo>
                    <a:pt x="1857139" y="57448"/>
                    <a:pt x="1848106" y="52226"/>
                    <a:pt x="1864519" y="57150"/>
                  </a:cubicBezTo>
                  <a:cubicBezTo>
                    <a:pt x="1869327" y="58593"/>
                    <a:pt x="1873998" y="60470"/>
                    <a:pt x="1878807" y="61912"/>
                  </a:cubicBezTo>
                  <a:cubicBezTo>
                    <a:pt x="1881942" y="62852"/>
                    <a:pt x="1885185" y="63394"/>
                    <a:pt x="1888332" y="64293"/>
                  </a:cubicBezTo>
                  <a:cubicBezTo>
                    <a:pt x="1908397" y="70027"/>
                    <a:pt x="1881749" y="62494"/>
                    <a:pt x="1902619" y="71437"/>
                  </a:cubicBezTo>
                  <a:cubicBezTo>
                    <a:pt x="1905627" y="72726"/>
                    <a:pt x="1908969" y="73024"/>
                    <a:pt x="1912144" y="73818"/>
                  </a:cubicBezTo>
                  <a:cubicBezTo>
                    <a:pt x="1914525" y="75406"/>
                    <a:pt x="1916657" y="77454"/>
                    <a:pt x="1919288" y="78581"/>
                  </a:cubicBezTo>
                  <a:cubicBezTo>
                    <a:pt x="1922414" y="79921"/>
                    <a:pt x="1938372" y="82821"/>
                    <a:pt x="1940719" y="83343"/>
                  </a:cubicBezTo>
                  <a:cubicBezTo>
                    <a:pt x="1943914" y="84053"/>
                    <a:pt x="1947049" y="85015"/>
                    <a:pt x="1950244" y="85725"/>
                  </a:cubicBezTo>
                  <a:cubicBezTo>
                    <a:pt x="1954195" y="86603"/>
                    <a:pt x="1958224" y="87124"/>
                    <a:pt x="1962150" y="88106"/>
                  </a:cubicBezTo>
                  <a:cubicBezTo>
                    <a:pt x="1964585" y="88715"/>
                    <a:pt x="1966859" y="89878"/>
                    <a:pt x="1969294" y="90487"/>
                  </a:cubicBezTo>
                  <a:lnTo>
                    <a:pt x="1988344" y="95250"/>
                  </a:lnTo>
                  <a:cubicBezTo>
                    <a:pt x="2000250" y="94456"/>
                    <a:pt x="2012203" y="94186"/>
                    <a:pt x="2024063" y="92868"/>
                  </a:cubicBezTo>
                  <a:cubicBezTo>
                    <a:pt x="2032537" y="91926"/>
                    <a:pt x="2033050" y="87733"/>
                    <a:pt x="2040732" y="83343"/>
                  </a:cubicBezTo>
                  <a:cubicBezTo>
                    <a:pt x="2042911" y="82098"/>
                    <a:pt x="2045568" y="81951"/>
                    <a:pt x="2047875" y="80962"/>
                  </a:cubicBezTo>
                  <a:cubicBezTo>
                    <a:pt x="2051138" y="79564"/>
                    <a:pt x="2054032" y="77323"/>
                    <a:pt x="2057400" y="76200"/>
                  </a:cubicBezTo>
                  <a:cubicBezTo>
                    <a:pt x="2062673" y="74442"/>
                    <a:pt x="2071106" y="74406"/>
                    <a:pt x="2076450" y="71437"/>
                  </a:cubicBezTo>
                  <a:cubicBezTo>
                    <a:pt x="2099645" y="58551"/>
                    <a:pt x="2081649" y="64184"/>
                    <a:pt x="2100263" y="59531"/>
                  </a:cubicBezTo>
                  <a:cubicBezTo>
                    <a:pt x="2103438" y="57943"/>
                    <a:pt x="2106492" y="56086"/>
                    <a:pt x="2109788" y="54768"/>
                  </a:cubicBezTo>
                  <a:cubicBezTo>
                    <a:pt x="2114449" y="52904"/>
                    <a:pt x="2124075" y="50006"/>
                    <a:pt x="2124075" y="50006"/>
                  </a:cubicBezTo>
                  <a:cubicBezTo>
                    <a:pt x="2126238" y="48384"/>
                    <a:pt x="2137257" y="39843"/>
                    <a:pt x="2140744" y="38100"/>
                  </a:cubicBezTo>
                  <a:cubicBezTo>
                    <a:pt x="2160462" y="28241"/>
                    <a:pt x="2134559" y="44603"/>
                    <a:pt x="2155032" y="30956"/>
                  </a:cubicBezTo>
                  <a:cubicBezTo>
                    <a:pt x="2158207" y="26193"/>
                    <a:pt x="2161997" y="21788"/>
                    <a:pt x="2164557" y="16668"/>
                  </a:cubicBezTo>
                  <a:cubicBezTo>
                    <a:pt x="2170599" y="4583"/>
                    <a:pt x="2167350" y="10096"/>
                    <a:pt x="2174082" y="0"/>
                  </a:cubicBezTo>
                  <a:cubicBezTo>
                    <a:pt x="2188369" y="794"/>
                    <a:pt x="2202913" y="-425"/>
                    <a:pt x="2216944" y="2381"/>
                  </a:cubicBezTo>
                  <a:cubicBezTo>
                    <a:pt x="2218822" y="2757"/>
                    <a:pt x="2226447" y="19022"/>
                    <a:pt x="2226469" y="19050"/>
                  </a:cubicBezTo>
                  <a:cubicBezTo>
                    <a:pt x="2238150" y="33651"/>
                    <a:pt x="2236000" y="31751"/>
                    <a:pt x="2247900" y="35718"/>
                  </a:cubicBezTo>
                  <a:cubicBezTo>
                    <a:pt x="2274083" y="53174"/>
                    <a:pt x="2243230" y="34406"/>
                    <a:pt x="2319338" y="42862"/>
                  </a:cubicBezTo>
                  <a:cubicBezTo>
                    <a:pt x="2326822" y="43694"/>
                    <a:pt x="2333625" y="47625"/>
                    <a:pt x="2340769" y="50006"/>
                  </a:cubicBezTo>
                  <a:cubicBezTo>
                    <a:pt x="2346380" y="51877"/>
                    <a:pt x="2365030" y="54049"/>
                    <a:pt x="2369344" y="54768"/>
                  </a:cubicBezTo>
                  <a:cubicBezTo>
                    <a:pt x="2373336" y="55433"/>
                    <a:pt x="2377299" y="56272"/>
                    <a:pt x="2381250" y="57150"/>
                  </a:cubicBezTo>
                  <a:cubicBezTo>
                    <a:pt x="2384445" y="57860"/>
                    <a:pt x="2387515" y="59243"/>
                    <a:pt x="2390775" y="59531"/>
                  </a:cubicBezTo>
                  <a:cubicBezTo>
                    <a:pt x="2414548" y="61628"/>
                    <a:pt x="2438400" y="62706"/>
                    <a:pt x="2462213" y="64293"/>
                  </a:cubicBezTo>
                  <a:cubicBezTo>
                    <a:pt x="2463800" y="66674"/>
                    <a:pt x="2464777" y="69605"/>
                    <a:pt x="2466975" y="71437"/>
                  </a:cubicBezTo>
                  <a:cubicBezTo>
                    <a:pt x="2469702" y="73710"/>
                    <a:pt x="2473418" y="74439"/>
                    <a:pt x="2476500" y="76200"/>
                  </a:cubicBezTo>
                  <a:cubicBezTo>
                    <a:pt x="2478985" y="77620"/>
                    <a:pt x="2481263" y="79375"/>
                    <a:pt x="2483644" y="80962"/>
                  </a:cubicBezTo>
                  <a:cubicBezTo>
                    <a:pt x="2485232" y="83343"/>
                    <a:pt x="2486234" y="86243"/>
                    <a:pt x="2488407" y="88106"/>
                  </a:cubicBezTo>
                  <a:cubicBezTo>
                    <a:pt x="2502844" y="100481"/>
                    <a:pt x="2512600" y="96128"/>
                    <a:pt x="2533650" y="97631"/>
                  </a:cubicBezTo>
                  <a:cubicBezTo>
                    <a:pt x="2543969" y="96837"/>
                    <a:pt x="2554328" y="96459"/>
                    <a:pt x="2564607" y="95250"/>
                  </a:cubicBezTo>
                  <a:cubicBezTo>
                    <a:pt x="2583370" y="93042"/>
                    <a:pt x="2565759" y="93924"/>
                    <a:pt x="2581275" y="88106"/>
                  </a:cubicBezTo>
                  <a:cubicBezTo>
                    <a:pt x="2585065" y="86685"/>
                    <a:pt x="2589181" y="86341"/>
                    <a:pt x="2593182" y="85725"/>
                  </a:cubicBezTo>
                  <a:cubicBezTo>
                    <a:pt x="2617528" y="81979"/>
                    <a:pt x="2628707" y="82476"/>
                    <a:pt x="2657475" y="80962"/>
                  </a:cubicBezTo>
                  <a:lnTo>
                    <a:pt x="2678907" y="78581"/>
                  </a:lnTo>
                  <a:cubicBezTo>
                    <a:pt x="2684476" y="77885"/>
                    <a:pt x="2690364" y="78284"/>
                    <a:pt x="2695575" y="76200"/>
                  </a:cubicBezTo>
                  <a:cubicBezTo>
                    <a:pt x="2704644" y="72572"/>
                    <a:pt x="2700935" y="67150"/>
                    <a:pt x="2707482" y="61912"/>
                  </a:cubicBezTo>
                  <a:cubicBezTo>
                    <a:pt x="2709442" y="60344"/>
                    <a:pt x="2712244" y="60325"/>
                    <a:pt x="2714625" y="59531"/>
                  </a:cubicBezTo>
                  <a:cubicBezTo>
                    <a:pt x="2727814" y="50737"/>
                    <a:pt x="2715524" y="57520"/>
                    <a:pt x="2736057" y="52387"/>
                  </a:cubicBezTo>
                  <a:cubicBezTo>
                    <a:pt x="2740927" y="51170"/>
                    <a:pt x="2750344" y="47625"/>
                    <a:pt x="2750344" y="47625"/>
                  </a:cubicBezTo>
                  <a:cubicBezTo>
                    <a:pt x="2758282" y="48419"/>
                    <a:pt x="2766260" y="48878"/>
                    <a:pt x="2774157" y="50006"/>
                  </a:cubicBezTo>
                  <a:cubicBezTo>
                    <a:pt x="2777397" y="50469"/>
                    <a:pt x="2780473" y="51745"/>
                    <a:pt x="2783682" y="52387"/>
                  </a:cubicBezTo>
                  <a:cubicBezTo>
                    <a:pt x="2795121" y="54675"/>
                    <a:pt x="2805321" y="55687"/>
                    <a:pt x="2817019" y="57150"/>
                  </a:cubicBezTo>
                  <a:cubicBezTo>
                    <a:pt x="2817813" y="59531"/>
                    <a:pt x="2817793" y="62365"/>
                    <a:pt x="2819400" y="64293"/>
                  </a:cubicBezTo>
                  <a:cubicBezTo>
                    <a:pt x="2821941" y="67342"/>
                    <a:pt x="2825479" y="69468"/>
                    <a:pt x="2828925" y="71437"/>
                  </a:cubicBezTo>
                  <a:cubicBezTo>
                    <a:pt x="2831104" y="72682"/>
                    <a:pt x="2833567" y="73618"/>
                    <a:pt x="2836069" y="73818"/>
                  </a:cubicBezTo>
                  <a:cubicBezTo>
                    <a:pt x="2853494" y="75212"/>
                    <a:pt x="2870994" y="75406"/>
                    <a:pt x="2888457" y="76200"/>
                  </a:cubicBezTo>
                  <a:cubicBezTo>
                    <a:pt x="2890838" y="75406"/>
                    <a:pt x="2893619" y="75359"/>
                    <a:pt x="2895600" y="73818"/>
                  </a:cubicBezTo>
                  <a:cubicBezTo>
                    <a:pt x="2900916" y="69683"/>
                    <a:pt x="2903498" y="61661"/>
                    <a:pt x="2909888" y="59531"/>
                  </a:cubicBezTo>
                  <a:lnTo>
                    <a:pt x="2917032" y="57150"/>
                  </a:lnTo>
                  <a:cubicBezTo>
                    <a:pt x="2919413" y="55562"/>
                    <a:pt x="2921977" y="54219"/>
                    <a:pt x="2924175" y="52387"/>
                  </a:cubicBezTo>
                  <a:cubicBezTo>
                    <a:pt x="2926762" y="50231"/>
                    <a:pt x="2931319" y="45243"/>
                    <a:pt x="2931319" y="45243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52" name="Freeform 27"/>
            <p:cNvSpPr/>
            <p:nvPr>
              <p:custDataLst>
                <p:tags r:id="rId12"/>
              </p:custDataLst>
            </p:nvPr>
          </p:nvSpPr>
          <p:spPr bwMode="gray">
            <a:xfrm>
              <a:off x="5106099" y="4822862"/>
              <a:ext cx="586378" cy="369899"/>
            </a:xfrm>
            <a:custGeom>
              <a:avLst/>
              <a:gdLst>
                <a:gd name="connsiteX0" fmla="*/ 0 w 638175"/>
                <a:gd name="connsiteY0" fmla="*/ 47851 h 414933"/>
                <a:gd name="connsiteX1" fmla="*/ 73025 w 638175"/>
                <a:gd name="connsiteY1" fmla="*/ 226 h 414933"/>
                <a:gd name="connsiteX2" fmla="*/ 82550 w 638175"/>
                <a:gd name="connsiteY2" fmla="*/ 31976 h 414933"/>
                <a:gd name="connsiteX3" fmla="*/ 69850 w 638175"/>
                <a:gd name="connsiteY3" fmla="*/ 79601 h 414933"/>
                <a:gd name="connsiteX4" fmla="*/ 142875 w 638175"/>
                <a:gd name="connsiteY4" fmla="*/ 92301 h 414933"/>
                <a:gd name="connsiteX5" fmla="*/ 152400 w 638175"/>
                <a:gd name="connsiteY5" fmla="*/ 120876 h 414933"/>
                <a:gd name="connsiteX6" fmla="*/ 127000 w 638175"/>
                <a:gd name="connsiteY6" fmla="*/ 178026 h 414933"/>
                <a:gd name="connsiteX7" fmla="*/ 127000 w 638175"/>
                <a:gd name="connsiteY7" fmla="*/ 228826 h 414933"/>
                <a:gd name="connsiteX8" fmla="*/ 193675 w 638175"/>
                <a:gd name="connsiteY8" fmla="*/ 228826 h 414933"/>
                <a:gd name="connsiteX9" fmla="*/ 209550 w 638175"/>
                <a:gd name="connsiteY9" fmla="*/ 263751 h 414933"/>
                <a:gd name="connsiteX10" fmla="*/ 222250 w 638175"/>
                <a:gd name="connsiteY10" fmla="*/ 330426 h 414933"/>
                <a:gd name="connsiteX11" fmla="*/ 263525 w 638175"/>
                <a:gd name="connsiteY11" fmla="*/ 355826 h 414933"/>
                <a:gd name="connsiteX12" fmla="*/ 273050 w 638175"/>
                <a:gd name="connsiteY12" fmla="*/ 390751 h 414933"/>
                <a:gd name="connsiteX13" fmla="*/ 314325 w 638175"/>
                <a:gd name="connsiteY13" fmla="*/ 412976 h 414933"/>
                <a:gd name="connsiteX14" fmla="*/ 336550 w 638175"/>
                <a:gd name="connsiteY14" fmla="*/ 339951 h 414933"/>
                <a:gd name="connsiteX15" fmla="*/ 374650 w 638175"/>
                <a:gd name="connsiteY15" fmla="*/ 311376 h 414933"/>
                <a:gd name="connsiteX16" fmla="*/ 393700 w 638175"/>
                <a:gd name="connsiteY16" fmla="*/ 327251 h 414933"/>
                <a:gd name="connsiteX17" fmla="*/ 447675 w 638175"/>
                <a:gd name="connsiteY17" fmla="*/ 292326 h 414933"/>
                <a:gd name="connsiteX18" fmla="*/ 498475 w 638175"/>
                <a:gd name="connsiteY18" fmla="*/ 298676 h 414933"/>
                <a:gd name="connsiteX19" fmla="*/ 536575 w 638175"/>
                <a:gd name="connsiteY19" fmla="*/ 298676 h 414933"/>
                <a:gd name="connsiteX20" fmla="*/ 574675 w 638175"/>
                <a:gd name="connsiteY20" fmla="*/ 298676 h 414933"/>
                <a:gd name="connsiteX21" fmla="*/ 612775 w 638175"/>
                <a:gd name="connsiteY21" fmla="*/ 279626 h 414933"/>
                <a:gd name="connsiteX22" fmla="*/ 638175 w 638175"/>
                <a:gd name="connsiteY22" fmla="*/ 289151 h 414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38175" h="414933">
                  <a:moveTo>
                    <a:pt x="0" y="47851"/>
                  </a:moveTo>
                  <a:cubicBezTo>
                    <a:pt x="29633" y="25361"/>
                    <a:pt x="59267" y="2872"/>
                    <a:pt x="73025" y="226"/>
                  </a:cubicBezTo>
                  <a:cubicBezTo>
                    <a:pt x="86783" y="-2420"/>
                    <a:pt x="83079" y="18747"/>
                    <a:pt x="82550" y="31976"/>
                  </a:cubicBezTo>
                  <a:cubicBezTo>
                    <a:pt x="82021" y="45205"/>
                    <a:pt x="59796" y="69547"/>
                    <a:pt x="69850" y="79601"/>
                  </a:cubicBezTo>
                  <a:cubicBezTo>
                    <a:pt x="79904" y="89655"/>
                    <a:pt x="129117" y="85422"/>
                    <a:pt x="142875" y="92301"/>
                  </a:cubicBezTo>
                  <a:cubicBezTo>
                    <a:pt x="156633" y="99180"/>
                    <a:pt x="155046" y="106589"/>
                    <a:pt x="152400" y="120876"/>
                  </a:cubicBezTo>
                  <a:cubicBezTo>
                    <a:pt x="149754" y="135163"/>
                    <a:pt x="131233" y="160034"/>
                    <a:pt x="127000" y="178026"/>
                  </a:cubicBezTo>
                  <a:cubicBezTo>
                    <a:pt x="122767" y="196018"/>
                    <a:pt x="115888" y="220359"/>
                    <a:pt x="127000" y="228826"/>
                  </a:cubicBezTo>
                  <a:cubicBezTo>
                    <a:pt x="138112" y="237293"/>
                    <a:pt x="179917" y="223005"/>
                    <a:pt x="193675" y="228826"/>
                  </a:cubicBezTo>
                  <a:cubicBezTo>
                    <a:pt x="207433" y="234647"/>
                    <a:pt x="204788" y="246818"/>
                    <a:pt x="209550" y="263751"/>
                  </a:cubicBezTo>
                  <a:cubicBezTo>
                    <a:pt x="214312" y="280684"/>
                    <a:pt x="213254" y="315080"/>
                    <a:pt x="222250" y="330426"/>
                  </a:cubicBezTo>
                  <a:cubicBezTo>
                    <a:pt x="231246" y="345772"/>
                    <a:pt x="255058" y="345772"/>
                    <a:pt x="263525" y="355826"/>
                  </a:cubicBezTo>
                  <a:cubicBezTo>
                    <a:pt x="271992" y="365880"/>
                    <a:pt x="264583" y="381226"/>
                    <a:pt x="273050" y="390751"/>
                  </a:cubicBezTo>
                  <a:cubicBezTo>
                    <a:pt x="281517" y="400276"/>
                    <a:pt x="303742" y="421443"/>
                    <a:pt x="314325" y="412976"/>
                  </a:cubicBezTo>
                  <a:cubicBezTo>
                    <a:pt x="324908" y="404509"/>
                    <a:pt x="326496" y="356884"/>
                    <a:pt x="336550" y="339951"/>
                  </a:cubicBezTo>
                  <a:cubicBezTo>
                    <a:pt x="346604" y="323018"/>
                    <a:pt x="365125" y="313493"/>
                    <a:pt x="374650" y="311376"/>
                  </a:cubicBezTo>
                  <a:cubicBezTo>
                    <a:pt x="384175" y="309259"/>
                    <a:pt x="381529" y="330426"/>
                    <a:pt x="393700" y="327251"/>
                  </a:cubicBezTo>
                  <a:cubicBezTo>
                    <a:pt x="405871" y="324076"/>
                    <a:pt x="430212" y="297089"/>
                    <a:pt x="447675" y="292326"/>
                  </a:cubicBezTo>
                  <a:cubicBezTo>
                    <a:pt x="465138" y="287563"/>
                    <a:pt x="483658" y="297618"/>
                    <a:pt x="498475" y="298676"/>
                  </a:cubicBezTo>
                  <a:cubicBezTo>
                    <a:pt x="513292" y="299734"/>
                    <a:pt x="536575" y="298676"/>
                    <a:pt x="536575" y="298676"/>
                  </a:cubicBezTo>
                  <a:cubicBezTo>
                    <a:pt x="549275" y="298676"/>
                    <a:pt x="561975" y="301851"/>
                    <a:pt x="574675" y="298676"/>
                  </a:cubicBezTo>
                  <a:cubicBezTo>
                    <a:pt x="587375" y="295501"/>
                    <a:pt x="602192" y="281214"/>
                    <a:pt x="612775" y="279626"/>
                  </a:cubicBezTo>
                  <a:cubicBezTo>
                    <a:pt x="623358" y="278039"/>
                    <a:pt x="630766" y="283595"/>
                    <a:pt x="638175" y="289151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53" name="Freeform 28"/>
            <p:cNvSpPr/>
            <p:nvPr>
              <p:custDataLst>
                <p:tags r:id="rId13"/>
              </p:custDataLst>
            </p:nvPr>
          </p:nvSpPr>
          <p:spPr bwMode="gray">
            <a:xfrm>
              <a:off x="5394911" y="5196675"/>
              <a:ext cx="271309" cy="667976"/>
            </a:xfrm>
            <a:custGeom>
              <a:avLst/>
              <a:gdLst>
                <a:gd name="connsiteX0" fmla="*/ 295275 w 295275"/>
                <a:gd name="connsiteY0" fmla="*/ 749300 h 749300"/>
                <a:gd name="connsiteX1" fmla="*/ 203200 w 295275"/>
                <a:gd name="connsiteY1" fmla="*/ 730250 h 749300"/>
                <a:gd name="connsiteX2" fmla="*/ 180975 w 295275"/>
                <a:gd name="connsiteY2" fmla="*/ 692150 h 749300"/>
                <a:gd name="connsiteX3" fmla="*/ 184150 w 295275"/>
                <a:gd name="connsiteY3" fmla="*/ 622300 h 749300"/>
                <a:gd name="connsiteX4" fmla="*/ 168275 w 295275"/>
                <a:gd name="connsiteY4" fmla="*/ 546100 h 749300"/>
                <a:gd name="connsiteX5" fmla="*/ 193675 w 295275"/>
                <a:gd name="connsiteY5" fmla="*/ 485775 h 749300"/>
                <a:gd name="connsiteX6" fmla="*/ 139700 w 295275"/>
                <a:gd name="connsiteY6" fmla="*/ 422275 h 749300"/>
                <a:gd name="connsiteX7" fmla="*/ 136525 w 295275"/>
                <a:gd name="connsiteY7" fmla="*/ 336550 h 749300"/>
                <a:gd name="connsiteX8" fmla="*/ 117475 w 295275"/>
                <a:gd name="connsiteY8" fmla="*/ 304800 h 749300"/>
                <a:gd name="connsiteX9" fmla="*/ 98425 w 295275"/>
                <a:gd name="connsiteY9" fmla="*/ 244475 h 749300"/>
                <a:gd name="connsiteX10" fmla="*/ 31750 w 295275"/>
                <a:gd name="connsiteY10" fmla="*/ 190500 h 749300"/>
                <a:gd name="connsiteX11" fmla="*/ 31750 w 295275"/>
                <a:gd name="connsiteY11" fmla="*/ 174625 h 749300"/>
                <a:gd name="connsiteX12" fmla="*/ 3175 w 295275"/>
                <a:gd name="connsiteY12" fmla="*/ 114300 h 749300"/>
                <a:gd name="connsiteX13" fmla="*/ 22225 w 295275"/>
                <a:gd name="connsiteY13" fmla="*/ 28575 h 749300"/>
                <a:gd name="connsiteX14" fmla="*/ 0 w 295275"/>
                <a:gd name="connsiteY14" fmla="*/ 0 h 74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5275" h="749300">
                  <a:moveTo>
                    <a:pt x="295275" y="749300"/>
                  </a:moveTo>
                  <a:cubicBezTo>
                    <a:pt x="258762" y="744537"/>
                    <a:pt x="222250" y="739775"/>
                    <a:pt x="203200" y="730250"/>
                  </a:cubicBezTo>
                  <a:cubicBezTo>
                    <a:pt x="184150" y="720725"/>
                    <a:pt x="184150" y="710142"/>
                    <a:pt x="180975" y="692150"/>
                  </a:cubicBezTo>
                  <a:cubicBezTo>
                    <a:pt x="177800" y="674158"/>
                    <a:pt x="186267" y="646642"/>
                    <a:pt x="184150" y="622300"/>
                  </a:cubicBezTo>
                  <a:cubicBezTo>
                    <a:pt x="182033" y="597958"/>
                    <a:pt x="166688" y="568854"/>
                    <a:pt x="168275" y="546100"/>
                  </a:cubicBezTo>
                  <a:cubicBezTo>
                    <a:pt x="169862" y="523346"/>
                    <a:pt x="198437" y="506412"/>
                    <a:pt x="193675" y="485775"/>
                  </a:cubicBezTo>
                  <a:cubicBezTo>
                    <a:pt x="188913" y="465138"/>
                    <a:pt x="149225" y="447146"/>
                    <a:pt x="139700" y="422275"/>
                  </a:cubicBezTo>
                  <a:cubicBezTo>
                    <a:pt x="130175" y="397404"/>
                    <a:pt x="140229" y="356129"/>
                    <a:pt x="136525" y="336550"/>
                  </a:cubicBezTo>
                  <a:cubicBezTo>
                    <a:pt x="132821" y="316971"/>
                    <a:pt x="123825" y="320146"/>
                    <a:pt x="117475" y="304800"/>
                  </a:cubicBezTo>
                  <a:cubicBezTo>
                    <a:pt x="111125" y="289454"/>
                    <a:pt x="112712" y="263525"/>
                    <a:pt x="98425" y="244475"/>
                  </a:cubicBezTo>
                  <a:cubicBezTo>
                    <a:pt x="84137" y="225425"/>
                    <a:pt x="42862" y="202142"/>
                    <a:pt x="31750" y="190500"/>
                  </a:cubicBezTo>
                  <a:cubicBezTo>
                    <a:pt x="20637" y="178858"/>
                    <a:pt x="36513" y="187325"/>
                    <a:pt x="31750" y="174625"/>
                  </a:cubicBezTo>
                  <a:cubicBezTo>
                    <a:pt x="26987" y="161925"/>
                    <a:pt x="4762" y="138642"/>
                    <a:pt x="3175" y="114300"/>
                  </a:cubicBezTo>
                  <a:cubicBezTo>
                    <a:pt x="1587" y="89958"/>
                    <a:pt x="22754" y="47625"/>
                    <a:pt x="22225" y="28575"/>
                  </a:cubicBezTo>
                  <a:cubicBezTo>
                    <a:pt x="21696" y="9525"/>
                    <a:pt x="10848" y="4762"/>
                    <a:pt x="0" y="0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54" name="Freeform 29"/>
            <p:cNvSpPr/>
            <p:nvPr>
              <p:custDataLst>
                <p:tags r:id="rId14"/>
              </p:custDataLst>
            </p:nvPr>
          </p:nvSpPr>
          <p:spPr bwMode="gray">
            <a:xfrm>
              <a:off x="5679456" y="5080630"/>
              <a:ext cx="1537340" cy="1146315"/>
            </a:xfrm>
            <a:custGeom>
              <a:avLst/>
              <a:gdLst>
                <a:gd name="connsiteX0" fmla="*/ 10995 w 1673140"/>
                <a:gd name="connsiteY0" fmla="*/ 0 h 1285875"/>
                <a:gd name="connsiteX1" fmla="*/ 4645 w 1673140"/>
                <a:gd name="connsiteY1" fmla="*/ 66675 h 1285875"/>
                <a:gd name="connsiteX2" fmla="*/ 71320 w 1673140"/>
                <a:gd name="connsiteY2" fmla="*/ 133350 h 1285875"/>
                <a:gd name="connsiteX3" fmla="*/ 71320 w 1673140"/>
                <a:gd name="connsiteY3" fmla="*/ 241300 h 1285875"/>
                <a:gd name="connsiteX4" fmla="*/ 61795 w 1673140"/>
                <a:gd name="connsiteY4" fmla="*/ 266700 h 1285875"/>
                <a:gd name="connsiteX5" fmla="*/ 77670 w 1673140"/>
                <a:gd name="connsiteY5" fmla="*/ 307975 h 1285875"/>
                <a:gd name="connsiteX6" fmla="*/ 71320 w 1673140"/>
                <a:gd name="connsiteY6" fmla="*/ 384175 h 1285875"/>
                <a:gd name="connsiteX7" fmla="*/ 128470 w 1673140"/>
                <a:gd name="connsiteY7" fmla="*/ 447675 h 1285875"/>
                <a:gd name="connsiteX8" fmla="*/ 191970 w 1673140"/>
                <a:gd name="connsiteY8" fmla="*/ 441325 h 1285875"/>
                <a:gd name="connsiteX9" fmla="*/ 252295 w 1673140"/>
                <a:gd name="connsiteY9" fmla="*/ 495300 h 1285875"/>
                <a:gd name="connsiteX10" fmla="*/ 299920 w 1673140"/>
                <a:gd name="connsiteY10" fmla="*/ 542925 h 1285875"/>
                <a:gd name="connsiteX11" fmla="*/ 280870 w 1673140"/>
                <a:gd name="connsiteY11" fmla="*/ 593725 h 1285875"/>
                <a:gd name="connsiteX12" fmla="*/ 299920 w 1673140"/>
                <a:gd name="connsiteY12" fmla="*/ 647700 h 1285875"/>
                <a:gd name="connsiteX13" fmla="*/ 350720 w 1673140"/>
                <a:gd name="connsiteY13" fmla="*/ 685800 h 1285875"/>
                <a:gd name="connsiteX14" fmla="*/ 404695 w 1673140"/>
                <a:gd name="connsiteY14" fmla="*/ 736600 h 1285875"/>
                <a:gd name="connsiteX15" fmla="*/ 474545 w 1673140"/>
                <a:gd name="connsiteY15" fmla="*/ 701675 h 1285875"/>
                <a:gd name="connsiteX16" fmla="*/ 544395 w 1673140"/>
                <a:gd name="connsiteY16" fmla="*/ 679450 h 1285875"/>
                <a:gd name="connsiteX17" fmla="*/ 563445 w 1673140"/>
                <a:gd name="connsiteY17" fmla="*/ 717550 h 1285875"/>
                <a:gd name="connsiteX18" fmla="*/ 598370 w 1673140"/>
                <a:gd name="connsiteY18" fmla="*/ 755650 h 1285875"/>
                <a:gd name="connsiteX19" fmla="*/ 636470 w 1673140"/>
                <a:gd name="connsiteY19" fmla="*/ 736600 h 1285875"/>
                <a:gd name="connsiteX20" fmla="*/ 680920 w 1673140"/>
                <a:gd name="connsiteY20" fmla="*/ 739775 h 1285875"/>
                <a:gd name="connsiteX21" fmla="*/ 712670 w 1673140"/>
                <a:gd name="connsiteY21" fmla="*/ 793750 h 1285875"/>
                <a:gd name="connsiteX22" fmla="*/ 785695 w 1673140"/>
                <a:gd name="connsiteY22" fmla="*/ 825500 h 1285875"/>
                <a:gd name="connsiteX23" fmla="*/ 830145 w 1673140"/>
                <a:gd name="connsiteY23" fmla="*/ 857250 h 1285875"/>
                <a:gd name="connsiteX24" fmla="*/ 887295 w 1673140"/>
                <a:gd name="connsiteY24" fmla="*/ 863600 h 1285875"/>
                <a:gd name="connsiteX25" fmla="*/ 922220 w 1673140"/>
                <a:gd name="connsiteY25" fmla="*/ 815975 h 1285875"/>
                <a:gd name="connsiteX26" fmla="*/ 995245 w 1673140"/>
                <a:gd name="connsiteY26" fmla="*/ 803275 h 1285875"/>
                <a:gd name="connsiteX27" fmla="*/ 1030170 w 1673140"/>
                <a:gd name="connsiteY27" fmla="*/ 850900 h 1285875"/>
                <a:gd name="connsiteX28" fmla="*/ 1144470 w 1673140"/>
                <a:gd name="connsiteY28" fmla="*/ 863600 h 1285875"/>
                <a:gd name="connsiteX29" fmla="*/ 1182570 w 1673140"/>
                <a:gd name="connsiteY29" fmla="*/ 831850 h 1285875"/>
                <a:gd name="connsiteX30" fmla="*/ 1188920 w 1673140"/>
                <a:gd name="connsiteY30" fmla="*/ 781050 h 1285875"/>
                <a:gd name="connsiteX31" fmla="*/ 1217495 w 1673140"/>
                <a:gd name="connsiteY31" fmla="*/ 708025 h 1285875"/>
                <a:gd name="connsiteX32" fmla="*/ 1290520 w 1673140"/>
                <a:gd name="connsiteY32" fmla="*/ 688975 h 1285875"/>
                <a:gd name="connsiteX33" fmla="*/ 1328620 w 1673140"/>
                <a:gd name="connsiteY33" fmla="*/ 695325 h 1285875"/>
                <a:gd name="connsiteX34" fmla="*/ 1366720 w 1673140"/>
                <a:gd name="connsiteY34" fmla="*/ 676275 h 1285875"/>
                <a:gd name="connsiteX35" fmla="*/ 1439745 w 1673140"/>
                <a:gd name="connsiteY35" fmla="*/ 708025 h 1285875"/>
                <a:gd name="connsiteX36" fmla="*/ 1503245 w 1673140"/>
                <a:gd name="connsiteY36" fmla="*/ 727075 h 1285875"/>
                <a:gd name="connsiteX37" fmla="*/ 1531820 w 1673140"/>
                <a:gd name="connsiteY37" fmla="*/ 809625 h 1285875"/>
                <a:gd name="connsiteX38" fmla="*/ 1566745 w 1673140"/>
                <a:gd name="connsiteY38" fmla="*/ 803275 h 1285875"/>
                <a:gd name="connsiteX39" fmla="*/ 1573095 w 1673140"/>
                <a:gd name="connsiteY39" fmla="*/ 860425 h 1285875"/>
                <a:gd name="connsiteX40" fmla="*/ 1627070 w 1673140"/>
                <a:gd name="connsiteY40" fmla="*/ 866775 h 1285875"/>
                <a:gd name="connsiteX41" fmla="*/ 1636595 w 1673140"/>
                <a:gd name="connsiteY41" fmla="*/ 908050 h 1285875"/>
                <a:gd name="connsiteX42" fmla="*/ 1668345 w 1673140"/>
                <a:gd name="connsiteY42" fmla="*/ 939800 h 1285875"/>
                <a:gd name="connsiteX43" fmla="*/ 1668345 w 1673140"/>
                <a:gd name="connsiteY43" fmla="*/ 1019175 h 1285875"/>
                <a:gd name="connsiteX44" fmla="*/ 1623895 w 1673140"/>
                <a:gd name="connsiteY44" fmla="*/ 1028700 h 1285875"/>
                <a:gd name="connsiteX45" fmla="*/ 1588970 w 1673140"/>
                <a:gd name="connsiteY45" fmla="*/ 1066800 h 1285875"/>
                <a:gd name="connsiteX46" fmla="*/ 1538170 w 1673140"/>
                <a:gd name="connsiteY46" fmla="*/ 1089025 h 1285875"/>
                <a:gd name="connsiteX47" fmla="*/ 1519120 w 1673140"/>
                <a:gd name="connsiteY47" fmla="*/ 1111250 h 1285875"/>
                <a:gd name="connsiteX48" fmla="*/ 1515945 w 1673140"/>
                <a:gd name="connsiteY48" fmla="*/ 1177925 h 1285875"/>
                <a:gd name="connsiteX49" fmla="*/ 1503245 w 1673140"/>
                <a:gd name="connsiteY49" fmla="*/ 1206500 h 1285875"/>
                <a:gd name="connsiteX50" fmla="*/ 1560395 w 1673140"/>
                <a:gd name="connsiteY50" fmla="*/ 1241425 h 1285875"/>
                <a:gd name="connsiteX51" fmla="*/ 1560395 w 1673140"/>
                <a:gd name="connsiteY51" fmla="*/ 1285875 h 128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673140" h="1285875">
                  <a:moveTo>
                    <a:pt x="10995" y="0"/>
                  </a:moveTo>
                  <a:cubicBezTo>
                    <a:pt x="2793" y="22225"/>
                    <a:pt x="-5409" y="44450"/>
                    <a:pt x="4645" y="66675"/>
                  </a:cubicBezTo>
                  <a:cubicBezTo>
                    <a:pt x="14699" y="88900"/>
                    <a:pt x="60208" y="104246"/>
                    <a:pt x="71320" y="133350"/>
                  </a:cubicBezTo>
                  <a:cubicBezTo>
                    <a:pt x="82433" y="162454"/>
                    <a:pt x="72907" y="219075"/>
                    <a:pt x="71320" y="241300"/>
                  </a:cubicBezTo>
                  <a:cubicBezTo>
                    <a:pt x="69733" y="263525"/>
                    <a:pt x="60737" y="255588"/>
                    <a:pt x="61795" y="266700"/>
                  </a:cubicBezTo>
                  <a:cubicBezTo>
                    <a:pt x="62853" y="277812"/>
                    <a:pt x="76083" y="288396"/>
                    <a:pt x="77670" y="307975"/>
                  </a:cubicBezTo>
                  <a:cubicBezTo>
                    <a:pt x="79257" y="327554"/>
                    <a:pt x="62853" y="360892"/>
                    <a:pt x="71320" y="384175"/>
                  </a:cubicBezTo>
                  <a:cubicBezTo>
                    <a:pt x="79787" y="407458"/>
                    <a:pt x="108362" y="438150"/>
                    <a:pt x="128470" y="447675"/>
                  </a:cubicBezTo>
                  <a:cubicBezTo>
                    <a:pt x="148578" y="457200"/>
                    <a:pt x="171333" y="433388"/>
                    <a:pt x="191970" y="441325"/>
                  </a:cubicBezTo>
                  <a:cubicBezTo>
                    <a:pt x="212608" y="449263"/>
                    <a:pt x="234303" y="478367"/>
                    <a:pt x="252295" y="495300"/>
                  </a:cubicBezTo>
                  <a:cubicBezTo>
                    <a:pt x="270287" y="512233"/>
                    <a:pt x="295157" y="526521"/>
                    <a:pt x="299920" y="542925"/>
                  </a:cubicBezTo>
                  <a:cubicBezTo>
                    <a:pt x="304683" y="559329"/>
                    <a:pt x="280870" y="576263"/>
                    <a:pt x="280870" y="593725"/>
                  </a:cubicBezTo>
                  <a:cubicBezTo>
                    <a:pt x="280870" y="611187"/>
                    <a:pt x="288278" y="632354"/>
                    <a:pt x="299920" y="647700"/>
                  </a:cubicBezTo>
                  <a:cubicBezTo>
                    <a:pt x="311562" y="663046"/>
                    <a:pt x="333258" y="670983"/>
                    <a:pt x="350720" y="685800"/>
                  </a:cubicBezTo>
                  <a:cubicBezTo>
                    <a:pt x="368182" y="700617"/>
                    <a:pt x="384058" y="733954"/>
                    <a:pt x="404695" y="736600"/>
                  </a:cubicBezTo>
                  <a:cubicBezTo>
                    <a:pt x="425332" y="739246"/>
                    <a:pt x="451262" y="711200"/>
                    <a:pt x="474545" y="701675"/>
                  </a:cubicBezTo>
                  <a:cubicBezTo>
                    <a:pt x="497828" y="692150"/>
                    <a:pt x="529578" y="676804"/>
                    <a:pt x="544395" y="679450"/>
                  </a:cubicBezTo>
                  <a:cubicBezTo>
                    <a:pt x="559212" y="682096"/>
                    <a:pt x="554449" y="704850"/>
                    <a:pt x="563445" y="717550"/>
                  </a:cubicBezTo>
                  <a:cubicBezTo>
                    <a:pt x="572441" y="730250"/>
                    <a:pt x="586199" y="752475"/>
                    <a:pt x="598370" y="755650"/>
                  </a:cubicBezTo>
                  <a:cubicBezTo>
                    <a:pt x="610541" y="758825"/>
                    <a:pt x="622712" y="739246"/>
                    <a:pt x="636470" y="736600"/>
                  </a:cubicBezTo>
                  <a:cubicBezTo>
                    <a:pt x="650228" y="733954"/>
                    <a:pt x="668220" y="730250"/>
                    <a:pt x="680920" y="739775"/>
                  </a:cubicBezTo>
                  <a:cubicBezTo>
                    <a:pt x="693620" y="749300"/>
                    <a:pt x="695208" y="779463"/>
                    <a:pt x="712670" y="793750"/>
                  </a:cubicBezTo>
                  <a:cubicBezTo>
                    <a:pt x="730132" y="808037"/>
                    <a:pt x="766116" y="814917"/>
                    <a:pt x="785695" y="825500"/>
                  </a:cubicBezTo>
                  <a:cubicBezTo>
                    <a:pt x="805274" y="836083"/>
                    <a:pt x="813212" y="850900"/>
                    <a:pt x="830145" y="857250"/>
                  </a:cubicBezTo>
                  <a:cubicBezTo>
                    <a:pt x="847078" y="863600"/>
                    <a:pt x="871949" y="870479"/>
                    <a:pt x="887295" y="863600"/>
                  </a:cubicBezTo>
                  <a:cubicBezTo>
                    <a:pt x="902641" y="856721"/>
                    <a:pt x="904228" y="826029"/>
                    <a:pt x="922220" y="815975"/>
                  </a:cubicBezTo>
                  <a:cubicBezTo>
                    <a:pt x="940212" y="805921"/>
                    <a:pt x="977253" y="797454"/>
                    <a:pt x="995245" y="803275"/>
                  </a:cubicBezTo>
                  <a:cubicBezTo>
                    <a:pt x="1013237" y="809096"/>
                    <a:pt x="1005299" y="840846"/>
                    <a:pt x="1030170" y="850900"/>
                  </a:cubicBezTo>
                  <a:cubicBezTo>
                    <a:pt x="1055041" y="860954"/>
                    <a:pt x="1119070" y="866775"/>
                    <a:pt x="1144470" y="863600"/>
                  </a:cubicBezTo>
                  <a:cubicBezTo>
                    <a:pt x="1169870" y="860425"/>
                    <a:pt x="1175162" y="845608"/>
                    <a:pt x="1182570" y="831850"/>
                  </a:cubicBezTo>
                  <a:cubicBezTo>
                    <a:pt x="1189978" y="818092"/>
                    <a:pt x="1183099" y="801687"/>
                    <a:pt x="1188920" y="781050"/>
                  </a:cubicBezTo>
                  <a:cubicBezTo>
                    <a:pt x="1194741" y="760413"/>
                    <a:pt x="1200562" y="723371"/>
                    <a:pt x="1217495" y="708025"/>
                  </a:cubicBezTo>
                  <a:cubicBezTo>
                    <a:pt x="1234428" y="692679"/>
                    <a:pt x="1271999" y="691092"/>
                    <a:pt x="1290520" y="688975"/>
                  </a:cubicBezTo>
                  <a:cubicBezTo>
                    <a:pt x="1309041" y="686858"/>
                    <a:pt x="1315920" y="697442"/>
                    <a:pt x="1328620" y="695325"/>
                  </a:cubicBezTo>
                  <a:cubicBezTo>
                    <a:pt x="1341320" y="693208"/>
                    <a:pt x="1348199" y="674158"/>
                    <a:pt x="1366720" y="676275"/>
                  </a:cubicBezTo>
                  <a:cubicBezTo>
                    <a:pt x="1385241" y="678392"/>
                    <a:pt x="1416991" y="699558"/>
                    <a:pt x="1439745" y="708025"/>
                  </a:cubicBezTo>
                  <a:cubicBezTo>
                    <a:pt x="1462499" y="716492"/>
                    <a:pt x="1487899" y="710142"/>
                    <a:pt x="1503245" y="727075"/>
                  </a:cubicBezTo>
                  <a:cubicBezTo>
                    <a:pt x="1518591" y="744008"/>
                    <a:pt x="1521237" y="796925"/>
                    <a:pt x="1531820" y="809625"/>
                  </a:cubicBezTo>
                  <a:cubicBezTo>
                    <a:pt x="1542403" y="822325"/>
                    <a:pt x="1559866" y="794808"/>
                    <a:pt x="1566745" y="803275"/>
                  </a:cubicBezTo>
                  <a:cubicBezTo>
                    <a:pt x="1573624" y="811742"/>
                    <a:pt x="1563041" y="849842"/>
                    <a:pt x="1573095" y="860425"/>
                  </a:cubicBezTo>
                  <a:cubicBezTo>
                    <a:pt x="1583149" y="871008"/>
                    <a:pt x="1616487" y="858838"/>
                    <a:pt x="1627070" y="866775"/>
                  </a:cubicBezTo>
                  <a:cubicBezTo>
                    <a:pt x="1637653" y="874712"/>
                    <a:pt x="1629716" y="895879"/>
                    <a:pt x="1636595" y="908050"/>
                  </a:cubicBezTo>
                  <a:cubicBezTo>
                    <a:pt x="1643474" y="920221"/>
                    <a:pt x="1663053" y="921279"/>
                    <a:pt x="1668345" y="939800"/>
                  </a:cubicBezTo>
                  <a:cubicBezTo>
                    <a:pt x="1673637" y="958321"/>
                    <a:pt x="1675753" y="1004358"/>
                    <a:pt x="1668345" y="1019175"/>
                  </a:cubicBezTo>
                  <a:cubicBezTo>
                    <a:pt x="1660937" y="1033992"/>
                    <a:pt x="1637124" y="1020763"/>
                    <a:pt x="1623895" y="1028700"/>
                  </a:cubicBezTo>
                  <a:cubicBezTo>
                    <a:pt x="1610666" y="1036637"/>
                    <a:pt x="1603257" y="1056746"/>
                    <a:pt x="1588970" y="1066800"/>
                  </a:cubicBezTo>
                  <a:cubicBezTo>
                    <a:pt x="1574683" y="1076854"/>
                    <a:pt x="1549812" y="1081617"/>
                    <a:pt x="1538170" y="1089025"/>
                  </a:cubicBezTo>
                  <a:cubicBezTo>
                    <a:pt x="1526528" y="1096433"/>
                    <a:pt x="1522824" y="1096433"/>
                    <a:pt x="1519120" y="1111250"/>
                  </a:cubicBezTo>
                  <a:cubicBezTo>
                    <a:pt x="1515416" y="1126067"/>
                    <a:pt x="1518591" y="1162050"/>
                    <a:pt x="1515945" y="1177925"/>
                  </a:cubicBezTo>
                  <a:cubicBezTo>
                    <a:pt x="1513299" y="1193800"/>
                    <a:pt x="1495837" y="1195917"/>
                    <a:pt x="1503245" y="1206500"/>
                  </a:cubicBezTo>
                  <a:cubicBezTo>
                    <a:pt x="1510653" y="1217083"/>
                    <a:pt x="1550870" y="1228196"/>
                    <a:pt x="1560395" y="1241425"/>
                  </a:cubicBezTo>
                  <a:cubicBezTo>
                    <a:pt x="1569920" y="1254654"/>
                    <a:pt x="1565157" y="1270264"/>
                    <a:pt x="1560395" y="1285875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55" name="Freeform 30"/>
            <p:cNvSpPr/>
            <p:nvPr>
              <p:custDataLst>
                <p:tags r:id="rId15"/>
              </p:custDataLst>
            </p:nvPr>
          </p:nvSpPr>
          <p:spPr bwMode="gray">
            <a:xfrm>
              <a:off x="5683723" y="3466315"/>
              <a:ext cx="942288" cy="1619974"/>
            </a:xfrm>
            <a:custGeom>
              <a:avLst/>
              <a:gdLst>
                <a:gd name="connsiteX0" fmla="*/ 0 w 1025525"/>
                <a:gd name="connsiteY0" fmla="*/ 1817201 h 1817201"/>
                <a:gd name="connsiteX1" fmla="*/ 38100 w 1025525"/>
                <a:gd name="connsiteY1" fmla="*/ 1737826 h 1817201"/>
                <a:gd name="connsiteX2" fmla="*/ 76200 w 1025525"/>
                <a:gd name="connsiteY2" fmla="*/ 1696551 h 1817201"/>
                <a:gd name="connsiteX3" fmla="*/ 82550 w 1025525"/>
                <a:gd name="connsiteY3" fmla="*/ 1648926 h 1817201"/>
                <a:gd name="connsiteX4" fmla="*/ 146050 w 1025525"/>
                <a:gd name="connsiteY4" fmla="*/ 1664801 h 1817201"/>
                <a:gd name="connsiteX5" fmla="*/ 231775 w 1025525"/>
                <a:gd name="connsiteY5" fmla="*/ 1629876 h 1817201"/>
                <a:gd name="connsiteX6" fmla="*/ 250825 w 1025525"/>
                <a:gd name="connsiteY6" fmla="*/ 1594951 h 1817201"/>
                <a:gd name="connsiteX7" fmla="*/ 231775 w 1025525"/>
                <a:gd name="connsiteY7" fmla="*/ 1528276 h 1817201"/>
                <a:gd name="connsiteX8" fmla="*/ 269875 w 1025525"/>
                <a:gd name="connsiteY8" fmla="*/ 1385401 h 1817201"/>
                <a:gd name="connsiteX9" fmla="*/ 276225 w 1025525"/>
                <a:gd name="connsiteY9" fmla="*/ 1274276 h 1817201"/>
                <a:gd name="connsiteX10" fmla="*/ 339725 w 1025525"/>
                <a:gd name="connsiteY10" fmla="*/ 1217126 h 1817201"/>
                <a:gd name="connsiteX11" fmla="*/ 393700 w 1025525"/>
                <a:gd name="connsiteY11" fmla="*/ 1147276 h 1817201"/>
                <a:gd name="connsiteX12" fmla="*/ 450850 w 1025525"/>
                <a:gd name="connsiteY12" fmla="*/ 1153626 h 1817201"/>
                <a:gd name="connsiteX13" fmla="*/ 565150 w 1025525"/>
                <a:gd name="connsiteY13" fmla="*/ 1080601 h 1817201"/>
                <a:gd name="connsiteX14" fmla="*/ 723900 w 1025525"/>
                <a:gd name="connsiteY14" fmla="*/ 963126 h 1817201"/>
                <a:gd name="connsiteX15" fmla="*/ 812800 w 1025525"/>
                <a:gd name="connsiteY15" fmla="*/ 874226 h 1817201"/>
                <a:gd name="connsiteX16" fmla="*/ 866775 w 1025525"/>
                <a:gd name="connsiteY16" fmla="*/ 772626 h 1817201"/>
                <a:gd name="connsiteX17" fmla="*/ 863600 w 1025525"/>
                <a:gd name="connsiteY17" fmla="*/ 674201 h 1817201"/>
                <a:gd name="connsiteX18" fmla="*/ 822325 w 1025525"/>
                <a:gd name="connsiteY18" fmla="*/ 594826 h 1817201"/>
                <a:gd name="connsiteX19" fmla="*/ 803275 w 1025525"/>
                <a:gd name="connsiteY19" fmla="*/ 566251 h 1817201"/>
                <a:gd name="connsiteX20" fmla="*/ 749300 w 1025525"/>
                <a:gd name="connsiteY20" fmla="*/ 499576 h 1817201"/>
                <a:gd name="connsiteX21" fmla="*/ 765175 w 1025525"/>
                <a:gd name="connsiteY21" fmla="*/ 391626 h 1817201"/>
                <a:gd name="connsiteX22" fmla="*/ 835025 w 1025525"/>
                <a:gd name="connsiteY22" fmla="*/ 258276 h 1817201"/>
                <a:gd name="connsiteX23" fmla="*/ 889000 w 1025525"/>
                <a:gd name="connsiteY23" fmla="*/ 77301 h 1817201"/>
                <a:gd name="connsiteX24" fmla="*/ 965200 w 1025525"/>
                <a:gd name="connsiteY24" fmla="*/ 1101 h 1817201"/>
                <a:gd name="connsiteX25" fmla="*/ 1025525 w 1025525"/>
                <a:gd name="connsiteY25" fmla="*/ 39201 h 181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025525" h="1817201">
                  <a:moveTo>
                    <a:pt x="0" y="1817201"/>
                  </a:moveTo>
                  <a:cubicBezTo>
                    <a:pt x="12700" y="1787567"/>
                    <a:pt x="25400" y="1757934"/>
                    <a:pt x="38100" y="1737826"/>
                  </a:cubicBezTo>
                  <a:cubicBezTo>
                    <a:pt x="50800" y="1717718"/>
                    <a:pt x="68792" y="1711368"/>
                    <a:pt x="76200" y="1696551"/>
                  </a:cubicBezTo>
                  <a:cubicBezTo>
                    <a:pt x="83608" y="1681734"/>
                    <a:pt x="70908" y="1654218"/>
                    <a:pt x="82550" y="1648926"/>
                  </a:cubicBezTo>
                  <a:cubicBezTo>
                    <a:pt x="94192" y="1643634"/>
                    <a:pt x="121179" y="1667976"/>
                    <a:pt x="146050" y="1664801"/>
                  </a:cubicBezTo>
                  <a:cubicBezTo>
                    <a:pt x="170921" y="1661626"/>
                    <a:pt x="214313" y="1641518"/>
                    <a:pt x="231775" y="1629876"/>
                  </a:cubicBezTo>
                  <a:cubicBezTo>
                    <a:pt x="249237" y="1618234"/>
                    <a:pt x="250825" y="1611884"/>
                    <a:pt x="250825" y="1594951"/>
                  </a:cubicBezTo>
                  <a:cubicBezTo>
                    <a:pt x="250825" y="1578018"/>
                    <a:pt x="228600" y="1563201"/>
                    <a:pt x="231775" y="1528276"/>
                  </a:cubicBezTo>
                  <a:cubicBezTo>
                    <a:pt x="234950" y="1493351"/>
                    <a:pt x="262467" y="1427734"/>
                    <a:pt x="269875" y="1385401"/>
                  </a:cubicBezTo>
                  <a:cubicBezTo>
                    <a:pt x="277283" y="1343068"/>
                    <a:pt x="264583" y="1302322"/>
                    <a:pt x="276225" y="1274276"/>
                  </a:cubicBezTo>
                  <a:cubicBezTo>
                    <a:pt x="287867" y="1246230"/>
                    <a:pt x="320146" y="1238293"/>
                    <a:pt x="339725" y="1217126"/>
                  </a:cubicBezTo>
                  <a:cubicBezTo>
                    <a:pt x="359304" y="1195959"/>
                    <a:pt x="375179" y="1157859"/>
                    <a:pt x="393700" y="1147276"/>
                  </a:cubicBezTo>
                  <a:cubicBezTo>
                    <a:pt x="412221" y="1136693"/>
                    <a:pt x="422275" y="1164738"/>
                    <a:pt x="450850" y="1153626"/>
                  </a:cubicBezTo>
                  <a:cubicBezTo>
                    <a:pt x="479425" y="1142514"/>
                    <a:pt x="519642" y="1112351"/>
                    <a:pt x="565150" y="1080601"/>
                  </a:cubicBezTo>
                  <a:cubicBezTo>
                    <a:pt x="610658" y="1048851"/>
                    <a:pt x="682625" y="997522"/>
                    <a:pt x="723900" y="963126"/>
                  </a:cubicBezTo>
                  <a:cubicBezTo>
                    <a:pt x="765175" y="928730"/>
                    <a:pt x="788988" y="905976"/>
                    <a:pt x="812800" y="874226"/>
                  </a:cubicBezTo>
                  <a:cubicBezTo>
                    <a:pt x="836612" y="842476"/>
                    <a:pt x="858308" y="805963"/>
                    <a:pt x="866775" y="772626"/>
                  </a:cubicBezTo>
                  <a:cubicBezTo>
                    <a:pt x="875242" y="739289"/>
                    <a:pt x="871008" y="703834"/>
                    <a:pt x="863600" y="674201"/>
                  </a:cubicBezTo>
                  <a:cubicBezTo>
                    <a:pt x="856192" y="644568"/>
                    <a:pt x="832379" y="612818"/>
                    <a:pt x="822325" y="594826"/>
                  </a:cubicBezTo>
                  <a:cubicBezTo>
                    <a:pt x="812271" y="576834"/>
                    <a:pt x="815446" y="582126"/>
                    <a:pt x="803275" y="566251"/>
                  </a:cubicBezTo>
                  <a:cubicBezTo>
                    <a:pt x="791104" y="550376"/>
                    <a:pt x="755650" y="528680"/>
                    <a:pt x="749300" y="499576"/>
                  </a:cubicBezTo>
                  <a:cubicBezTo>
                    <a:pt x="742950" y="470472"/>
                    <a:pt x="750888" y="431843"/>
                    <a:pt x="765175" y="391626"/>
                  </a:cubicBezTo>
                  <a:cubicBezTo>
                    <a:pt x="779462" y="351409"/>
                    <a:pt x="814388" y="310663"/>
                    <a:pt x="835025" y="258276"/>
                  </a:cubicBezTo>
                  <a:cubicBezTo>
                    <a:pt x="855663" y="205888"/>
                    <a:pt x="867304" y="120163"/>
                    <a:pt x="889000" y="77301"/>
                  </a:cubicBezTo>
                  <a:cubicBezTo>
                    <a:pt x="910696" y="34438"/>
                    <a:pt x="942446" y="7451"/>
                    <a:pt x="965200" y="1101"/>
                  </a:cubicBezTo>
                  <a:cubicBezTo>
                    <a:pt x="987954" y="-5249"/>
                    <a:pt x="1006739" y="16976"/>
                    <a:pt x="1025525" y="39201"/>
                  </a:cubicBezTo>
                </a:path>
              </a:pathLst>
            </a:custGeom>
            <a:noFill/>
            <a:ln w="9525" cap="flat" cmpd="sng" algn="ctr">
              <a:solidFill>
                <a:srgbClr val="CCCCCC">
                  <a:lumMod val="90000"/>
                </a:srgbClr>
              </a:solidFill>
              <a:prstDash val="solid"/>
              <a:headEnd/>
              <a:tailEnd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56" name="Freeform 31"/>
            <p:cNvSpPr/>
            <p:nvPr>
              <p:custDataLst>
                <p:tags r:id="rId16"/>
              </p:custDataLst>
            </p:nvPr>
          </p:nvSpPr>
          <p:spPr bwMode="gray">
            <a:xfrm>
              <a:off x="3300289" y="5584441"/>
              <a:ext cx="1099823" cy="164164"/>
            </a:xfrm>
            <a:custGeom>
              <a:avLst/>
              <a:gdLst>
                <a:gd name="connsiteX0" fmla="*/ 0 w 1196975"/>
                <a:gd name="connsiteY0" fmla="*/ 53975 h 184150"/>
                <a:gd name="connsiteX1" fmla="*/ 57150 w 1196975"/>
                <a:gd name="connsiteY1" fmla="*/ 57150 h 184150"/>
                <a:gd name="connsiteX2" fmla="*/ 95250 w 1196975"/>
                <a:gd name="connsiteY2" fmla="*/ 85725 h 184150"/>
                <a:gd name="connsiteX3" fmla="*/ 127000 w 1196975"/>
                <a:gd name="connsiteY3" fmla="*/ 123825 h 184150"/>
                <a:gd name="connsiteX4" fmla="*/ 158750 w 1196975"/>
                <a:gd name="connsiteY4" fmla="*/ 149225 h 184150"/>
                <a:gd name="connsiteX5" fmla="*/ 206375 w 1196975"/>
                <a:gd name="connsiteY5" fmla="*/ 146050 h 184150"/>
                <a:gd name="connsiteX6" fmla="*/ 285750 w 1196975"/>
                <a:gd name="connsiteY6" fmla="*/ 184150 h 184150"/>
                <a:gd name="connsiteX7" fmla="*/ 330200 w 1196975"/>
                <a:gd name="connsiteY7" fmla="*/ 136525 h 184150"/>
                <a:gd name="connsiteX8" fmla="*/ 381000 w 1196975"/>
                <a:gd name="connsiteY8" fmla="*/ 120650 h 184150"/>
                <a:gd name="connsiteX9" fmla="*/ 463550 w 1196975"/>
                <a:gd name="connsiteY9" fmla="*/ 98425 h 184150"/>
                <a:gd name="connsiteX10" fmla="*/ 501650 w 1196975"/>
                <a:gd name="connsiteY10" fmla="*/ 88900 h 184150"/>
                <a:gd name="connsiteX11" fmla="*/ 561975 w 1196975"/>
                <a:gd name="connsiteY11" fmla="*/ 0 h 184150"/>
                <a:gd name="connsiteX12" fmla="*/ 590550 w 1196975"/>
                <a:gd name="connsiteY12" fmla="*/ 6350 h 184150"/>
                <a:gd name="connsiteX13" fmla="*/ 673100 w 1196975"/>
                <a:gd name="connsiteY13" fmla="*/ 0 h 184150"/>
                <a:gd name="connsiteX14" fmla="*/ 698500 w 1196975"/>
                <a:gd name="connsiteY14" fmla="*/ 25400 h 184150"/>
                <a:gd name="connsiteX15" fmla="*/ 698500 w 1196975"/>
                <a:gd name="connsiteY15" fmla="*/ 47625 h 184150"/>
                <a:gd name="connsiteX16" fmla="*/ 765175 w 1196975"/>
                <a:gd name="connsiteY16" fmla="*/ 107950 h 184150"/>
                <a:gd name="connsiteX17" fmla="*/ 790575 w 1196975"/>
                <a:gd name="connsiteY17" fmla="*/ 117475 h 184150"/>
                <a:gd name="connsiteX18" fmla="*/ 822325 w 1196975"/>
                <a:gd name="connsiteY18" fmla="*/ 92075 h 184150"/>
                <a:gd name="connsiteX19" fmla="*/ 857250 w 1196975"/>
                <a:gd name="connsiteY19" fmla="*/ 85725 h 184150"/>
                <a:gd name="connsiteX20" fmla="*/ 917575 w 1196975"/>
                <a:gd name="connsiteY20" fmla="*/ 73025 h 184150"/>
                <a:gd name="connsiteX21" fmla="*/ 962025 w 1196975"/>
                <a:gd name="connsiteY21" fmla="*/ 95250 h 184150"/>
                <a:gd name="connsiteX22" fmla="*/ 1009650 w 1196975"/>
                <a:gd name="connsiteY22" fmla="*/ 98425 h 184150"/>
                <a:gd name="connsiteX23" fmla="*/ 1060450 w 1196975"/>
                <a:gd name="connsiteY23" fmla="*/ 76200 h 184150"/>
                <a:gd name="connsiteX24" fmla="*/ 1120775 w 1196975"/>
                <a:gd name="connsiteY24" fmla="*/ 60325 h 184150"/>
                <a:gd name="connsiteX25" fmla="*/ 1196975 w 1196975"/>
                <a:gd name="connsiteY25" fmla="*/ 9525 h 184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96975" h="184150">
                  <a:moveTo>
                    <a:pt x="0" y="53975"/>
                  </a:moveTo>
                  <a:lnTo>
                    <a:pt x="57150" y="57150"/>
                  </a:lnTo>
                  <a:lnTo>
                    <a:pt x="95250" y="85725"/>
                  </a:lnTo>
                  <a:lnTo>
                    <a:pt x="127000" y="123825"/>
                  </a:lnTo>
                  <a:lnTo>
                    <a:pt x="158750" y="149225"/>
                  </a:lnTo>
                  <a:lnTo>
                    <a:pt x="206375" y="146050"/>
                  </a:lnTo>
                  <a:lnTo>
                    <a:pt x="285750" y="184150"/>
                  </a:lnTo>
                  <a:lnTo>
                    <a:pt x="330200" y="136525"/>
                  </a:lnTo>
                  <a:lnTo>
                    <a:pt x="381000" y="120650"/>
                  </a:lnTo>
                  <a:lnTo>
                    <a:pt x="463550" y="98425"/>
                  </a:lnTo>
                  <a:lnTo>
                    <a:pt x="501650" y="88900"/>
                  </a:lnTo>
                  <a:lnTo>
                    <a:pt x="561975" y="0"/>
                  </a:lnTo>
                  <a:lnTo>
                    <a:pt x="590550" y="6350"/>
                  </a:lnTo>
                  <a:lnTo>
                    <a:pt x="673100" y="0"/>
                  </a:lnTo>
                  <a:lnTo>
                    <a:pt x="698500" y="25400"/>
                  </a:lnTo>
                  <a:lnTo>
                    <a:pt x="698500" y="47625"/>
                  </a:lnTo>
                  <a:lnTo>
                    <a:pt x="765175" y="107950"/>
                  </a:lnTo>
                  <a:lnTo>
                    <a:pt x="790575" y="117475"/>
                  </a:lnTo>
                  <a:lnTo>
                    <a:pt x="822325" y="92075"/>
                  </a:lnTo>
                  <a:lnTo>
                    <a:pt x="857250" y="85725"/>
                  </a:lnTo>
                  <a:lnTo>
                    <a:pt x="917575" y="73025"/>
                  </a:lnTo>
                  <a:lnTo>
                    <a:pt x="962025" y="95250"/>
                  </a:lnTo>
                  <a:lnTo>
                    <a:pt x="1009650" y="98425"/>
                  </a:lnTo>
                  <a:lnTo>
                    <a:pt x="1060450" y="76200"/>
                  </a:lnTo>
                  <a:lnTo>
                    <a:pt x="1120775" y="60325"/>
                  </a:lnTo>
                  <a:lnTo>
                    <a:pt x="1196975" y="9525"/>
                  </a:ln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57" name="Freeform 18"/>
            <p:cNvSpPr/>
            <p:nvPr>
              <p:custDataLst>
                <p:tags r:id="rId17"/>
              </p:custDataLst>
            </p:nvPr>
          </p:nvSpPr>
          <p:spPr bwMode="gray">
            <a:xfrm>
              <a:off x="2182963" y="5626900"/>
              <a:ext cx="1120245" cy="377859"/>
            </a:xfrm>
            <a:custGeom>
              <a:avLst/>
              <a:gdLst>
                <a:gd name="connsiteX0" fmla="*/ 0 w 1176338"/>
                <a:gd name="connsiteY0" fmla="*/ 333375 h 381000"/>
                <a:gd name="connsiteX1" fmla="*/ 0 w 1176338"/>
                <a:gd name="connsiteY1" fmla="*/ 333375 h 381000"/>
                <a:gd name="connsiteX2" fmla="*/ 185738 w 1176338"/>
                <a:gd name="connsiteY2" fmla="*/ 309562 h 381000"/>
                <a:gd name="connsiteX3" fmla="*/ 228600 w 1176338"/>
                <a:gd name="connsiteY3" fmla="*/ 290512 h 381000"/>
                <a:gd name="connsiteX4" fmla="*/ 257175 w 1176338"/>
                <a:gd name="connsiteY4" fmla="*/ 280987 h 381000"/>
                <a:gd name="connsiteX5" fmla="*/ 271463 w 1176338"/>
                <a:gd name="connsiteY5" fmla="*/ 276225 h 381000"/>
                <a:gd name="connsiteX6" fmla="*/ 285750 w 1176338"/>
                <a:gd name="connsiteY6" fmla="*/ 266700 h 381000"/>
                <a:gd name="connsiteX7" fmla="*/ 390525 w 1176338"/>
                <a:gd name="connsiteY7" fmla="*/ 276225 h 381000"/>
                <a:gd name="connsiteX8" fmla="*/ 419100 w 1176338"/>
                <a:gd name="connsiteY8" fmla="*/ 285750 h 381000"/>
                <a:gd name="connsiteX9" fmla="*/ 433388 w 1176338"/>
                <a:gd name="connsiteY9" fmla="*/ 295275 h 381000"/>
                <a:gd name="connsiteX10" fmla="*/ 452438 w 1176338"/>
                <a:gd name="connsiteY10" fmla="*/ 300037 h 381000"/>
                <a:gd name="connsiteX11" fmla="*/ 504825 w 1176338"/>
                <a:gd name="connsiteY11" fmla="*/ 309562 h 381000"/>
                <a:gd name="connsiteX12" fmla="*/ 557213 w 1176338"/>
                <a:gd name="connsiteY12" fmla="*/ 328612 h 381000"/>
                <a:gd name="connsiteX13" fmla="*/ 671513 w 1176338"/>
                <a:gd name="connsiteY13" fmla="*/ 323850 h 381000"/>
                <a:gd name="connsiteX14" fmla="*/ 700088 w 1176338"/>
                <a:gd name="connsiteY14" fmla="*/ 314325 h 381000"/>
                <a:gd name="connsiteX15" fmla="*/ 757238 w 1176338"/>
                <a:gd name="connsiteY15" fmla="*/ 319087 h 381000"/>
                <a:gd name="connsiteX16" fmla="*/ 781050 w 1176338"/>
                <a:gd name="connsiteY16" fmla="*/ 342900 h 381000"/>
                <a:gd name="connsiteX17" fmla="*/ 795338 w 1176338"/>
                <a:gd name="connsiteY17" fmla="*/ 352425 h 381000"/>
                <a:gd name="connsiteX18" fmla="*/ 804863 w 1176338"/>
                <a:gd name="connsiteY18" fmla="*/ 366712 h 381000"/>
                <a:gd name="connsiteX19" fmla="*/ 819150 w 1176338"/>
                <a:gd name="connsiteY19" fmla="*/ 371475 h 381000"/>
                <a:gd name="connsiteX20" fmla="*/ 833438 w 1176338"/>
                <a:gd name="connsiteY20" fmla="*/ 381000 h 381000"/>
                <a:gd name="connsiteX21" fmla="*/ 876300 w 1176338"/>
                <a:gd name="connsiteY21" fmla="*/ 376237 h 381000"/>
                <a:gd name="connsiteX22" fmla="*/ 890588 w 1176338"/>
                <a:gd name="connsiteY22" fmla="*/ 371475 h 381000"/>
                <a:gd name="connsiteX23" fmla="*/ 900113 w 1176338"/>
                <a:gd name="connsiteY23" fmla="*/ 357187 h 381000"/>
                <a:gd name="connsiteX24" fmla="*/ 904875 w 1176338"/>
                <a:gd name="connsiteY24" fmla="*/ 342900 h 381000"/>
                <a:gd name="connsiteX25" fmla="*/ 914400 w 1176338"/>
                <a:gd name="connsiteY25" fmla="*/ 328612 h 381000"/>
                <a:gd name="connsiteX26" fmla="*/ 919163 w 1176338"/>
                <a:gd name="connsiteY26" fmla="*/ 309562 h 381000"/>
                <a:gd name="connsiteX27" fmla="*/ 952500 w 1176338"/>
                <a:gd name="connsiteY27" fmla="*/ 271462 h 381000"/>
                <a:gd name="connsiteX28" fmla="*/ 962025 w 1176338"/>
                <a:gd name="connsiteY28" fmla="*/ 257175 h 381000"/>
                <a:gd name="connsiteX29" fmla="*/ 952500 w 1176338"/>
                <a:gd name="connsiteY29" fmla="*/ 166687 h 381000"/>
                <a:gd name="connsiteX30" fmla="*/ 957263 w 1176338"/>
                <a:gd name="connsiteY30" fmla="*/ 85725 h 381000"/>
                <a:gd name="connsiteX31" fmla="*/ 966788 w 1176338"/>
                <a:gd name="connsiteY31" fmla="*/ 66675 h 381000"/>
                <a:gd name="connsiteX32" fmla="*/ 990600 w 1176338"/>
                <a:gd name="connsiteY32" fmla="*/ 42862 h 381000"/>
                <a:gd name="connsiteX33" fmla="*/ 1004888 w 1176338"/>
                <a:gd name="connsiteY33" fmla="*/ 28575 h 381000"/>
                <a:gd name="connsiteX34" fmla="*/ 1047750 w 1176338"/>
                <a:gd name="connsiteY34" fmla="*/ 33337 h 381000"/>
                <a:gd name="connsiteX35" fmla="*/ 1143000 w 1176338"/>
                <a:gd name="connsiteY35" fmla="*/ 23812 h 381000"/>
                <a:gd name="connsiteX36" fmla="*/ 1176338 w 1176338"/>
                <a:gd name="connsiteY36" fmla="*/ 0 h 381000"/>
                <a:gd name="connsiteX0" fmla="*/ 0 w 1219201"/>
                <a:gd name="connsiteY0" fmla="*/ 376237 h 423862"/>
                <a:gd name="connsiteX1" fmla="*/ 0 w 1219201"/>
                <a:gd name="connsiteY1" fmla="*/ 376237 h 423862"/>
                <a:gd name="connsiteX2" fmla="*/ 185738 w 1219201"/>
                <a:gd name="connsiteY2" fmla="*/ 352424 h 423862"/>
                <a:gd name="connsiteX3" fmla="*/ 228600 w 1219201"/>
                <a:gd name="connsiteY3" fmla="*/ 333374 h 423862"/>
                <a:gd name="connsiteX4" fmla="*/ 257175 w 1219201"/>
                <a:gd name="connsiteY4" fmla="*/ 323849 h 423862"/>
                <a:gd name="connsiteX5" fmla="*/ 271463 w 1219201"/>
                <a:gd name="connsiteY5" fmla="*/ 319087 h 423862"/>
                <a:gd name="connsiteX6" fmla="*/ 285750 w 1219201"/>
                <a:gd name="connsiteY6" fmla="*/ 309562 h 423862"/>
                <a:gd name="connsiteX7" fmla="*/ 390525 w 1219201"/>
                <a:gd name="connsiteY7" fmla="*/ 319087 h 423862"/>
                <a:gd name="connsiteX8" fmla="*/ 419100 w 1219201"/>
                <a:gd name="connsiteY8" fmla="*/ 328612 h 423862"/>
                <a:gd name="connsiteX9" fmla="*/ 433388 w 1219201"/>
                <a:gd name="connsiteY9" fmla="*/ 338137 h 423862"/>
                <a:gd name="connsiteX10" fmla="*/ 452438 w 1219201"/>
                <a:gd name="connsiteY10" fmla="*/ 342899 h 423862"/>
                <a:gd name="connsiteX11" fmla="*/ 504825 w 1219201"/>
                <a:gd name="connsiteY11" fmla="*/ 352424 h 423862"/>
                <a:gd name="connsiteX12" fmla="*/ 557213 w 1219201"/>
                <a:gd name="connsiteY12" fmla="*/ 371474 h 423862"/>
                <a:gd name="connsiteX13" fmla="*/ 671513 w 1219201"/>
                <a:gd name="connsiteY13" fmla="*/ 366712 h 423862"/>
                <a:gd name="connsiteX14" fmla="*/ 700088 w 1219201"/>
                <a:gd name="connsiteY14" fmla="*/ 357187 h 423862"/>
                <a:gd name="connsiteX15" fmla="*/ 757238 w 1219201"/>
                <a:gd name="connsiteY15" fmla="*/ 361949 h 423862"/>
                <a:gd name="connsiteX16" fmla="*/ 781050 w 1219201"/>
                <a:gd name="connsiteY16" fmla="*/ 385762 h 423862"/>
                <a:gd name="connsiteX17" fmla="*/ 795338 w 1219201"/>
                <a:gd name="connsiteY17" fmla="*/ 395287 h 423862"/>
                <a:gd name="connsiteX18" fmla="*/ 804863 w 1219201"/>
                <a:gd name="connsiteY18" fmla="*/ 409574 h 423862"/>
                <a:gd name="connsiteX19" fmla="*/ 819150 w 1219201"/>
                <a:gd name="connsiteY19" fmla="*/ 414337 h 423862"/>
                <a:gd name="connsiteX20" fmla="*/ 833438 w 1219201"/>
                <a:gd name="connsiteY20" fmla="*/ 423862 h 423862"/>
                <a:gd name="connsiteX21" fmla="*/ 876300 w 1219201"/>
                <a:gd name="connsiteY21" fmla="*/ 419099 h 423862"/>
                <a:gd name="connsiteX22" fmla="*/ 890588 w 1219201"/>
                <a:gd name="connsiteY22" fmla="*/ 414337 h 423862"/>
                <a:gd name="connsiteX23" fmla="*/ 900113 w 1219201"/>
                <a:gd name="connsiteY23" fmla="*/ 400049 h 423862"/>
                <a:gd name="connsiteX24" fmla="*/ 904875 w 1219201"/>
                <a:gd name="connsiteY24" fmla="*/ 385762 h 423862"/>
                <a:gd name="connsiteX25" fmla="*/ 914400 w 1219201"/>
                <a:gd name="connsiteY25" fmla="*/ 371474 h 423862"/>
                <a:gd name="connsiteX26" fmla="*/ 919163 w 1219201"/>
                <a:gd name="connsiteY26" fmla="*/ 352424 h 423862"/>
                <a:gd name="connsiteX27" fmla="*/ 952500 w 1219201"/>
                <a:gd name="connsiteY27" fmla="*/ 314324 h 423862"/>
                <a:gd name="connsiteX28" fmla="*/ 962025 w 1219201"/>
                <a:gd name="connsiteY28" fmla="*/ 300037 h 423862"/>
                <a:gd name="connsiteX29" fmla="*/ 952500 w 1219201"/>
                <a:gd name="connsiteY29" fmla="*/ 209549 h 423862"/>
                <a:gd name="connsiteX30" fmla="*/ 957263 w 1219201"/>
                <a:gd name="connsiteY30" fmla="*/ 128587 h 423862"/>
                <a:gd name="connsiteX31" fmla="*/ 966788 w 1219201"/>
                <a:gd name="connsiteY31" fmla="*/ 109537 h 423862"/>
                <a:gd name="connsiteX32" fmla="*/ 990600 w 1219201"/>
                <a:gd name="connsiteY32" fmla="*/ 85724 h 423862"/>
                <a:gd name="connsiteX33" fmla="*/ 1004888 w 1219201"/>
                <a:gd name="connsiteY33" fmla="*/ 71437 h 423862"/>
                <a:gd name="connsiteX34" fmla="*/ 1047750 w 1219201"/>
                <a:gd name="connsiteY34" fmla="*/ 76199 h 423862"/>
                <a:gd name="connsiteX35" fmla="*/ 1143000 w 1219201"/>
                <a:gd name="connsiteY35" fmla="*/ 66674 h 423862"/>
                <a:gd name="connsiteX36" fmla="*/ 1219201 w 1219201"/>
                <a:gd name="connsiteY36" fmla="*/ 0 h 423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219201" h="423862">
                  <a:moveTo>
                    <a:pt x="0" y="376237"/>
                  </a:moveTo>
                  <a:lnTo>
                    <a:pt x="0" y="376237"/>
                  </a:lnTo>
                  <a:cubicBezTo>
                    <a:pt x="93609" y="334634"/>
                    <a:pt x="5290" y="367462"/>
                    <a:pt x="185738" y="352424"/>
                  </a:cubicBezTo>
                  <a:cubicBezTo>
                    <a:pt x="220644" y="349515"/>
                    <a:pt x="205446" y="343665"/>
                    <a:pt x="228600" y="333374"/>
                  </a:cubicBezTo>
                  <a:cubicBezTo>
                    <a:pt x="237775" y="329296"/>
                    <a:pt x="247650" y="327024"/>
                    <a:pt x="257175" y="323849"/>
                  </a:cubicBezTo>
                  <a:lnTo>
                    <a:pt x="271463" y="319087"/>
                  </a:lnTo>
                  <a:cubicBezTo>
                    <a:pt x="276225" y="315912"/>
                    <a:pt x="280033" y="309834"/>
                    <a:pt x="285750" y="309562"/>
                  </a:cubicBezTo>
                  <a:cubicBezTo>
                    <a:pt x="321198" y="307874"/>
                    <a:pt x="356704" y="308940"/>
                    <a:pt x="390525" y="319087"/>
                  </a:cubicBezTo>
                  <a:cubicBezTo>
                    <a:pt x="400142" y="321972"/>
                    <a:pt x="410746" y="323043"/>
                    <a:pt x="419100" y="328612"/>
                  </a:cubicBezTo>
                  <a:cubicBezTo>
                    <a:pt x="423863" y="331787"/>
                    <a:pt x="428127" y="335882"/>
                    <a:pt x="433388" y="338137"/>
                  </a:cubicBezTo>
                  <a:cubicBezTo>
                    <a:pt x="439404" y="340715"/>
                    <a:pt x="446144" y="341101"/>
                    <a:pt x="452438" y="342899"/>
                  </a:cubicBezTo>
                  <a:cubicBezTo>
                    <a:pt x="486704" y="352689"/>
                    <a:pt x="441763" y="344542"/>
                    <a:pt x="504825" y="352424"/>
                  </a:cubicBezTo>
                  <a:cubicBezTo>
                    <a:pt x="541510" y="364652"/>
                    <a:pt x="524078" y="358220"/>
                    <a:pt x="557213" y="371474"/>
                  </a:cubicBezTo>
                  <a:cubicBezTo>
                    <a:pt x="595313" y="369887"/>
                    <a:pt x="633569" y="370506"/>
                    <a:pt x="671513" y="366712"/>
                  </a:cubicBezTo>
                  <a:cubicBezTo>
                    <a:pt x="681503" y="365713"/>
                    <a:pt x="700088" y="357187"/>
                    <a:pt x="700088" y="357187"/>
                  </a:cubicBezTo>
                  <a:cubicBezTo>
                    <a:pt x="719138" y="358774"/>
                    <a:pt x="738493" y="358200"/>
                    <a:pt x="757238" y="361949"/>
                  </a:cubicBezTo>
                  <a:cubicBezTo>
                    <a:pt x="773113" y="365124"/>
                    <a:pt x="771525" y="376237"/>
                    <a:pt x="781050" y="385762"/>
                  </a:cubicBezTo>
                  <a:cubicBezTo>
                    <a:pt x="785097" y="389809"/>
                    <a:pt x="790575" y="392112"/>
                    <a:pt x="795338" y="395287"/>
                  </a:cubicBezTo>
                  <a:cubicBezTo>
                    <a:pt x="798513" y="400049"/>
                    <a:pt x="800394" y="405998"/>
                    <a:pt x="804863" y="409574"/>
                  </a:cubicBezTo>
                  <a:cubicBezTo>
                    <a:pt x="808783" y="412710"/>
                    <a:pt x="814660" y="412092"/>
                    <a:pt x="819150" y="414337"/>
                  </a:cubicBezTo>
                  <a:cubicBezTo>
                    <a:pt x="824270" y="416897"/>
                    <a:pt x="828675" y="420687"/>
                    <a:pt x="833438" y="423862"/>
                  </a:cubicBezTo>
                  <a:cubicBezTo>
                    <a:pt x="847725" y="422274"/>
                    <a:pt x="862120" y="421462"/>
                    <a:pt x="876300" y="419099"/>
                  </a:cubicBezTo>
                  <a:cubicBezTo>
                    <a:pt x="881252" y="418274"/>
                    <a:pt x="886668" y="417473"/>
                    <a:pt x="890588" y="414337"/>
                  </a:cubicBezTo>
                  <a:cubicBezTo>
                    <a:pt x="895058" y="410761"/>
                    <a:pt x="896938" y="404812"/>
                    <a:pt x="900113" y="400049"/>
                  </a:cubicBezTo>
                  <a:cubicBezTo>
                    <a:pt x="901700" y="395287"/>
                    <a:pt x="902630" y="390252"/>
                    <a:pt x="904875" y="385762"/>
                  </a:cubicBezTo>
                  <a:cubicBezTo>
                    <a:pt x="907435" y="380642"/>
                    <a:pt x="912145" y="376735"/>
                    <a:pt x="914400" y="371474"/>
                  </a:cubicBezTo>
                  <a:cubicBezTo>
                    <a:pt x="916978" y="365458"/>
                    <a:pt x="916236" y="358278"/>
                    <a:pt x="919163" y="352424"/>
                  </a:cubicBezTo>
                  <a:cubicBezTo>
                    <a:pt x="933054" y="324643"/>
                    <a:pt x="932855" y="327421"/>
                    <a:pt x="952500" y="314324"/>
                  </a:cubicBezTo>
                  <a:cubicBezTo>
                    <a:pt x="955675" y="309562"/>
                    <a:pt x="961689" y="305751"/>
                    <a:pt x="962025" y="300037"/>
                  </a:cubicBezTo>
                  <a:cubicBezTo>
                    <a:pt x="964210" y="262901"/>
                    <a:pt x="958900" y="241546"/>
                    <a:pt x="952500" y="209549"/>
                  </a:cubicBezTo>
                  <a:cubicBezTo>
                    <a:pt x="954088" y="182562"/>
                    <a:pt x="953440" y="155349"/>
                    <a:pt x="957263" y="128587"/>
                  </a:cubicBezTo>
                  <a:cubicBezTo>
                    <a:pt x="958267" y="121559"/>
                    <a:pt x="963266" y="115701"/>
                    <a:pt x="966788" y="109537"/>
                  </a:cubicBezTo>
                  <a:cubicBezTo>
                    <a:pt x="979487" y="87313"/>
                    <a:pt x="971551" y="101598"/>
                    <a:pt x="990600" y="85724"/>
                  </a:cubicBezTo>
                  <a:cubicBezTo>
                    <a:pt x="995774" y="81412"/>
                    <a:pt x="1000125" y="76199"/>
                    <a:pt x="1004888" y="71437"/>
                  </a:cubicBezTo>
                  <a:cubicBezTo>
                    <a:pt x="1019175" y="73024"/>
                    <a:pt x="1033375" y="76199"/>
                    <a:pt x="1047750" y="76199"/>
                  </a:cubicBezTo>
                  <a:cubicBezTo>
                    <a:pt x="1071061" y="76199"/>
                    <a:pt x="1117128" y="69908"/>
                    <a:pt x="1143000" y="66674"/>
                  </a:cubicBezTo>
                  <a:cubicBezTo>
                    <a:pt x="1173443" y="46379"/>
                    <a:pt x="1206342" y="12856"/>
                    <a:pt x="1219201" y="0"/>
                  </a:cubicBezTo>
                </a:path>
              </a:pathLst>
            </a:custGeom>
            <a:noFill/>
            <a:ln w="9525" cap="rnd">
              <a:solidFill>
                <a:srgbClr val="CCCCCC">
                  <a:lumMod val="9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58" name="Oval 46"/>
            <p:cNvSpPr/>
            <p:nvPr>
              <p:custDataLst>
                <p:tags r:id="rId18"/>
              </p:custDataLst>
            </p:nvPr>
          </p:nvSpPr>
          <p:spPr bwMode="gray">
            <a:xfrm>
              <a:off x="3559928" y="2553077"/>
              <a:ext cx="67215" cy="65213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shade val="51000"/>
                    <a:satMod val="130000"/>
                  </a:srgbClr>
                </a:gs>
                <a:gs pos="80000">
                  <a:srgbClr val="000000">
                    <a:shade val="93000"/>
                    <a:satMod val="130000"/>
                  </a:srgbClr>
                </a:gs>
                <a:gs pos="100000">
                  <a:srgbClr val="000000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59" name="Oval 47"/>
            <p:cNvSpPr/>
            <p:nvPr>
              <p:custDataLst>
                <p:tags r:id="rId19"/>
              </p:custDataLst>
            </p:nvPr>
          </p:nvSpPr>
          <p:spPr bwMode="gray">
            <a:xfrm>
              <a:off x="2193659" y="2278528"/>
              <a:ext cx="67215" cy="65213"/>
            </a:xfrm>
            <a:prstGeom prst="ellipse">
              <a:avLst/>
            </a:prstGeom>
            <a:solidFill>
              <a:srgbClr val="0065CC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60" name="Oval 57"/>
            <p:cNvSpPr/>
            <p:nvPr>
              <p:custDataLst>
                <p:tags r:id="rId20"/>
              </p:custDataLst>
            </p:nvPr>
          </p:nvSpPr>
          <p:spPr bwMode="gray">
            <a:xfrm>
              <a:off x="2218699" y="5648129"/>
              <a:ext cx="67215" cy="6521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61" name="Oval 58"/>
            <p:cNvSpPr/>
            <p:nvPr>
              <p:custDataLst>
                <p:tags r:id="rId21"/>
              </p:custDataLst>
            </p:nvPr>
          </p:nvSpPr>
          <p:spPr bwMode="gray">
            <a:xfrm>
              <a:off x="2146496" y="5928339"/>
              <a:ext cx="67215" cy="6521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62" name="Rectangle 310273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2304967" y="2233188"/>
              <a:ext cx="33342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000000"/>
                  </a:solidFill>
                  <a:latin typeface="Cambria"/>
                </a:rPr>
                <a:t>Louga</a:t>
              </a:r>
              <a:endParaRPr lang="fr-FR" sz="1000" dirty="0">
                <a:solidFill>
                  <a:srgbClr val="000000"/>
                </a:solidFill>
                <a:latin typeface="Cambria"/>
              </a:endParaRPr>
            </a:p>
          </p:txBody>
        </p:sp>
        <p:sp>
          <p:nvSpPr>
            <p:cNvPr id="163" name="Oval 59"/>
            <p:cNvSpPr/>
            <p:nvPr>
              <p:custDataLst>
                <p:tags r:id="rId23"/>
              </p:custDataLst>
            </p:nvPr>
          </p:nvSpPr>
          <p:spPr bwMode="gray">
            <a:xfrm>
              <a:off x="5753740" y="2231827"/>
              <a:ext cx="67215" cy="6521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64" name="Rectangle 310273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3059432" y="2491596"/>
              <a:ext cx="48891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Linguere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65" name="Rectangle 310273"/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271719" y="1725559"/>
              <a:ext cx="61715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000000"/>
                  </a:solidFill>
                  <a:latin typeface="Cambria"/>
                </a:rPr>
                <a:t>Saint-Louis</a:t>
              </a:r>
              <a:endParaRPr lang="fr-FR" sz="1000" dirty="0">
                <a:solidFill>
                  <a:srgbClr val="000000"/>
                </a:solidFill>
                <a:latin typeface="Cambria"/>
              </a:endParaRPr>
            </a:p>
          </p:txBody>
        </p:sp>
        <p:sp>
          <p:nvSpPr>
            <p:cNvPr id="166" name="Rectangle 310273"/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5389410" y="4505113"/>
              <a:ext cx="777457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8080">
                      <a:lumMod val="50000"/>
                    </a:srgbClr>
                  </a:solidFill>
                  <a:effectLst/>
                  <a:uLnTx/>
                  <a:uFillTx/>
                  <a:latin typeface="Cambria"/>
                </a:rPr>
                <a:t>Tambacounda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67" name="Rectangle 310273"/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6927712" y="3812712"/>
              <a:ext cx="275717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8080">
                      <a:lumMod val="50000"/>
                    </a:srgbClr>
                  </a:solidFill>
                  <a:effectLst/>
                  <a:uLnTx/>
                  <a:uFillTx/>
                  <a:latin typeface="Cambria"/>
                </a:rPr>
                <a:t>Naye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68" name="Rectangle 310273"/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2083250" y="5500185"/>
              <a:ext cx="45204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Bignona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69" name="Rectangle 310273"/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1933738" y="5976944"/>
              <a:ext cx="59311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Ziguinchor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70" name="Rectangle 310273"/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5361705" y="2207867"/>
              <a:ext cx="379912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Matam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71" name="Rectangle 310273"/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3631208" y="1094791"/>
              <a:ext cx="330219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Podor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72" name="Rectangle 310273"/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2029923" y="2585100"/>
              <a:ext cx="498534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Kebemer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73" name="Rectangle 310273"/>
            <p:cNvSpPr txBox="1"/>
            <p:nvPr>
              <p:custDataLst>
                <p:tags r:id="rId33"/>
              </p:custDataLst>
            </p:nvPr>
          </p:nvSpPr>
          <p:spPr bwMode="gray">
            <a:xfrm>
              <a:off x="1773200" y="2870569"/>
              <a:ext cx="36708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Mekhe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74" name="Rectangle 310273"/>
            <p:cNvSpPr txBox="1"/>
            <p:nvPr>
              <p:custDataLst>
                <p:tags r:id="rId34"/>
              </p:custDataLst>
            </p:nvPr>
          </p:nvSpPr>
          <p:spPr bwMode="gray">
            <a:xfrm>
              <a:off x="1276003" y="2534993"/>
              <a:ext cx="31899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Diogo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75" name="Rectangle 310273"/>
            <p:cNvSpPr txBox="1"/>
            <p:nvPr>
              <p:custDataLst>
                <p:tags r:id="rId35"/>
              </p:custDataLst>
            </p:nvPr>
          </p:nvSpPr>
          <p:spPr bwMode="gray">
            <a:xfrm>
              <a:off x="1080287" y="2758273"/>
              <a:ext cx="362279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Mboro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76" name="Arc 175"/>
            <p:cNvSpPr/>
            <p:nvPr>
              <p:custDataLst>
                <p:tags r:id="rId36"/>
              </p:custDataLst>
            </p:nvPr>
          </p:nvSpPr>
          <p:spPr>
            <a:xfrm rot="814799" flipH="1">
              <a:off x="3510618" y="1158758"/>
              <a:ext cx="586700" cy="669782"/>
            </a:xfrm>
            <a:prstGeom prst="arc">
              <a:avLst>
                <a:gd name="adj1" fmla="val 19104634"/>
                <a:gd name="adj2" fmla="val 2557761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77" name="Arc 176"/>
            <p:cNvSpPr/>
            <p:nvPr>
              <p:custDataLst>
                <p:tags r:id="rId37"/>
              </p:custDataLst>
            </p:nvPr>
          </p:nvSpPr>
          <p:spPr>
            <a:xfrm rot="10209493" flipH="1" flipV="1">
              <a:off x="3454807" y="1124966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cxnSp>
          <p:nvCxnSpPr>
            <p:cNvPr id="178" name="Straight Arrow Connector 6"/>
            <p:cNvCxnSpPr/>
            <p:nvPr>
              <p:custDataLst>
                <p:tags r:id="rId38"/>
              </p:custDataLst>
            </p:nvPr>
          </p:nvCxnSpPr>
          <p:spPr>
            <a:xfrm>
              <a:off x="3777151" y="1246255"/>
              <a:ext cx="0" cy="419100"/>
            </a:xfrm>
            <a:prstGeom prst="straightConnector1">
              <a:avLst/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</p:cxnSp>
        <p:sp>
          <p:nvSpPr>
            <p:cNvPr id="179" name="Arc 178"/>
            <p:cNvSpPr/>
            <p:nvPr>
              <p:custDataLst>
                <p:tags r:id="rId39"/>
              </p:custDataLst>
            </p:nvPr>
          </p:nvSpPr>
          <p:spPr>
            <a:xfrm flipH="1" flipV="1">
              <a:off x="1899334" y="1178254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0" name="Arc 179"/>
            <p:cNvSpPr/>
            <p:nvPr>
              <p:custDataLst>
                <p:tags r:id="rId40"/>
              </p:custDataLst>
            </p:nvPr>
          </p:nvSpPr>
          <p:spPr>
            <a:xfrm rot="7618744" flipH="1" flipV="1">
              <a:off x="1695619" y="1755551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1" name="Arc 180"/>
            <p:cNvSpPr/>
            <p:nvPr>
              <p:custDataLst>
                <p:tags r:id="rId41"/>
              </p:custDataLst>
            </p:nvPr>
          </p:nvSpPr>
          <p:spPr>
            <a:xfrm rot="4033207" flipH="1" flipV="1">
              <a:off x="1965098" y="1515492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2" name="Arc 181"/>
            <p:cNvSpPr/>
            <p:nvPr>
              <p:custDataLst>
                <p:tags r:id="rId42"/>
              </p:custDataLst>
            </p:nvPr>
          </p:nvSpPr>
          <p:spPr>
            <a:xfrm flipH="1" flipV="1">
              <a:off x="3718609" y="5010480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3" name="Arc 182"/>
            <p:cNvSpPr/>
            <p:nvPr>
              <p:custDataLst>
                <p:tags r:id="rId43"/>
              </p:custDataLst>
            </p:nvPr>
          </p:nvSpPr>
          <p:spPr>
            <a:xfrm rot="4033207" flipH="1" flipV="1">
              <a:off x="3797072" y="5373119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4" name="Rectangle 310273"/>
            <p:cNvSpPr txBox="1"/>
            <p:nvPr>
              <p:custDataLst>
                <p:tags r:id="rId44"/>
              </p:custDataLst>
            </p:nvPr>
          </p:nvSpPr>
          <p:spPr bwMode="gray">
            <a:xfrm>
              <a:off x="3409874" y="5377714"/>
              <a:ext cx="315792" cy="1538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8080">
                      <a:lumMod val="50000"/>
                    </a:srgbClr>
                  </a:solidFill>
                  <a:effectLst/>
                  <a:uLnTx/>
                  <a:uFillTx/>
                  <a:latin typeface="Cambria"/>
                </a:rPr>
                <a:t>Kolda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5" name="Arc 184"/>
            <p:cNvSpPr/>
            <p:nvPr>
              <p:custDataLst>
                <p:tags r:id="rId45"/>
              </p:custDataLst>
            </p:nvPr>
          </p:nvSpPr>
          <p:spPr>
            <a:xfrm rot="4873188" flipH="1" flipV="1">
              <a:off x="3278064" y="5507566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arrow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6" name="Oval 115"/>
            <p:cNvSpPr/>
            <p:nvPr>
              <p:custDataLst>
                <p:tags r:id="rId46"/>
              </p:custDataLst>
            </p:nvPr>
          </p:nvSpPr>
          <p:spPr bwMode="gray">
            <a:xfrm>
              <a:off x="3719953" y="1005311"/>
              <a:ext cx="109728" cy="109728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0065CC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7" name="Oval 119"/>
            <p:cNvSpPr/>
            <p:nvPr>
              <p:custDataLst>
                <p:tags r:id="rId47"/>
              </p:custDataLst>
            </p:nvPr>
          </p:nvSpPr>
          <p:spPr bwMode="gray">
            <a:xfrm>
              <a:off x="1901624" y="1706659"/>
              <a:ext cx="109728" cy="109728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0065CC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8" name="Oval 121"/>
            <p:cNvSpPr/>
            <p:nvPr>
              <p:custDataLst>
                <p:tags r:id="rId48"/>
              </p:custDataLst>
            </p:nvPr>
          </p:nvSpPr>
          <p:spPr bwMode="gray">
            <a:xfrm>
              <a:off x="3743292" y="5538916"/>
              <a:ext cx="109728" cy="109728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0065CC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89" name="Rectangle 310273"/>
            <p:cNvSpPr txBox="1"/>
            <p:nvPr>
              <p:custDataLst>
                <p:tags r:id="rId49"/>
              </p:custDataLst>
            </p:nvPr>
          </p:nvSpPr>
          <p:spPr bwMode="gray">
            <a:xfrm>
              <a:off x="8169040" y="4531050"/>
              <a:ext cx="44563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Bamako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90" name="Freeform 102"/>
            <p:cNvSpPr/>
            <p:nvPr>
              <p:custDataLst>
                <p:tags r:id="rId50"/>
              </p:custDataLst>
            </p:nvPr>
          </p:nvSpPr>
          <p:spPr bwMode="gray">
            <a:xfrm>
              <a:off x="1277468" y="2925024"/>
              <a:ext cx="239465" cy="486642"/>
            </a:xfrm>
            <a:custGeom>
              <a:avLst/>
              <a:gdLst>
                <a:gd name="connsiteX0" fmla="*/ 0 w 220337"/>
                <a:gd name="connsiteY0" fmla="*/ 490250 h 490250"/>
                <a:gd name="connsiteX1" fmla="*/ 88135 w 220337"/>
                <a:gd name="connsiteY1" fmla="*/ 429657 h 490250"/>
                <a:gd name="connsiteX2" fmla="*/ 220337 w 220337"/>
                <a:gd name="connsiteY2" fmla="*/ 269913 h 490250"/>
                <a:gd name="connsiteX3" fmla="*/ 88135 w 220337"/>
                <a:gd name="connsiteY3" fmla="*/ 0 h 490250"/>
                <a:gd name="connsiteX0" fmla="*/ 0 w 220337"/>
                <a:gd name="connsiteY0" fmla="*/ 453305 h 453305"/>
                <a:gd name="connsiteX1" fmla="*/ 88135 w 220337"/>
                <a:gd name="connsiteY1" fmla="*/ 392712 h 453305"/>
                <a:gd name="connsiteX2" fmla="*/ 220337 w 220337"/>
                <a:gd name="connsiteY2" fmla="*/ 232968 h 453305"/>
                <a:gd name="connsiteX3" fmla="*/ 117085 w 220337"/>
                <a:gd name="connsiteY3" fmla="*/ 0 h 453305"/>
                <a:gd name="connsiteX0" fmla="*/ 0 w 250192"/>
                <a:gd name="connsiteY0" fmla="*/ 453305 h 453305"/>
                <a:gd name="connsiteX1" fmla="*/ 88135 w 250192"/>
                <a:gd name="connsiteY1" fmla="*/ 392712 h 453305"/>
                <a:gd name="connsiteX2" fmla="*/ 250192 w 250192"/>
                <a:gd name="connsiteY2" fmla="*/ 192486 h 453305"/>
                <a:gd name="connsiteX3" fmla="*/ 117085 w 250192"/>
                <a:gd name="connsiteY3" fmla="*/ 0 h 453305"/>
                <a:gd name="connsiteX0" fmla="*/ 0 w 250192"/>
                <a:gd name="connsiteY0" fmla="*/ 486642 h 486642"/>
                <a:gd name="connsiteX1" fmla="*/ 88135 w 250192"/>
                <a:gd name="connsiteY1" fmla="*/ 426049 h 486642"/>
                <a:gd name="connsiteX2" fmla="*/ 250192 w 250192"/>
                <a:gd name="connsiteY2" fmla="*/ 225823 h 486642"/>
                <a:gd name="connsiteX3" fmla="*/ 156892 w 250192"/>
                <a:gd name="connsiteY3" fmla="*/ 0 h 486642"/>
                <a:gd name="connsiteX0" fmla="*/ 0 w 250192"/>
                <a:gd name="connsiteY0" fmla="*/ 486642 h 486642"/>
                <a:gd name="connsiteX1" fmla="*/ 88135 w 250192"/>
                <a:gd name="connsiteY1" fmla="*/ 426049 h 486642"/>
                <a:gd name="connsiteX2" fmla="*/ 250192 w 250192"/>
                <a:gd name="connsiteY2" fmla="*/ 225823 h 486642"/>
                <a:gd name="connsiteX3" fmla="*/ 149428 w 250192"/>
                <a:gd name="connsiteY3" fmla="*/ 0 h 486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0192" h="486642">
                  <a:moveTo>
                    <a:pt x="0" y="486642"/>
                  </a:moveTo>
                  <a:lnTo>
                    <a:pt x="88135" y="426049"/>
                  </a:lnTo>
                  <a:lnTo>
                    <a:pt x="250192" y="225823"/>
                  </a:lnTo>
                  <a:cubicBezTo>
                    <a:pt x="206125" y="135852"/>
                    <a:pt x="193495" y="89971"/>
                    <a:pt x="149428" y="0"/>
                  </a:cubicBezTo>
                </a:path>
              </a:pathLst>
            </a:custGeom>
            <a:noFill/>
            <a:ln w="38100" cap="flat" cmpd="sng" algn="ctr">
              <a:solidFill>
                <a:srgbClr val="597C5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91" name="Freeform 109"/>
            <p:cNvSpPr/>
            <p:nvPr>
              <p:custDataLst>
                <p:tags r:id="rId51"/>
              </p:custDataLst>
            </p:nvPr>
          </p:nvSpPr>
          <p:spPr bwMode="gray">
            <a:xfrm>
              <a:off x="2562889" y="3732879"/>
              <a:ext cx="5791633" cy="803435"/>
            </a:xfrm>
            <a:custGeom>
              <a:avLst/>
              <a:gdLst>
                <a:gd name="connsiteX0" fmla="*/ 0 w 5993175"/>
                <a:gd name="connsiteY0" fmla="*/ 275422 h 925417"/>
                <a:gd name="connsiteX1" fmla="*/ 512284 w 5993175"/>
                <a:gd name="connsiteY1" fmla="*/ 495759 h 925417"/>
                <a:gd name="connsiteX2" fmla="*/ 941942 w 5993175"/>
                <a:gd name="connsiteY2" fmla="*/ 517793 h 925417"/>
                <a:gd name="connsiteX3" fmla="*/ 1178804 w 5993175"/>
                <a:gd name="connsiteY3" fmla="*/ 661012 h 925417"/>
                <a:gd name="connsiteX4" fmla="*/ 1861850 w 5993175"/>
                <a:gd name="connsiteY4" fmla="*/ 633470 h 925417"/>
                <a:gd name="connsiteX5" fmla="*/ 2996587 w 5993175"/>
                <a:gd name="connsiteY5" fmla="*/ 925417 h 925417"/>
                <a:gd name="connsiteX6" fmla="*/ 4957590 w 5993175"/>
                <a:gd name="connsiteY6" fmla="*/ 0 h 925417"/>
                <a:gd name="connsiteX7" fmla="*/ 5993175 w 5993175"/>
                <a:gd name="connsiteY7" fmla="*/ 820757 h 925417"/>
                <a:gd name="connsiteX0" fmla="*/ 0 w 5993175"/>
                <a:gd name="connsiteY0" fmla="*/ 275422 h 860763"/>
                <a:gd name="connsiteX1" fmla="*/ 512284 w 5993175"/>
                <a:gd name="connsiteY1" fmla="*/ 495759 h 860763"/>
                <a:gd name="connsiteX2" fmla="*/ 941942 w 5993175"/>
                <a:gd name="connsiteY2" fmla="*/ 517793 h 860763"/>
                <a:gd name="connsiteX3" fmla="*/ 1178804 w 5993175"/>
                <a:gd name="connsiteY3" fmla="*/ 661012 h 860763"/>
                <a:gd name="connsiteX4" fmla="*/ 1861850 w 5993175"/>
                <a:gd name="connsiteY4" fmla="*/ 633470 h 860763"/>
                <a:gd name="connsiteX5" fmla="*/ 3122039 w 5993175"/>
                <a:gd name="connsiteY5" fmla="*/ 860763 h 860763"/>
                <a:gd name="connsiteX6" fmla="*/ 4957590 w 5993175"/>
                <a:gd name="connsiteY6" fmla="*/ 0 h 860763"/>
                <a:gd name="connsiteX7" fmla="*/ 5993175 w 5993175"/>
                <a:gd name="connsiteY7" fmla="*/ 820757 h 860763"/>
                <a:gd name="connsiteX0" fmla="*/ 0 w 5993175"/>
                <a:gd name="connsiteY0" fmla="*/ 275422 h 981817"/>
                <a:gd name="connsiteX1" fmla="*/ 512284 w 5993175"/>
                <a:gd name="connsiteY1" fmla="*/ 495759 h 981817"/>
                <a:gd name="connsiteX2" fmla="*/ 941942 w 5993175"/>
                <a:gd name="connsiteY2" fmla="*/ 517793 h 981817"/>
                <a:gd name="connsiteX3" fmla="*/ 1178804 w 5993175"/>
                <a:gd name="connsiteY3" fmla="*/ 661012 h 981817"/>
                <a:gd name="connsiteX4" fmla="*/ 1861850 w 5993175"/>
                <a:gd name="connsiteY4" fmla="*/ 633470 h 981817"/>
                <a:gd name="connsiteX5" fmla="*/ 3081512 w 5993175"/>
                <a:gd name="connsiteY5" fmla="*/ 981817 h 981817"/>
                <a:gd name="connsiteX6" fmla="*/ 4957590 w 5993175"/>
                <a:gd name="connsiteY6" fmla="*/ 0 h 981817"/>
                <a:gd name="connsiteX7" fmla="*/ 5993175 w 5993175"/>
                <a:gd name="connsiteY7" fmla="*/ 820757 h 981817"/>
                <a:gd name="connsiteX0" fmla="*/ 0 w 5871592"/>
                <a:gd name="connsiteY0" fmla="*/ 331293 h 981817"/>
                <a:gd name="connsiteX1" fmla="*/ 390701 w 5871592"/>
                <a:gd name="connsiteY1" fmla="*/ 495759 h 981817"/>
                <a:gd name="connsiteX2" fmla="*/ 820359 w 5871592"/>
                <a:gd name="connsiteY2" fmla="*/ 517793 h 981817"/>
                <a:gd name="connsiteX3" fmla="*/ 1057221 w 5871592"/>
                <a:gd name="connsiteY3" fmla="*/ 661012 h 981817"/>
                <a:gd name="connsiteX4" fmla="*/ 1740267 w 5871592"/>
                <a:gd name="connsiteY4" fmla="*/ 633470 h 981817"/>
                <a:gd name="connsiteX5" fmla="*/ 2959929 w 5871592"/>
                <a:gd name="connsiteY5" fmla="*/ 981817 h 981817"/>
                <a:gd name="connsiteX6" fmla="*/ 4836007 w 5871592"/>
                <a:gd name="connsiteY6" fmla="*/ 0 h 981817"/>
                <a:gd name="connsiteX7" fmla="*/ 5871592 w 5871592"/>
                <a:gd name="connsiteY7" fmla="*/ 820757 h 981817"/>
                <a:gd name="connsiteX0" fmla="*/ 0 w 6185988"/>
                <a:gd name="connsiteY0" fmla="*/ 331293 h 1012636"/>
                <a:gd name="connsiteX1" fmla="*/ 390701 w 6185988"/>
                <a:gd name="connsiteY1" fmla="*/ 495759 h 1012636"/>
                <a:gd name="connsiteX2" fmla="*/ 820359 w 6185988"/>
                <a:gd name="connsiteY2" fmla="*/ 517793 h 1012636"/>
                <a:gd name="connsiteX3" fmla="*/ 1057221 w 6185988"/>
                <a:gd name="connsiteY3" fmla="*/ 661012 h 1012636"/>
                <a:gd name="connsiteX4" fmla="*/ 1740267 w 6185988"/>
                <a:gd name="connsiteY4" fmla="*/ 633470 h 1012636"/>
                <a:gd name="connsiteX5" fmla="*/ 2959929 w 6185988"/>
                <a:gd name="connsiteY5" fmla="*/ 981817 h 1012636"/>
                <a:gd name="connsiteX6" fmla="*/ 4836007 w 6185988"/>
                <a:gd name="connsiteY6" fmla="*/ 0 h 1012636"/>
                <a:gd name="connsiteX7" fmla="*/ 6185988 w 6185988"/>
                <a:gd name="connsiteY7" fmla="*/ 1012636 h 1012636"/>
                <a:gd name="connsiteX0" fmla="*/ 0 w 6185988"/>
                <a:gd name="connsiteY0" fmla="*/ 286144 h 967487"/>
                <a:gd name="connsiteX1" fmla="*/ 390701 w 6185988"/>
                <a:gd name="connsiteY1" fmla="*/ 450610 h 967487"/>
                <a:gd name="connsiteX2" fmla="*/ 820359 w 6185988"/>
                <a:gd name="connsiteY2" fmla="*/ 472644 h 967487"/>
                <a:gd name="connsiteX3" fmla="*/ 1057221 w 6185988"/>
                <a:gd name="connsiteY3" fmla="*/ 615863 h 967487"/>
                <a:gd name="connsiteX4" fmla="*/ 1740267 w 6185988"/>
                <a:gd name="connsiteY4" fmla="*/ 588321 h 967487"/>
                <a:gd name="connsiteX5" fmla="*/ 2959929 w 6185988"/>
                <a:gd name="connsiteY5" fmla="*/ 936668 h 967487"/>
                <a:gd name="connsiteX6" fmla="*/ 4826182 w 6185988"/>
                <a:gd name="connsiteY6" fmla="*/ 0 h 967487"/>
                <a:gd name="connsiteX7" fmla="*/ 6185988 w 6185988"/>
                <a:gd name="connsiteY7" fmla="*/ 967487 h 967487"/>
                <a:gd name="connsiteX0" fmla="*/ 0 w 6185988"/>
                <a:gd name="connsiteY0" fmla="*/ 286144 h 981816"/>
                <a:gd name="connsiteX1" fmla="*/ 390701 w 6185988"/>
                <a:gd name="connsiteY1" fmla="*/ 450610 h 981816"/>
                <a:gd name="connsiteX2" fmla="*/ 820359 w 6185988"/>
                <a:gd name="connsiteY2" fmla="*/ 472644 h 981816"/>
                <a:gd name="connsiteX3" fmla="*/ 1057221 w 6185988"/>
                <a:gd name="connsiteY3" fmla="*/ 615863 h 981816"/>
                <a:gd name="connsiteX4" fmla="*/ 1740267 w 6185988"/>
                <a:gd name="connsiteY4" fmla="*/ 588321 h 981816"/>
                <a:gd name="connsiteX5" fmla="*/ 2959929 w 6185988"/>
                <a:gd name="connsiteY5" fmla="*/ 981816 h 981816"/>
                <a:gd name="connsiteX6" fmla="*/ 4826182 w 6185988"/>
                <a:gd name="connsiteY6" fmla="*/ 0 h 981816"/>
                <a:gd name="connsiteX7" fmla="*/ 6185988 w 6185988"/>
                <a:gd name="connsiteY7" fmla="*/ 967487 h 981816"/>
                <a:gd name="connsiteX0" fmla="*/ 0 w 6160659"/>
                <a:gd name="connsiteY0" fmla="*/ 265775 h 981816"/>
                <a:gd name="connsiteX1" fmla="*/ 365372 w 6160659"/>
                <a:gd name="connsiteY1" fmla="*/ 450610 h 981816"/>
                <a:gd name="connsiteX2" fmla="*/ 795030 w 6160659"/>
                <a:gd name="connsiteY2" fmla="*/ 472644 h 981816"/>
                <a:gd name="connsiteX3" fmla="*/ 1031892 w 6160659"/>
                <a:gd name="connsiteY3" fmla="*/ 615863 h 981816"/>
                <a:gd name="connsiteX4" fmla="*/ 1714938 w 6160659"/>
                <a:gd name="connsiteY4" fmla="*/ 588321 h 981816"/>
                <a:gd name="connsiteX5" fmla="*/ 2934600 w 6160659"/>
                <a:gd name="connsiteY5" fmla="*/ 981816 h 981816"/>
                <a:gd name="connsiteX6" fmla="*/ 4800853 w 6160659"/>
                <a:gd name="connsiteY6" fmla="*/ 0 h 981816"/>
                <a:gd name="connsiteX7" fmla="*/ 6160659 w 6160659"/>
                <a:gd name="connsiteY7" fmla="*/ 967487 h 98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160659" h="981816">
                  <a:moveTo>
                    <a:pt x="0" y="265775"/>
                  </a:moveTo>
                  <a:lnTo>
                    <a:pt x="365372" y="450610"/>
                  </a:lnTo>
                  <a:lnTo>
                    <a:pt x="795030" y="472644"/>
                  </a:lnTo>
                  <a:lnTo>
                    <a:pt x="1031892" y="615863"/>
                  </a:lnTo>
                  <a:lnTo>
                    <a:pt x="1714938" y="588321"/>
                  </a:lnTo>
                  <a:lnTo>
                    <a:pt x="2934600" y="981816"/>
                  </a:lnTo>
                  <a:lnTo>
                    <a:pt x="4800853" y="0"/>
                  </a:lnTo>
                  <a:lnTo>
                    <a:pt x="6160659" y="967487"/>
                  </a:lnTo>
                </a:path>
              </a:pathLst>
            </a:custGeom>
            <a:noFill/>
            <a:ln w="38100" cap="flat" cmpd="sng" algn="ctr">
              <a:solidFill>
                <a:srgbClr val="597C56"/>
              </a:solidFill>
              <a:prstDash val="solid"/>
              <a:tailEnd type="arrow" w="lg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92" name="Oval 53"/>
            <p:cNvSpPr/>
            <p:nvPr>
              <p:custDataLst>
                <p:tags r:id="rId52"/>
              </p:custDataLst>
            </p:nvPr>
          </p:nvSpPr>
          <p:spPr bwMode="gray">
            <a:xfrm>
              <a:off x="5280440" y="4508496"/>
              <a:ext cx="67215" cy="6521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93" name="Oval 54"/>
            <p:cNvSpPr/>
            <p:nvPr>
              <p:custDataLst>
                <p:tags r:id="rId53"/>
              </p:custDataLst>
            </p:nvPr>
          </p:nvSpPr>
          <p:spPr bwMode="gray">
            <a:xfrm>
              <a:off x="7040816" y="3713959"/>
              <a:ext cx="67215" cy="65213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shade val="51000"/>
                    <a:satMod val="130000"/>
                  </a:srgbClr>
                </a:gs>
                <a:gs pos="80000">
                  <a:srgbClr val="000000">
                    <a:shade val="93000"/>
                    <a:satMod val="130000"/>
                  </a:srgbClr>
                </a:gs>
                <a:gs pos="100000">
                  <a:srgbClr val="000000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94" name="Rectangle 310273"/>
            <p:cNvSpPr txBox="1"/>
            <p:nvPr>
              <p:custDataLst>
                <p:tags r:id="rId54"/>
              </p:custDataLst>
            </p:nvPr>
          </p:nvSpPr>
          <p:spPr bwMode="gray">
            <a:xfrm>
              <a:off x="7129690" y="3570828"/>
              <a:ext cx="336631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Kidira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195" name="Freeform 132"/>
            <p:cNvSpPr/>
            <p:nvPr>
              <p:custDataLst>
                <p:tags r:id="rId55"/>
              </p:custDataLst>
            </p:nvPr>
          </p:nvSpPr>
          <p:spPr bwMode="gray">
            <a:xfrm>
              <a:off x="807214" y="3434833"/>
              <a:ext cx="7685624" cy="2489160"/>
            </a:xfrm>
            <a:custGeom>
              <a:avLst/>
              <a:gdLst>
                <a:gd name="connsiteX0" fmla="*/ 0 w 7700790"/>
                <a:gd name="connsiteY0" fmla="*/ 77118 h 2902944"/>
                <a:gd name="connsiteX1" fmla="*/ 165253 w 7700790"/>
                <a:gd name="connsiteY1" fmla="*/ 0 h 2902944"/>
                <a:gd name="connsiteX2" fmla="*/ 594911 w 7700790"/>
                <a:gd name="connsiteY2" fmla="*/ 44067 h 2902944"/>
                <a:gd name="connsiteX3" fmla="*/ 627962 w 7700790"/>
                <a:gd name="connsiteY3" fmla="*/ 5508 h 2902944"/>
                <a:gd name="connsiteX4" fmla="*/ 1129229 w 7700790"/>
                <a:gd name="connsiteY4" fmla="*/ 198303 h 2902944"/>
                <a:gd name="connsiteX5" fmla="*/ 1487277 w 7700790"/>
                <a:gd name="connsiteY5" fmla="*/ 622453 h 2902944"/>
                <a:gd name="connsiteX6" fmla="*/ 1569904 w 7700790"/>
                <a:gd name="connsiteY6" fmla="*/ 710588 h 2902944"/>
                <a:gd name="connsiteX7" fmla="*/ 2032612 w 7700790"/>
                <a:gd name="connsiteY7" fmla="*/ 919908 h 2902944"/>
                <a:gd name="connsiteX8" fmla="*/ 2467778 w 7700790"/>
                <a:gd name="connsiteY8" fmla="*/ 963976 h 2902944"/>
                <a:gd name="connsiteX9" fmla="*/ 2710149 w 7700790"/>
                <a:gd name="connsiteY9" fmla="*/ 1101686 h 2902944"/>
                <a:gd name="connsiteX10" fmla="*/ 3409721 w 7700790"/>
                <a:gd name="connsiteY10" fmla="*/ 1074144 h 2902944"/>
                <a:gd name="connsiteX11" fmla="*/ 4533441 w 7700790"/>
                <a:gd name="connsiteY11" fmla="*/ 1355074 h 2902944"/>
                <a:gd name="connsiteX12" fmla="*/ 6494443 w 7700790"/>
                <a:gd name="connsiteY12" fmla="*/ 2902944 h 2902944"/>
                <a:gd name="connsiteX13" fmla="*/ 7700790 w 7700790"/>
                <a:gd name="connsiteY13" fmla="*/ 1702106 h 2902944"/>
                <a:gd name="connsiteX0" fmla="*/ 0 w 7700790"/>
                <a:gd name="connsiteY0" fmla="*/ 77118 h 2712444"/>
                <a:gd name="connsiteX1" fmla="*/ 165253 w 7700790"/>
                <a:gd name="connsiteY1" fmla="*/ 0 h 2712444"/>
                <a:gd name="connsiteX2" fmla="*/ 594911 w 7700790"/>
                <a:gd name="connsiteY2" fmla="*/ 44067 h 2712444"/>
                <a:gd name="connsiteX3" fmla="*/ 627962 w 7700790"/>
                <a:gd name="connsiteY3" fmla="*/ 5508 h 2712444"/>
                <a:gd name="connsiteX4" fmla="*/ 1129229 w 7700790"/>
                <a:gd name="connsiteY4" fmla="*/ 198303 h 2712444"/>
                <a:gd name="connsiteX5" fmla="*/ 1487277 w 7700790"/>
                <a:gd name="connsiteY5" fmla="*/ 622453 h 2712444"/>
                <a:gd name="connsiteX6" fmla="*/ 1569904 w 7700790"/>
                <a:gd name="connsiteY6" fmla="*/ 710588 h 2712444"/>
                <a:gd name="connsiteX7" fmla="*/ 2032612 w 7700790"/>
                <a:gd name="connsiteY7" fmla="*/ 919908 h 2712444"/>
                <a:gd name="connsiteX8" fmla="*/ 2467778 w 7700790"/>
                <a:gd name="connsiteY8" fmla="*/ 963976 h 2712444"/>
                <a:gd name="connsiteX9" fmla="*/ 2710149 w 7700790"/>
                <a:gd name="connsiteY9" fmla="*/ 1101686 h 2712444"/>
                <a:gd name="connsiteX10" fmla="*/ 3409721 w 7700790"/>
                <a:gd name="connsiteY10" fmla="*/ 1074144 h 2712444"/>
                <a:gd name="connsiteX11" fmla="*/ 4533441 w 7700790"/>
                <a:gd name="connsiteY11" fmla="*/ 1355074 h 2712444"/>
                <a:gd name="connsiteX12" fmla="*/ 6455956 w 7700790"/>
                <a:gd name="connsiteY12" fmla="*/ 2712444 h 2712444"/>
                <a:gd name="connsiteX13" fmla="*/ 7700790 w 7700790"/>
                <a:gd name="connsiteY13" fmla="*/ 17021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487277 w 7752106"/>
                <a:gd name="connsiteY5" fmla="*/ 622453 h 2712444"/>
                <a:gd name="connsiteX6" fmla="*/ 1569904 w 7752106"/>
                <a:gd name="connsiteY6" fmla="*/ 710588 h 2712444"/>
                <a:gd name="connsiteX7" fmla="*/ 2032612 w 7752106"/>
                <a:gd name="connsiteY7" fmla="*/ 919908 h 2712444"/>
                <a:gd name="connsiteX8" fmla="*/ 2467778 w 7752106"/>
                <a:gd name="connsiteY8" fmla="*/ 963976 h 2712444"/>
                <a:gd name="connsiteX9" fmla="*/ 2710149 w 7752106"/>
                <a:gd name="connsiteY9" fmla="*/ 1101686 h 2712444"/>
                <a:gd name="connsiteX10" fmla="*/ 3409721 w 7752106"/>
                <a:gd name="connsiteY10" fmla="*/ 1074144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487277 w 7752106"/>
                <a:gd name="connsiteY5" fmla="*/ 622453 h 2712444"/>
                <a:gd name="connsiteX6" fmla="*/ 1569904 w 7752106"/>
                <a:gd name="connsiteY6" fmla="*/ 710588 h 2712444"/>
                <a:gd name="connsiteX7" fmla="*/ 2032612 w 7752106"/>
                <a:gd name="connsiteY7" fmla="*/ 919908 h 2712444"/>
                <a:gd name="connsiteX8" fmla="*/ 2467778 w 7752106"/>
                <a:gd name="connsiteY8" fmla="*/ 963976 h 2712444"/>
                <a:gd name="connsiteX9" fmla="*/ 2710149 w 7752106"/>
                <a:gd name="connsiteY9" fmla="*/ 11016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487277 w 7752106"/>
                <a:gd name="connsiteY5" fmla="*/ 622453 h 2712444"/>
                <a:gd name="connsiteX6" fmla="*/ 1569904 w 7752106"/>
                <a:gd name="connsiteY6" fmla="*/ 710588 h 2712444"/>
                <a:gd name="connsiteX7" fmla="*/ 2032612 w 7752106"/>
                <a:gd name="connsiteY7" fmla="*/ 919908 h 2712444"/>
                <a:gd name="connsiteX8" fmla="*/ 2467778 w 7752106"/>
                <a:gd name="connsiteY8" fmla="*/ 963976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487277 w 7752106"/>
                <a:gd name="connsiteY5" fmla="*/ 622453 h 2712444"/>
                <a:gd name="connsiteX6" fmla="*/ 1569904 w 7752106"/>
                <a:gd name="connsiteY6" fmla="*/ 710588 h 2712444"/>
                <a:gd name="connsiteX7" fmla="*/ 2032612 w 7752106"/>
                <a:gd name="connsiteY7" fmla="*/ 919908 h 2712444"/>
                <a:gd name="connsiteX8" fmla="*/ 2458157 w 7752106"/>
                <a:gd name="connsiteY8" fmla="*/ 925876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487277 w 7752106"/>
                <a:gd name="connsiteY5" fmla="*/ 622453 h 2712444"/>
                <a:gd name="connsiteX6" fmla="*/ 1569904 w 7752106"/>
                <a:gd name="connsiteY6" fmla="*/ 710588 h 2712444"/>
                <a:gd name="connsiteX7" fmla="*/ 2032612 w 7752106"/>
                <a:gd name="connsiteY7" fmla="*/ 919908 h 2712444"/>
                <a:gd name="connsiteX8" fmla="*/ 2448536 w 7752106"/>
                <a:gd name="connsiteY8" fmla="*/ 954451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487277 w 7752106"/>
                <a:gd name="connsiteY5" fmla="*/ 622453 h 2712444"/>
                <a:gd name="connsiteX6" fmla="*/ 1723851 w 7752106"/>
                <a:gd name="connsiteY6" fmla="*/ 739163 h 2712444"/>
                <a:gd name="connsiteX7" fmla="*/ 2032612 w 7752106"/>
                <a:gd name="connsiteY7" fmla="*/ 919908 h 2712444"/>
                <a:gd name="connsiteX8" fmla="*/ 2448536 w 7752106"/>
                <a:gd name="connsiteY8" fmla="*/ 954451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487277 w 7752106"/>
                <a:gd name="connsiteY5" fmla="*/ 622453 h 2712444"/>
                <a:gd name="connsiteX6" fmla="*/ 1685365 w 7752106"/>
                <a:gd name="connsiteY6" fmla="*/ 767738 h 2712444"/>
                <a:gd name="connsiteX7" fmla="*/ 2032612 w 7752106"/>
                <a:gd name="connsiteY7" fmla="*/ 919908 h 2712444"/>
                <a:gd name="connsiteX8" fmla="*/ 2448536 w 7752106"/>
                <a:gd name="connsiteY8" fmla="*/ 954451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487277 w 7752106"/>
                <a:gd name="connsiteY5" fmla="*/ 622453 h 2712444"/>
                <a:gd name="connsiteX6" fmla="*/ 1704608 w 7752106"/>
                <a:gd name="connsiteY6" fmla="*/ 739163 h 2712444"/>
                <a:gd name="connsiteX7" fmla="*/ 2032612 w 7752106"/>
                <a:gd name="connsiteY7" fmla="*/ 919908 h 2712444"/>
                <a:gd name="connsiteX8" fmla="*/ 2448536 w 7752106"/>
                <a:gd name="connsiteY8" fmla="*/ 954451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545007 w 7752106"/>
                <a:gd name="connsiteY5" fmla="*/ 574828 h 2712444"/>
                <a:gd name="connsiteX6" fmla="*/ 1704608 w 7752106"/>
                <a:gd name="connsiteY6" fmla="*/ 739163 h 2712444"/>
                <a:gd name="connsiteX7" fmla="*/ 2032612 w 7752106"/>
                <a:gd name="connsiteY7" fmla="*/ 919908 h 2712444"/>
                <a:gd name="connsiteX8" fmla="*/ 2448536 w 7752106"/>
                <a:gd name="connsiteY8" fmla="*/ 954451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129229 w 7752106"/>
                <a:gd name="connsiteY4" fmla="*/ 198303 h 2712444"/>
                <a:gd name="connsiteX5" fmla="*/ 1545007 w 7752106"/>
                <a:gd name="connsiteY5" fmla="*/ 574828 h 2712444"/>
                <a:gd name="connsiteX6" fmla="*/ 1704608 w 7752106"/>
                <a:gd name="connsiteY6" fmla="*/ 739163 h 2712444"/>
                <a:gd name="connsiteX7" fmla="*/ 2032612 w 7752106"/>
                <a:gd name="connsiteY7" fmla="*/ 919908 h 2712444"/>
                <a:gd name="connsiteX8" fmla="*/ 2448536 w 7752106"/>
                <a:gd name="connsiteY8" fmla="*/ 954451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627962 w 7752106"/>
                <a:gd name="connsiteY3" fmla="*/ 5508 h 2712444"/>
                <a:gd name="connsiteX4" fmla="*/ 1321663 w 7752106"/>
                <a:gd name="connsiteY4" fmla="*/ 322128 h 2712444"/>
                <a:gd name="connsiteX5" fmla="*/ 1545007 w 7752106"/>
                <a:gd name="connsiteY5" fmla="*/ 574828 h 2712444"/>
                <a:gd name="connsiteX6" fmla="*/ 1704608 w 7752106"/>
                <a:gd name="connsiteY6" fmla="*/ 739163 h 2712444"/>
                <a:gd name="connsiteX7" fmla="*/ 2032612 w 7752106"/>
                <a:gd name="connsiteY7" fmla="*/ 919908 h 2712444"/>
                <a:gd name="connsiteX8" fmla="*/ 2448536 w 7752106"/>
                <a:gd name="connsiteY8" fmla="*/ 954451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594911 w 7752106"/>
                <a:gd name="connsiteY2" fmla="*/ 44067 h 2712444"/>
                <a:gd name="connsiteX3" fmla="*/ 810775 w 7752106"/>
                <a:gd name="connsiteY3" fmla="*/ 186483 h 2712444"/>
                <a:gd name="connsiteX4" fmla="*/ 1321663 w 7752106"/>
                <a:gd name="connsiteY4" fmla="*/ 322128 h 2712444"/>
                <a:gd name="connsiteX5" fmla="*/ 1545007 w 7752106"/>
                <a:gd name="connsiteY5" fmla="*/ 574828 h 2712444"/>
                <a:gd name="connsiteX6" fmla="*/ 1704608 w 7752106"/>
                <a:gd name="connsiteY6" fmla="*/ 739163 h 2712444"/>
                <a:gd name="connsiteX7" fmla="*/ 2032612 w 7752106"/>
                <a:gd name="connsiteY7" fmla="*/ 919908 h 2712444"/>
                <a:gd name="connsiteX8" fmla="*/ 2448536 w 7752106"/>
                <a:gd name="connsiteY8" fmla="*/ 954451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77118 h 2712444"/>
                <a:gd name="connsiteX1" fmla="*/ 165253 w 7752106"/>
                <a:gd name="connsiteY1" fmla="*/ 0 h 2712444"/>
                <a:gd name="connsiteX2" fmla="*/ 768102 w 7752106"/>
                <a:gd name="connsiteY2" fmla="*/ 263142 h 2712444"/>
                <a:gd name="connsiteX3" fmla="*/ 810775 w 7752106"/>
                <a:gd name="connsiteY3" fmla="*/ 186483 h 2712444"/>
                <a:gd name="connsiteX4" fmla="*/ 1321663 w 7752106"/>
                <a:gd name="connsiteY4" fmla="*/ 322128 h 2712444"/>
                <a:gd name="connsiteX5" fmla="*/ 1545007 w 7752106"/>
                <a:gd name="connsiteY5" fmla="*/ 574828 h 2712444"/>
                <a:gd name="connsiteX6" fmla="*/ 1704608 w 7752106"/>
                <a:gd name="connsiteY6" fmla="*/ 739163 h 2712444"/>
                <a:gd name="connsiteX7" fmla="*/ 2032612 w 7752106"/>
                <a:gd name="connsiteY7" fmla="*/ 919908 h 2712444"/>
                <a:gd name="connsiteX8" fmla="*/ 2448536 w 7752106"/>
                <a:gd name="connsiteY8" fmla="*/ 954451 h 2712444"/>
                <a:gd name="connsiteX9" fmla="*/ 2767879 w 7752106"/>
                <a:gd name="connsiteY9" fmla="*/ 1063586 h 2712444"/>
                <a:gd name="connsiteX10" fmla="*/ 3390478 w 7752106"/>
                <a:gd name="connsiteY10" fmla="*/ 1045569 h 2712444"/>
                <a:gd name="connsiteX11" fmla="*/ 4533441 w 7752106"/>
                <a:gd name="connsiteY11" fmla="*/ 1355074 h 2712444"/>
                <a:gd name="connsiteX12" fmla="*/ 6455956 w 7752106"/>
                <a:gd name="connsiteY12" fmla="*/ 2712444 h 2712444"/>
                <a:gd name="connsiteX13" fmla="*/ 7752106 w 7752106"/>
                <a:gd name="connsiteY13" fmla="*/ 1600506 h 2712444"/>
                <a:gd name="connsiteX0" fmla="*/ 0 w 7752106"/>
                <a:gd name="connsiteY0" fmla="*/ 0 h 2635326"/>
                <a:gd name="connsiteX1" fmla="*/ 444282 w 7752106"/>
                <a:gd name="connsiteY1" fmla="*/ 132432 h 2635326"/>
                <a:gd name="connsiteX2" fmla="*/ 768102 w 7752106"/>
                <a:gd name="connsiteY2" fmla="*/ 186024 h 2635326"/>
                <a:gd name="connsiteX3" fmla="*/ 810775 w 7752106"/>
                <a:gd name="connsiteY3" fmla="*/ 109365 h 2635326"/>
                <a:gd name="connsiteX4" fmla="*/ 1321663 w 7752106"/>
                <a:gd name="connsiteY4" fmla="*/ 245010 h 2635326"/>
                <a:gd name="connsiteX5" fmla="*/ 1545007 w 7752106"/>
                <a:gd name="connsiteY5" fmla="*/ 497710 h 2635326"/>
                <a:gd name="connsiteX6" fmla="*/ 1704608 w 7752106"/>
                <a:gd name="connsiteY6" fmla="*/ 662045 h 2635326"/>
                <a:gd name="connsiteX7" fmla="*/ 2032612 w 7752106"/>
                <a:gd name="connsiteY7" fmla="*/ 842790 h 2635326"/>
                <a:gd name="connsiteX8" fmla="*/ 2448536 w 7752106"/>
                <a:gd name="connsiteY8" fmla="*/ 877333 h 2635326"/>
                <a:gd name="connsiteX9" fmla="*/ 2767879 w 7752106"/>
                <a:gd name="connsiteY9" fmla="*/ 986468 h 2635326"/>
                <a:gd name="connsiteX10" fmla="*/ 3390478 w 7752106"/>
                <a:gd name="connsiteY10" fmla="*/ 968451 h 2635326"/>
                <a:gd name="connsiteX11" fmla="*/ 4533441 w 7752106"/>
                <a:gd name="connsiteY11" fmla="*/ 1277956 h 2635326"/>
                <a:gd name="connsiteX12" fmla="*/ 6455956 w 7752106"/>
                <a:gd name="connsiteY12" fmla="*/ 2635326 h 2635326"/>
                <a:gd name="connsiteX13" fmla="*/ 7752106 w 7752106"/>
                <a:gd name="connsiteY13" fmla="*/ 1523388 h 2635326"/>
                <a:gd name="connsiteX0" fmla="*/ 0 w 7405725"/>
                <a:gd name="connsiteY0" fmla="*/ 100185 h 2525961"/>
                <a:gd name="connsiteX1" fmla="*/ 97901 w 7405725"/>
                <a:gd name="connsiteY1" fmla="*/ 23067 h 2525961"/>
                <a:gd name="connsiteX2" fmla="*/ 421721 w 7405725"/>
                <a:gd name="connsiteY2" fmla="*/ 76659 h 2525961"/>
                <a:gd name="connsiteX3" fmla="*/ 464394 w 7405725"/>
                <a:gd name="connsiteY3" fmla="*/ 0 h 2525961"/>
                <a:gd name="connsiteX4" fmla="*/ 975282 w 7405725"/>
                <a:gd name="connsiteY4" fmla="*/ 135645 h 2525961"/>
                <a:gd name="connsiteX5" fmla="*/ 1198626 w 7405725"/>
                <a:gd name="connsiteY5" fmla="*/ 388345 h 2525961"/>
                <a:gd name="connsiteX6" fmla="*/ 1358227 w 7405725"/>
                <a:gd name="connsiteY6" fmla="*/ 552680 h 2525961"/>
                <a:gd name="connsiteX7" fmla="*/ 1686231 w 7405725"/>
                <a:gd name="connsiteY7" fmla="*/ 733425 h 2525961"/>
                <a:gd name="connsiteX8" fmla="*/ 2102155 w 7405725"/>
                <a:gd name="connsiteY8" fmla="*/ 767968 h 2525961"/>
                <a:gd name="connsiteX9" fmla="*/ 2421498 w 7405725"/>
                <a:gd name="connsiteY9" fmla="*/ 877103 h 2525961"/>
                <a:gd name="connsiteX10" fmla="*/ 3044097 w 7405725"/>
                <a:gd name="connsiteY10" fmla="*/ 859086 h 2525961"/>
                <a:gd name="connsiteX11" fmla="*/ 4187060 w 7405725"/>
                <a:gd name="connsiteY11" fmla="*/ 1168591 h 2525961"/>
                <a:gd name="connsiteX12" fmla="*/ 6109575 w 7405725"/>
                <a:gd name="connsiteY12" fmla="*/ 2525961 h 2525961"/>
                <a:gd name="connsiteX13" fmla="*/ 7405725 w 7405725"/>
                <a:gd name="connsiteY13" fmla="*/ 1414023 h 2525961"/>
                <a:gd name="connsiteX0" fmla="*/ 0 w 7405725"/>
                <a:gd name="connsiteY0" fmla="*/ 100185 h 2525961"/>
                <a:gd name="connsiteX1" fmla="*/ 182572 w 7405725"/>
                <a:gd name="connsiteY1" fmla="*/ 38307 h 2525961"/>
                <a:gd name="connsiteX2" fmla="*/ 421721 w 7405725"/>
                <a:gd name="connsiteY2" fmla="*/ 76659 h 2525961"/>
                <a:gd name="connsiteX3" fmla="*/ 464394 w 7405725"/>
                <a:gd name="connsiteY3" fmla="*/ 0 h 2525961"/>
                <a:gd name="connsiteX4" fmla="*/ 975282 w 7405725"/>
                <a:gd name="connsiteY4" fmla="*/ 135645 h 2525961"/>
                <a:gd name="connsiteX5" fmla="*/ 1198626 w 7405725"/>
                <a:gd name="connsiteY5" fmla="*/ 388345 h 2525961"/>
                <a:gd name="connsiteX6" fmla="*/ 1358227 w 7405725"/>
                <a:gd name="connsiteY6" fmla="*/ 552680 h 2525961"/>
                <a:gd name="connsiteX7" fmla="*/ 1686231 w 7405725"/>
                <a:gd name="connsiteY7" fmla="*/ 733425 h 2525961"/>
                <a:gd name="connsiteX8" fmla="*/ 2102155 w 7405725"/>
                <a:gd name="connsiteY8" fmla="*/ 767968 h 2525961"/>
                <a:gd name="connsiteX9" fmla="*/ 2421498 w 7405725"/>
                <a:gd name="connsiteY9" fmla="*/ 877103 h 2525961"/>
                <a:gd name="connsiteX10" fmla="*/ 3044097 w 7405725"/>
                <a:gd name="connsiteY10" fmla="*/ 859086 h 2525961"/>
                <a:gd name="connsiteX11" fmla="*/ 4187060 w 7405725"/>
                <a:gd name="connsiteY11" fmla="*/ 1168591 h 2525961"/>
                <a:gd name="connsiteX12" fmla="*/ 6109575 w 7405725"/>
                <a:gd name="connsiteY12" fmla="*/ 2525961 h 2525961"/>
                <a:gd name="connsiteX13" fmla="*/ 7405725 w 7405725"/>
                <a:gd name="connsiteY13" fmla="*/ 1414023 h 2525961"/>
                <a:gd name="connsiteX0" fmla="*/ 0 w 7398028"/>
                <a:gd name="connsiteY0" fmla="*/ 69705 h 2525961"/>
                <a:gd name="connsiteX1" fmla="*/ 174875 w 7398028"/>
                <a:gd name="connsiteY1" fmla="*/ 38307 h 2525961"/>
                <a:gd name="connsiteX2" fmla="*/ 414024 w 7398028"/>
                <a:gd name="connsiteY2" fmla="*/ 76659 h 2525961"/>
                <a:gd name="connsiteX3" fmla="*/ 456697 w 7398028"/>
                <a:gd name="connsiteY3" fmla="*/ 0 h 2525961"/>
                <a:gd name="connsiteX4" fmla="*/ 967585 w 7398028"/>
                <a:gd name="connsiteY4" fmla="*/ 135645 h 2525961"/>
                <a:gd name="connsiteX5" fmla="*/ 1190929 w 7398028"/>
                <a:gd name="connsiteY5" fmla="*/ 388345 h 2525961"/>
                <a:gd name="connsiteX6" fmla="*/ 1350530 w 7398028"/>
                <a:gd name="connsiteY6" fmla="*/ 552680 h 2525961"/>
                <a:gd name="connsiteX7" fmla="*/ 1678534 w 7398028"/>
                <a:gd name="connsiteY7" fmla="*/ 733425 h 2525961"/>
                <a:gd name="connsiteX8" fmla="*/ 2094458 w 7398028"/>
                <a:gd name="connsiteY8" fmla="*/ 767968 h 2525961"/>
                <a:gd name="connsiteX9" fmla="*/ 2413801 w 7398028"/>
                <a:gd name="connsiteY9" fmla="*/ 877103 h 2525961"/>
                <a:gd name="connsiteX10" fmla="*/ 3036400 w 7398028"/>
                <a:gd name="connsiteY10" fmla="*/ 859086 h 2525961"/>
                <a:gd name="connsiteX11" fmla="*/ 4179363 w 7398028"/>
                <a:gd name="connsiteY11" fmla="*/ 1168591 h 2525961"/>
                <a:gd name="connsiteX12" fmla="*/ 6101878 w 7398028"/>
                <a:gd name="connsiteY12" fmla="*/ 2525961 h 2525961"/>
                <a:gd name="connsiteX13" fmla="*/ 7398028 w 7398028"/>
                <a:gd name="connsiteY13" fmla="*/ 1414023 h 2525961"/>
                <a:gd name="connsiteX0" fmla="*/ 0 w 7398028"/>
                <a:gd name="connsiteY0" fmla="*/ 62085 h 2518341"/>
                <a:gd name="connsiteX1" fmla="*/ 174875 w 7398028"/>
                <a:gd name="connsiteY1" fmla="*/ 30687 h 2518341"/>
                <a:gd name="connsiteX2" fmla="*/ 414024 w 7398028"/>
                <a:gd name="connsiteY2" fmla="*/ 69039 h 2518341"/>
                <a:gd name="connsiteX3" fmla="*/ 525973 w 7398028"/>
                <a:gd name="connsiteY3" fmla="*/ 0 h 2518341"/>
                <a:gd name="connsiteX4" fmla="*/ 967585 w 7398028"/>
                <a:gd name="connsiteY4" fmla="*/ 128025 h 2518341"/>
                <a:gd name="connsiteX5" fmla="*/ 1190929 w 7398028"/>
                <a:gd name="connsiteY5" fmla="*/ 380725 h 2518341"/>
                <a:gd name="connsiteX6" fmla="*/ 1350530 w 7398028"/>
                <a:gd name="connsiteY6" fmla="*/ 545060 h 2518341"/>
                <a:gd name="connsiteX7" fmla="*/ 1678534 w 7398028"/>
                <a:gd name="connsiteY7" fmla="*/ 725805 h 2518341"/>
                <a:gd name="connsiteX8" fmla="*/ 2094458 w 7398028"/>
                <a:gd name="connsiteY8" fmla="*/ 760348 h 2518341"/>
                <a:gd name="connsiteX9" fmla="*/ 2413801 w 7398028"/>
                <a:gd name="connsiteY9" fmla="*/ 869483 h 2518341"/>
                <a:gd name="connsiteX10" fmla="*/ 3036400 w 7398028"/>
                <a:gd name="connsiteY10" fmla="*/ 851466 h 2518341"/>
                <a:gd name="connsiteX11" fmla="*/ 4179363 w 7398028"/>
                <a:gd name="connsiteY11" fmla="*/ 1160971 h 2518341"/>
                <a:gd name="connsiteX12" fmla="*/ 6101878 w 7398028"/>
                <a:gd name="connsiteY12" fmla="*/ 2518341 h 2518341"/>
                <a:gd name="connsiteX13" fmla="*/ 7398028 w 7398028"/>
                <a:gd name="connsiteY13" fmla="*/ 1406403 h 2518341"/>
                <a:gd name="connsiteX0" fmla="*/ 0 w 7398028"/>
                <a:gd name="connsiteY0" fmla="*/ 62085 h 2518341"/>
                <a:gd name="connsiteX1" fmla="*/ 174875 w 7398028"/>
                <a:gd name="connsiteY1" fmla="*/ 30687 h 2518341"/>
                <a:gd name="connsiteX2" fmla="*/ 444814 w 7398028"/>
                <a:gd name="connsiteY2" fmla="*/ 61419 h 2518341"/>
                <a:gd name="connsiteX3" fmla="*/ 525973 w 7398028"/>
                <a:gd name="connsiteY3" fmla="*/ 0 h 2518341"/>
                <a:gd name="connsiteX4" fmla="*/ 967585 w 7398028"/>
                <a:gd name="connsiteY4" fmla="*/ 128025 h 2518341"/>
                <a:gd name="connsiteX5" fmla="*/ 1190929 w 7398028"/>
                <a:gd name="connsiteY5" fmla="*/ 380725 h 2518341"/>
                <a:gd name="connsiteX6" fmla="*/ 1350530 w 7398028"/>
                <a:gd name="connsiteY6" fmla="*/ 545060 h 2518341"/>
                <a:gd name="connsiteX7" fmla="*/ 1678534 w 7398028"/>
                <a:gd name="connsiteY7" fmla="*/ 725805 h 2518341"/>
                <a:gd name="connsiteX8" fmla="*/ 2094458 w 7398028"/>
                <a:gd name="connsiteY8" fmla="*/ 760348 h 2518341"/>
                <a:gd name="connsiteX9" fmla="*/ 2413801 w 7398028"/>
                <a:gd name="connsiteY9" fmla="*/ 869483 h 2518341"/>
                <a:gd name="connsiteX10" fmla="*/ 3036400 w 7398028"/>
                <a:gd name="connsiteY10" fmla="*/ 851466 h 2518341"/>
                <a:gd name="connsiteX11" fmla="*/ 4179363 w 7398028"/>
                <a:gd name="connsiteY11" fmla="*/ 1160971 h 2518341"/>
                <a:gd name="connsiteX12" fmla="*/ 6101878 w 7398028"/>
                <a:gd name="connsiteY12" fmla="*/ 2518341 h 2518341"/>
                <a:gd name="connsiteX13" fmla="*/ 7398028 w 7398028"/>
                <a:gd name="connsiteY13" fmla="*/ 1406403 h 2518341"/>
                <a:gd name="connsiteX0" fmla="*/ 0 w 7398028"/>
                <a:gd name="connsiteY0" fmla="*/ 62085 h 2481395"/>
                <a:gd name="connsiteX1" fmla="*/ 174875 w 7398028"/>
                <a:gd name="connsiteY1" fmla="*/ 30687 h 2481395"/>
                <a:gd name="connsiteX2" fmla="*/ 444814 w 7398028"/>
                <a:gd name="connsiteY2" fmla="*/ 61419 h 2481395"/>
                <a:gd name="connsiteX3" fmla="*/ 525973 w 7398028"/>
                <a:gd name="connsiteY3" fmla="*/ 0 h 2481395"/>
                <a:gd name="connsiteX4" fmla="*/ 967585 w 7398028"/>
                <a:gd name="connsiteY4" fmla="*/ 128025 h 2481395"/>
                <a:gd name="connsiteX5" fmla="*/ 1190929 w 7398028"/>
                <a:gd name="connsiteY5" fmla="*/ 380725 h 2481395"/>
                <a:gd name="connsiteX6" fmla="*/ 1350530 w 7398028"/>
                <a:gd name="connsiteY6" fmla="*/ 545060 h 2481395"/>
                <a:gd name="connsiteX7" fmla="*/ 1678534 w 7398028"/>
                <a:gd name="connsiteY7" fmla="*/ 725805 h 2481395"/>
                <a:gd name="connsiteX8" fmla="*/ 2094458 w 7398028"/>
                <a:gd name="connsiteY8" fmla="*/ 760348 h 2481395"/>
                <a:gd name="connsiteX9" fmla="*/ 2413801 w 7398028"/>
                <a:gd name="connsiteY9" fmla="*/ 869483 h 2481395"/>
                <a:gd name="connsiteX10" fmla="*/ 3036400 w 7398028"/>
                <a:gd name="connsiteY10" fmla="*/ 851466 h 2481395"/>
                <a:gd name="connsiteX11" fmla="*/ 4179363 w 7398028"/>
                <a:gd name="connsiteY11" fmla="*/ 1160971 h 2481395"/>
                <a:gd name="connsiteX12" fmla="*/ 6111208 w 7398028"/>
                <a:gd name="connsiteY12" fmla="*/ 2481395 h 2481395"/>
                <a:gd name="connsiteX13" fmla="*/ 7398028 w 7398028"/>
                <a:gd name="connsiteY13" fmla="*/ 1406403 h 2481395"/>
                <a:gd name="connsiteX0" fmla="*/ 0 w 7763653"/>
                <a:gd name="connsiteY0" fmla="*/ 0 h 2508210"/>
                <a:gd name="connsiteX1" fmla="*/ 540500 w 7763653"/>
                <a:gd name="connsiteY1" fmla="*/ 57502 h 2508210"/>
                <a:gd name="connsiteX2" fmla="*/ 810439 w 7763653"/>
                <a:gd name="connsiteY2" fmla="*/ 88234 h 2508210"/>
                <a:gd name="connsiteX3" fmla="*/ 891598 w 7763653"/>
                <a:gd name="connsiteY3" fmla="*/ 26815 h 2508210"/>
                <a:gd name="connsiteX4" fmla="*/ 1333210 w 7763653"/>
                <a:gd name="connsiteY4" fmla="*/ 154840 h 2508210"/>
                <a:gd name="connsiteX5" fmla="*/ 1556554 w 7763653"/>
                <a:gd name="connsiteY5" fmla="*/ 407540 h 2508210"/>
                <a:gd name="connsiteX6" fmla="*/ 1716155 w 7763653"/>
                <a:gd name="connsiteY6" fmla="*/ 571875 h 2508210"/>
                <a:gd name="connsiteX7" fmla="*/ 2044159 w 7763653"/>
                <a:gd name="connsiteY7" fmla="*/ 752620 h 2508210"/>
                <a:gd name="connsiteX8" fmla="*/ 2460083 w 7763653"/>
                <a:gd name="connsiteY8" fmla="*/ 787163 h 2508210"/>
                <a:gd name="connsiteX9" fmla="*/ 2779426 w 7763653"/>
                <a:gd name="connsiteY9" fmla="*/ 896298 h 2508210"/>
                <a:gd name="connsiteX10" fmla="*/ 3402025 w 7763653"/>
                <a:gd name="connsiteY10" fmla="*/ 878281 h 2508210"/>
                <a:gd name="connsiteX11" fmla="*/ 4544988 w 7763653"/>
                <a:gd name="connsiteY11" fmla="*/ 1187786 h 2508210"/>
                <a:gd name="connsiteX12" fmla="*/ 6476833 w 7763653"/>
                <a:gd name="connsiteY12" fmla="*/ 2508210 h 2508210"/>
                <a:gd name="connsiteX13" fmla="*/ 7763653 w 7763653"/>
                <a:gd name="connsiteY13" fmla="*/ 1433218 h 2508210"/>
                <a:gd name="connsiteX0" fmla="*/ 0 w 7737995"/>
                <a:gd name="connsiteY0" fmla="*/ 0 h 2482810"/>
                <a:gd name="connsiteX1" fmla="*/ 514842 w 7737995"/>
                <a:gd name="connsiteY1" fmla="*/ 32102 h 2482810"/>
                <a:gd name="connsiteX2" fmla="*/ 784781 w 7737995"/>
                <a:gd name="connsiteY2" fmla="*/ 62834 h 2482810"/>
                <a:gd name="connsiteX3" fmla="*/ 865940 w 7737995"/>
                <a:gd name="connsiteY3" fmla="*/ 1415 h 2482810"/>
                <a:gd name="connsiteX4" fmla="*/ 1307552 w 7737995"/>
                <a:gd name="connsiteY4" fmla="*/ 129440 h 2482810"/>
                <a:gd name="connsiteX5" fmla="*/ 1530896 w 7737995"/>
                <a:gd name="connsiteY5" fmla="*/ 382140 h 2482810"/>
                <a:gd name="connsiteX6" fmla="*/ 1690497 w 7737995"/>
                <a:gd name="connsiteY6" fmla="*/ 546475 h 2482810"/>
                <a:gd name="connsiteX7" fmla="*/ 2018501 w 7737995"/>
                <a:gd name="connsiteY7" fmla="*/ 727220 h 2482810"/>
                <a:gd name="connsiteX8" fmla="*/ 2434425 w 7737995"/>
                <a:gd name="connsiteY8" fmla="*/ 761763 h 2482810"/>
                <a:gd name="connsiteX9" fmla="*/ 2753768 w 7737995"/>
                <a:gd name="connsiteY9" fmla="*/ 870898 h 2482810"/>
                <a:gd name="connsiteX10" fmla="*/ 3376367 w 7737995"/>
                <a:gd name="connsiteY10" fmla="*/ 852881 h 2482810"/>
                <a:gd name="connsiteX11" fmla="*/ 4519330 w 7737995"/>
                <a:gd name="connsiteY11" fmla="*/ 1162386 h 2482810"/>
                <a:gd name="connsiteX12" fmla="*/ 6451175 w 7737995"/>
                <a:gd name="connsiteY12" fmla="*/ 2482810 h 2482810"/>
                <a:gd name="connsiteX13" fmla="*/ 7737995 w 7737995"/>
                <a:gd name="connsiteY13" fmla="*/ 1407818 h 2482810"/>
                <a:gd name="connsiteX0" fmla="*/ 0 w 7763653"/>
                <a:gd name="connsiteY0" fmla="*/ 0 h 2489160"/>
                <a:gd name="connsiteX1" fmla="*/ 540500 w 7763653"/>
                <a:gd name="connsiteY1" fmla="*/ 38452 h 2489160"/>
                <a:gd name="connsiteX2" fmla="*/ 810439 w 7763653"/>
                <a:gd name="connsiteY2" fmla="*/ 69184 h 2489160"/>
                <a:gd name="connsiteX3" fmla="*/ 891598 w 7763653"/>
                <a:gd name="connsiteY3" fmla="*/ 7765 h 2489160"/>
                <a:gd name="connsiteX4" fmla="*/ 1333210 w 7763653"/>
                <a:gd name="connsiteY4" fmla="*/ 135790 h 2489160"/>
                <a:gd name="connsiteX5" fmla="*/ 1556554 w 7763653"/>
                <a:gd name="connsiteY5" fmla="*/ 388490 h 2489160"/>
                <a:gd name="connsiteX6" fmla="*/ 1716155 w 7763653"/>
                <a:gd name="connsiteY6" fmla="*/ 552825 h 2489160"/>
                <a:gd name="connsiteX7" fmla="*/ 2044159 w 7763653"/>
                <a:gd name="connsiteY7" fmla="*/ 733570 h 2489160"/>
                <a:gd name="connsiteX8" fmla="*/ 2460083 w 7763653"/>
                <a:gd name="connsiteY8" fmla="*/ 768113 h 2489160"/>
                <a:gd name="connsiteX9" fmla="*/ 2779426 w 7763653"/>
                <a:gd name="connsiteY9" fmla="*/ 877248 h 2489160"/>
                <a:gd name="connsiteX10" fmla="*/ 3402025 w 7763653"/>
                <a:gd name="connsiteY10" fmla="*/ 859231 h 2489160"/>
                <a:gd name="connsiteX11" fmla="*/ 4544988 w 7763653"/>
                <a:gd name="connsiteY11" fmla="*/ 1168736 h 2489160"/>
                <a:gd name="connsiteX12" fmla="*/ 6476833 w 7763653"/>
                <a:gd name="connsiteY12" fmla="*/ 2489160 h 2489160"/>
                <a:gd name="connsiteX13" fmla="*/ 7763653 w 7763653"/>
                <a:gd name="connsiteY13" fmla="*/ 1414168 h 2489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763653" h="2489160">
                  <a:moveTo>
                    <a:pt x="0" y="0"/>
                  </a:moveTo>
                  <a:lnTo>
                    <a:pt x="540500" y="38452"/>
                  </a:lnTo>
                  <a:lnTo>
                    <a:pt x="810439" y="69184"/>
                  </a:lnTo>
                  <a:lnTo>
                    <a:pt x="891598" y="7765"/>
                  </a:lnTo>
                  <a:lnTo>
                    <a:pt x="1333210" y="135790"/>
                  </a:lnTo>
                  <a:cubicBezTo>
                    <a:pt x="1471803" y="261298"/>
                    <a:pt x="1475691" y="215357"/>
                    <a:pt x="1556554" y="388490"/>
                  </a:cubicBezTo>
                  <a:lnTo>
                    <a:pt x="1716155" y="552825"/>
                  </a:lnTo>
                  <a:lnTo>
                    <a:pt x="2044159" y="733570"/>
                  </a:lnTo>
                  <a:lnTo>
                    <a:pt x="2460083" y="768113"/>
                  </a:lnTo>
                  <a:lnTo>
                    <a:pt x="2779426" y="877248"/>
                  </a:lnTo>
                  <a:lnTo>
                    <a:pt x="3402025" y="859231"/>
                  </a:lnTo>
                  <a:lnTo>
                    <a:pt x="4544988" y="1168736"/>
                  </a:lnTo>
                  <a:lnTo>
                    <a:pt x="6476833" y="2489160"/>
                  </a:lnTo>
                  <a:cubicBezTo>
                    <a:pt x="6878949" y="2088881"/>
                    <a:pt x="7361537" y="1814447"/>
                    <a:pt x="7763653" y="1414168"/>
                  </a:cubicBezTo>
                </a:path>
              </a:pathLst>
            </a:custGeom>
            <a:noFill/>
            <a:ln w="38100" cap="flat" cmpd="sng" algn="ctr">
              <a:solidFill>
                <a:srgbClr val="FF0000"/>
              </a:solidFill>
              <a:prstDash val="solid"/>
              <a:tailEnd type="arrow" w="lg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96" name="Rectangle 310273"/>
            <p:cNvSpPr txBox="1"/>
            <p:nvPr>
              <p:custDataLst>
                <p:tags r:id="rId56"/>
              </p:custDataLst>
            </p:nvPr>
          </p:nvSpPr>
          <p:spPr bwMode="gray">
            <a:xfrm>
              <a:off x="1684828" y="3182430"/>
              <a:ext cx="57227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000000"/>
                  </a:solidFill>
                  <a:latin typeface="Cambria"/>
                </a:rPr>
                <a:t>Tivaouane</a:t>
              </a:r>
              <a:endParaRPr lang="fr-FR" sz="1000" dirty="0">
                <a:solidFill>
                  <a:srgbClr val="000000"/>
                </a:solidFill>
                <a:latin typeface="Cambria"/>
              </a:endParaRPr>
            </a:p>
          </p:txBody>
        </p:sp>
        <p:sp>
          <p:nvSpPr>
            <p:cNvPr id="197" name="Freeform 103"/>
            <p:cNvSpPr/>
            <p:nvPr>
              <p:custDataLst>
                <p:tags r:id="rId57"/>
              </p:custDataLst>
            </p:nvPr>
          </p:nvSpPr>
          <p:spPr bwMode="gray">
            <a:xfrm>
              <a:off x="1436150" y="3308350"/>
              <a:ext cx="1138440" cy="755646"/>
            </a:xfrm>
            <a:custGeom>
              <a:avLst/>
              <a:gdLst>
                <a:gd name="connsiteX0" fmla="*/ 0 w 1211855"/>
                <a:gd name="connsiteY0" fmla="*/ 0 h 986010"/>
                <a:gd name="connsiteX1" fmla="*/ 77118 w 1211855"/>
                <a:gd name="connsiteY1" fmla="*/ 82627 h 986010"/>
                <a:gd name="connsiteX2" fmla="*/ 308472 w 1211855"/>
                <a:gd name="connsiteY2" fmla="*/ 60593 h 986010"/>
                <a:gd name="connsiteX3" fmla="*/ 886858 w 1211855"/>
                <a:gd name="connsiteY3" fmla="*/ 209321 h 986010"/>
                <a:gd name="connsiteX4" fmla="*/ 1189822 w 1211855"/>
                <a:gd name="connsiteY4" fmla="*/ 605928 h 986010"/>
                <a:gd name="connsiteX5" fmla="*/ 1211855 w 1211855"/>
                <a:gd name="connsiteY5" fmla="*/ 765672 h 986010"/>
                <a:gd name="connsiteX6" fmla="*/ 1030077 w 1211855"/>
                <a:gd name="connsiteY6" fmla="*/ 986010 h 986010"/>
                <a:gd name="connsiteX0" fmla="*/ 0 w 1230905"/>
                <a:gd name="connsiteY0" fmla="*/ 0 h 986010"/>
                <a:gd name="connsiteX1" fmla="*/ 77118 w 1230905"/>
                <a:gd name="connsiteY1" fmla="*/ 82627 h 986010"/>
                <a:gd name="connsiteX2" fmla="*/ 308472 w 1230905"/>
                <a:gd name="connsiteY2" fmla="*/ 60593 h 986010"/>
                <a:gd name="connsiteX3" fmla="*/ 886858 w 1230905"/>
                <a:gd name="connsiteY3" fmla="*/ 209321 h 986010"/>
                <a:gd name="connsiteX4" fmla="*/ 1189822 w 1230905"/>
                <a:gd name="connsiteY4" fmla="*/ 605928 h 986010"/>
                <a:gd name="connsiteX5" fmla="*/ 1230905 w 1230905"/>
                <a:gd name="connsiteY5" fmla="*/ 739478 h 986010"/>
                <a:gd name="connsiteX6" fmla="*/ 1030077 w 1230905"/>
                <a:gd name="connsiteY6" fmla="*/ 986010 h 986010"/>
                <a:gd name="connsiteX0" fmla="*/ 0 w 1230905"/>
                <a:gd name="connsiteY0" fmla="*/ 0 h 878854"/>
                <a:gd name="connsiteX1" fmla="*/ 77118 w 1230905"/>
                <a:gd name="connsiteY1" fmla="*/ 82627 h 878854"/>
                <a:gd name="connsiteX2" fmla="*/ 308472 w 1230905"/>
                <a:gd name="connsiteY2" fmla="*/ 60593 h 878854"/>
                <a:gd name="connsiteX3" fmla="*/ 886858 w 1230905"/>
                <a:gd name="connsiteY3" fmla="*/ 209321 h 878854"/>
                <a:gd name="connsiteX4" fmla="*/ 1189822 w 1230905"/>
                <a:gd name="connsiteY4" fmla="*/ 605928 h 878854"/>
                <a:gd name="connsiteX5" fmla="*/ 1230905 w 1230905"/>
                <a:gd name="connsiteY5" fmla="*/ 739478 h 878854"/>
                <a:gd name="connsiteX6" fmla="*/ 1075320 w 1230905"/>
                <a:gd name="connsiteY6" fmla="*/ 878854 h 878854"/>
                <a:gd name="connsiteX0" fmla="*/ 0 w 1230905"/>
                <a:gd name="connsiteY0" fmla="*/ 0 h 828848"/>
                <a:gd name="connsiteX1" fmla="*/ 77118 w 1230905"/>
                <a:gd name="connsiteY1" fmla="*/ 82627 h 828848"/>
                <a:gd name="connsiteX2" fmla="*/ 308472 w 1230905"/>
                <a:gd name="connsiteY2" fmla="*/ 60593 h 828848"/>
                <a:gd name="connsiteX3" fmla="*/ 886858 w 1230905"/>
                <a:gd name="connsiteY3" fmla="*/ 209321 h 828848"/>
                <a:gd name="connsiteX4" fmla="*/ 1189822 w 1230905"/>
                <a:gd name="connsiteY4" fmla="*/ 605928 h 828848"/>
                <a:gd name="connsiteX5" fmla="*/ 1230905 w 1230905"/>
                <a:gd name="connsiteY5" fmla="*/ 739478 h 828848"/>
                <a:gd name="connsiteX6" fmla="*/ 1154934 w 1230905"/>
                <a:gd name="connsiteY6" fmla="*/ 828848 h 828848"/>
                <a:gd name="connsiteX0" fmla="*/ 0 w 1230905"/>
                <a:gd name="connsiteY0" fmla="*/ 0 h 828848"/>
                <a:gd name="connsiteX1" fmla="*/ 77118 w 1230905"/>
                <a:gd name="connsiteY1" fmla="*/ 82627 h 828848"/>
                <a:gd name="connsiteX2" fmla="*/ 308472 w 1230905"/>
                <a:gd name="connsiteY2" fmla="*/ 60593 h 828848"/>
                <a:gd name="connsiteX3" fmla="*/ 933300 w 1230905"/>
                <a:gd name="connsiteY3" fmla="*/ 241071 h 828848"/>
                <a:gd name="connsiteX4" fmla="*/ 1189822 w 1230905"/>
                <a:gd name="connsiteY4" fmla="*/ 605928 h 828848"/>
                <a:gd name="connsiteX5" fmla="*/ 1230905 w 1230905"/>
                <a:gd name="connsiteY5" fmla="*/ 739478 h 828848"/>
                <a:gd name="connsiteX6" fmla="*/ 1154934 w 1230905"/>
                <a:gd name="connsiteY6" fmla="*/ 828848 h 828848"/>
                <a:gd name="connsiteX0" fmla="*/ 0 w 1230905"/>
                <a:gd name="connsiteY0" fmla="*/ 0 h 828848"/>
                <a:gd name="connsiteX1" fmla="*/ 156731 w 1230905"/>
                <a:gd name="connsiteY1" fmla="*/ 82627 h 828848"/>
                <a:gd name="connsiteX2" fmla="*/ 308472 w 1230905"/>
                <a:gd name="connsiteY2" fmla="*/ 60593 h 828848"/>
                <a:gd name="connsiteX3" fmla="*/ 933300 w 1230905"/>
                <a:gd name="connsiteY3" fmla="*/ 241071 h 828848"/>
                <a:gd name="connsiteX4" fmla="*/ 1189822 w 1230905"/>
                <a:gd name="connsiteY4" fmla="*/ 605928 h 828848"/>
                <a:gd name="connsiteX5" fmla="*/ 1230905 w 1230905"/>
                <a:gd name="connsiteY5" fmla="*/ 739478 h 828848"/>
                <a:gd name="connsiteX6" fmla="*/ 1154934 w 1230905"/>
                <a:gd name="connsiteY6" fmla="*/ 828848 h 828848"/>
                <a:gd name="connsiteX0" fmla="*/ 0 w 1144657"/>
                <a:gd name="connsiteY0" fmla="*/ 0 h 828848"/>
                <a:gd name="connsiteX1" fmla="*/ 70483 w 1144657"/>
                <a:gd name="connsiteY1" fmla="*/ 82627 h 828848"/>
                <a:gd name="connsiteX2" fmla="*/ 222224 w 1144657"/>
                <a:gd name="connsiteY2" fmla="*/ 60593 h 828848"/>
                <a:gd name="connsiteX3" fmla="*/ 847052 w 1144657"/>
                <a:gd name="connsiteY3" fmla="*/ 241071 h 828848"/>
                <a:gd name="connsiteX4" fmla="*/ 1103574 w 1144657"/>
                <a:gd name="connsiteY4" fmla="*/ 605928 h 828848"/>
                <a:gd name="connsiteX5" fmla="*/ 1144657 w 1144657"/>
                <a:gd name="connsiteY5" fmla="*/ 739478 h 828848"/>
                <a:gd name="connsiteX6" fmla="*/ 1068686 w 1144657"/>
                <a:gd name="connsiteY6" fmla="*/ 828848 h 828848"/>
                <a:gd name="connsiteX0" fmla="*/ 0 w 1144657"/>
                <a:gd name="connsiteY0" fmla="*/ 0 h 828848"/>
                <a:gd name="connsiteX1" fmla="*/ 70483 w 1144657"/>
                <a:gd name="connsiteY1" fmla="*/ 82627 h 828848"/>
                <a:gd name="connsiteX2" fmla="*/ 222224 w 1144657"/>
                <a:gd name="connsiteY2" fmla="*/ 60593 h 828848"/>
                <a:gd name="connsiteX3" fmla="*/ 860321 w 1144657"/>
                <a:gd name="connsiteY3" fmla="*/ 195511 h 828848"/>
                <a:gd name="connsiteX4" fmla="*/ 1103574 w 1144657"/>
                <a:gd name="connsiteY4" fmla="*/ 605928 h 828848"/>
                <a:gd name="connsiteX5" fmla="*/ 1144657 w 1144657"/>
                <a:gd name="connsiteY5" fmla="*/ 739478 h 828848"/>
                <a:gd name="connsiteX6" fmla="*/ 1068686 w 1144657"/>
                <a:gd name="connsiteY6" fmla="*/ 828848 h 828848"/>
                <a:gd name="connsiteX0" fmla="*/ 0 w 1189439"/>
                <a:gd name="connsiteY0" fmla="*/ 0 h 828848"/>
                <a:gd name="connsiteX1" fmla="*/ 70483 w 1189439"/>
                <a:gd name="connsiteY1" fmla="*/ 82627 h 828848"/>
                <a:gd name="connsiteX2" fmla="*/ 222224 w 1189439"/>
                <a:gd name="connsiteY2" fmla="*/ 60593 h 828848"/>
                <a:gd name="connsiteX3" fmla="*/ 860321 w 1189439"/>
                <a:gd name="connsiteY3" fmla="*/ 195511 h 828848"/>
                <a:gd name="connsiteX4" fmla="*/ 1103574 w 1189439"/>
                <a:gd name="connsiteY4" fmla="*/ 605928 h 828848"/>
                <a:gd name="connsiteX5" fmla="*/ 1189439 w 1189439"/>
                <a:gd name="connsiteY5" fmla="*/ 715822 h 828848"/>
                <a:gd name="connsiteX6" fmla="*/ 1068686 w 1189439"/>
                <a:gd name="connsiteY6" fmla="*/ 828848 h 828848"/>
                <a:gd name="connsiteX0" fmla="*/ 0 w 1189439"/>
                <a:gd name="connsiteY0" fmla="*/ 0 h 834106"/>
                <a:gd name="connsiteX1" fmla="*/ 70483 w 1189439"/>
                <a:gd name="connsiteY1" fmla="*/ 82627 h 834106"/>
                <a:gd name="connsiteX2" fmla="*/ 222224 w 1189439"/>
                <a:gd name="connsiteY2" fmla="*/ 60593 h 834106"/>
                <a:gd name="connsiteX3" fmla="*/ 860321 w 1189439"/>
                <a:gd name="connsiteY3" fmla="*/ 195511 h 834106"/>
                <a:gd name="connsiteX4" fmla="*/ 1103574 w 1189439"/>
                <a:gd name="connsiteY4" fmla="*/ 605928 h 834106"/>
                <a:gd name="connsiteX5" fmla="*/ 1189439 w 1189439"/>
                <a:gd name="connsiteY5" fmla="*/ 715822 h 834106"/>
                <a:gd name="connsiteX6" fmla="*/ 1058734 w 1189439"/>
                <a:gd name="connsiteY6" fmla="*/ 834106 h 834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9439" h="834106">
                  <a:moveTo>
                    <a:pt x="0" y="0"/>
                  </a:moveTo>
                  <a:lnTo>
                    <a:pt x="70483" y="82627"/>
                  </a:lnTo>
                  <a:lnTo>
                    <a:pt x="222224" y="60593"/>
                  </a:lnTo>
                  <a:lnTo>
                    <a:pt x="860321" y="195511"/>
                  </a:lnTo>
                  <a:lnTo>
                    <a:pt x="1103574" y="605928"/>
                  </a:lnTo>
                  <a:lnTo>
                    <a:pt x="1189439" y="715822"/>
                  </a:lnTo>
                  <a:lnTo>
                    <a:pt x="1058734" y="834106"/>
                  </a:lnTo>
                </a:path>
              </a:pathLst>
            </a:custGeom>
            <a:noFill/>
            <a:ln w="38100" cap="flat" cmpd="sng" algn="ctr">
              <a:solidFill>
                <a:srgbClr val="597C5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98" name="Freeform 116"/>
            <p:cNvSpPr/>
            <p:nvPr>
              <p:custDataLst>
                <p:tags r:id="rId58"/>
              </p:custDataLst>
            </p:nvPr>
          </p:nvSpPr>
          <p:spPr bwMode="gray">
            <a:xfrm>
              <a:off x="2237017" y="3270248"/>
              <a:ext cx="421780" cy="221138"/>
            </a:xfrm>
            <a:custGeom>
              <a:avLst/>
              <a:gdLst>
                <a:gd name="connsiteX0" fmla="*/ 0 w 440675"/>
                <a:gd name="connsiteY0" fmla="*/ 176270 h 176270"/>
                <a:gd name="connsiteX1" fmla="*/ 440675 w 440675"/>
                <a:gd name="connsiteY1" fmla="*/ 0 h 17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0675" h="176270">
                  <a:moveTo>
                    <a:pt x="0" y="176270"/>
                  </a:moveTo>
                  <a:lnTo>
                    <a:pt x="440675" y="0"/>
                  </a:lnTo>
                </a:path>
              </a:pathLst>
            </a:custGeom>
            <a:noFill/>
            <a:ln w="38100" cap="flat" cmpd="sng" algn="ctr">
              <a:solidFill>
                <a:srgbClr val="597C5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99" name="Oval 50"/>
            <p:cNvSpPr/>
            <p:nvPr>
              <p:custDataLst>
                <p:tags r:id="rId59"/>
              </p:custDataLst>
            </p:nvPr>
          </p:nvSpPr>
          <p:spPr bwMode="gray">
            <a:xfrm>
              <a:off x="1389457" y="3260679"/>
              <a:ext cx="67215" cy="65213"/>
            </a:xfrm>
            <a:prstGeom prst="ellipse">
              <a:avLst/>
            </a:prstGeom>
            <a:solidFill>
              <a:srgbClr val="0065CC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00" name="Rectangle 310273"/>
            <p:cNvSpPr txBox="1"/>
            <p:nvPr>
              <p:custDataLst>
                <p:tags r:id="rId60"/>
              </p:custDataLst>
            </p:nvPr>
          </p:nvSpPr>
          <p:spPr bwMode="gray">
            <a:xfrm>
              <a:off x="1118720" y="3156393"/>
              <a:ext cx="298159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Thies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201" name="Oval 135"/>
            <p:cNvSpPr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1549698" y="3264098"/>
              <a:ext cx="80060" cy="776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02" name="Oval 51"/>
            <p:cNvSpPr/>
            <p:nvPr>
              <p:custDataLst>
                <p:tags r:id="rId62"/>
              </p:custDataLst>
            </p:nvPr>
          </p:nvSpPr>
          <p:spPr bwMode="gray">
            <a:xfrm>
              <a:off x="1975835" y="3823929"/>
              <a:ext cx="67215" cy="6521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03" name="Rectangle 310273"/>
            <p:cNvSpPr txBox="1"/>
            <p:nvPr>
              <p:custDataLst>
                <p:tags r:id="rId63"/>
              </p:custDataLst>
            </p:nvPr>
          </p:nvSpPr>
          <p:spPr bwMode="gray">
            <a:xfrm>
              <a:off x="1838916" y="3874817"/>
              <a:ext cx="33342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Fatick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204" name="Rectangle 310273"/>
            <p:cNvSpPr txBox="1"/>
            <p:nvPr>
              <p:custDataLst>
                <p:tags r:id="rId64"/>
              </p:custDataLst>
            </p:nvPr>
          </p:nvSpPr>
          <p:spPr bwMode="gray">
            <a:xfrm>
              <a:off x="1885129" y="4007386"/>
              <a:ext cx="431208" cy="153888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Kaolack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205" name="Rectangle 310273"/>
            <p:cNvSpPr txBox="1"/>
            <p:nvPr>
              <p:custDataLst>
                <p:tags r:id="rId65"/>
              </p:custDataLst>
            </p:nvPr>
          </p:nvSpPr>
          <p:spPr bwMode="gray">
            <a:xfrm>
              <a:off x="2622443" y="3623537"/>
              <a:ext cx="62837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Guinguineo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206" name="Rectangle 310273"/>
            <p:cNvSpPr txBox="1"/>
            <p:nvPr>
              <p:custDataLst>
                <p:tags r:id="rId66"/>
              </p:custDataLst>
            </p:nvPr>
          </p:nvSpPr>
          <p:spPr bwMode="gray">
            <a:xfrm>
              <a:off x="1303558" y="3607550"/>
              <a:ext cx="387927" cy="153888"/>
            </a:xfrm>
            <a:prstGeom prst="rect">
              <a:avLst/>
            </a:prstGeom>
            <a:ln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8080">
                      <a:lumMod val="50000"/>
                    </a:srgbClr>
                  </a:solidFill>
                  <a:effectLst/>
                  <a:uLnTx/>
                  <a:uFillTx/>
                  <a:latin typeface="Cambria"/>
                </a:rPr>
                <a:t>A.I.B.D.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07" name="Rectangle 310273"/>
            <p:cNvSpPr txBox="1"/>
            <p:nvPr>
              <p:custDataLst>
                <p:tags r:id="rId67"/>
              </p:custDataLst>
            </p:nvPr>
          </p:nvSpPr>
          <p:spPr bwMode="gray">
            <a:xfrm>
              <a:off x="1494108" y="3802814"/>
              <a:ext cx="402354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M’Bour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208" name="Oval 128"/>
            <p:cNvSpPr/>
            <p:nvPr>
              <p:custDataLst>
                <p:tags r:id="rId68"/>
              </p:custDataLst>
            </p:nvPr>
          </p:nvSpPr>
          <p:spPr bwMode="gray">
            <a:xfrm>
              <a:off x="1322359" y="3722033"/>
              <a:ext cx="67215" cy="6521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09" name="Oval 137"/>
            <p:cNvSpPr>
              <a:spLocks/>
            </p:cNvSpPr>
            <p:nvPr>
              <p:custDataLst>
                <p:tags r:id="rId69"/>
              </p:custDataLst>
            </p:nvPr>
          </p:nvSpPr>
          <p:spPr bwMode="gray">
            <a:xfrm>
              <a:off x="1389130" y="3895611"/>
              <a:ext cx="80060" cy="776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10" name="Oval 123"/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1482154" y="3953010"/>
              <a:ext cx="80060" cy="776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11" name="Arc 210"/>
            <p:cNvSpPr/>
            <p:nvPr>
              <p:custDataLst>
                <p:tags r:id="rId71"/>
              </p:custDataLst>
            </p:nvPr>
          </p:nvSpPr>
          <p:spPr>
            <a:xfrm flipH="1">
              <a:off x="2291752" y="3975929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12" name="Arc 211"/>
            <p:cNvSpPr/>
            <p:nvPr>
              <p:custDataLst>
                <p:tags r:id="rId72"/>
              </p:custDataLst>
            </p:nvPr>
          </p:nvSpPr>
          <p:spPr>
            <a:xfrm rot="19859109" flipH="1">
              <a:off x="2446348" y="3847446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13" name="Arc 212"/>
            <p:cNvSpPr/>
            <p:nvPr>
              <p:custDataLst>
                <p:tags r:id="rId73"/>
              </p:custDataLst>
            </p:nvPr>
          </p:nvSpPr>
          <p:spPr>
            <a:xfrm rot="21138610" flipH="1" flipV="1">
              <a:off x="2298895" y="3442085"/>
              <a:ext cx="586700" cy="750018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14" name="Arc 213"/>
            <p:cNvSpPr/>
            <p:nvPr>
              <p:custDataLst>
                <p:tags r:id="rId74"/>
              </p:custDataLst>
            </p:nvPr>
          </p:nvSpPr>
          <p:spPr>
            <a:xfrm rot="1089978" flipH="1" flipV="1">
              <a:off x="2429056" y="3504815"/>
              <a:ext cx="586700" cy="840300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15" name="Oval 120"/>
            <p:cNvSpPr/>
            <p:nvPr>
              <p:custDataLst>
                <p:tags r:id="rId75"/>
              </p:custDataLst>
            </p:nvPr>
          </p:nvSpPr>
          <p:spPr bwMode="gray">
            <a:xfrm>
              <a:off x="2344932" y="4047057"/>
              <a:ext cx="109728" cy="109728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0065CC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16" name="Rectangle 310273"/>
            <p:cNvSpPr txBox="1"/>
            <p:nvPr>
              <p:custDataLst>
                <p:tags r:id="rId76"/>
              </p:custDataLst>
            </p:nvPr>
          </p:nvSpPr>
          <p:spPr bwMode="gray">
            <a:xfrm>
              <a:off x="600523" y="3447041"/>
              <a:ext cx="362279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b="1" dirty="0" smtClean="0">
                  <a:solidFill>
                    <a:srgbClr val="000000"/>
                  </a:solidFill>
                  <a:latin typeface="Cambria"/>
                </a:rPr>
                <a:t>Dakar</a:t>
              </a:r>
              <a:endParaRPr lang="fr-FR" sz="1000" b="1" dirty="0">
                <a:solidFill>
                  <a:srgbClr val="000000"/>
                </a:solidFill>
                <a:latin typeface="Cambria"/>
              </a:endParaRPr>
            </a:p>
          </p:txBody>
        </p:sp>
        <p:sp>
          <p:nvSpPr>
            <p:cNvPr id="217" name="Freeform 101"/>
            <p:cNvSpPr/>
            <p:nvPr>
              <p:custDataLst>
                <p:tags r:id="rId77"/>
              </p:custDataLst>
            </p:nvPr>
          </p:nvSpPr>
          <p:spPr bwMode="gray">
            <a:xfrm>
              <a:off x="747358" y="3399069"/>
              <a:ext cx="548042" cy="52497"/>
            </a:xfrm>
            <a:custGeom>
              <a:avLst/>
              <a:gdLst>
                <a:gd name="connsiteX0" fmla="*/ 0 w 661012"/>
                <a:gd name="connsiteY0" fmla="*/ 72461 h 72566"/>
                <a:gd name="connsiteX1" fmla="*/ 93644 w 661012"/>
                <a:gd name="connsiteY1" fmla="*/ 22885 h 72566"/>
                <a:gd name="connsiteX2" fmla="*/ 352540 w 661012"/>
                <a:gd name="connsiteY2" fmla="*/ 72461 h 72566"/>
                <a:gd name="connsiteX3" fmla="*/ 528810 w 661012"/>
                <a:gd name="connsiteY3" fmla="*/ 6360 h 72566"/>
                <a:gd name="connsiteX4" fmla="*/ 661012 w 661012"/>
                <a:gd name="connsiteY4" fmla="*/ 6360 h 72566"/>
                <a:gd name="connsiteX0" fmla="*/ 0 w 661012"/>
                <a:gd name="connsiteY0" fmla="*/ 83324 h 83324"/>
                <a:gd name="connsiteX1" fmla="*/ 93644 w 661012"/>
                <a:gd name="connsiteY1" fmla="*/ 33748 h 83324"/>
                <a:gd name="connsiteX2" fmla="*/ 346795 w 661012"/>
                <a:gd name="connsiteY2" fmla="*/ 175 h 83324"/>
                <a:gd name="connsiteX3" fmla="*/ 528810 w 661012"/>
                <a:gd name="connsiteY3" fmla="*/ 17223 h 83324"/>
                <a:gd name="connsiteX4" fmla="*/ 661012 w 661012"/>
                <a:gd name="connsiteY4" fmla="*/ 17223 h 83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1012" h="83324">
                  <a:moveTo>
                    <a:pt x="0" y="83324"/>
                  </a:moveTo>
                  <a:cubicBezTo>
                    <a:pt x="17443" y="58536"/>
                    <a:pt x="35845" y="47606"/>
                    <a:pt x="93644" y="33748"/>
                  </a:cubicBezTo>
                  <a:cubicBezTo>
                    <a:pt x="151443" y="19890"/>
                    <a:pt x="274267" y="2929"/>
                    <a:pt x="346795" y="175"/>
                  </a:cubicBezTo>
                  <a:cubicBezTo>
                    <a:pt x="419323" y="-2579"/>
                    <a:pt x="477398" y="28240"/>
                    <a:pt x="528810" y="17223"/>
                  </a:cubicBezTo>
                  <a:cubicBezTo>
                    <a:pt x="580222" y="6206"/>
                    <a:pt x="620617" y="11714"/>
                    <a:pt x="661012" y="17223"/>
                  </a:cubicBezTo>
                </a:path>
              </a:pathLst>
            </a:custGeom>
            <a:noFill/>
            <a:ln w="38100" cap="flat" cmpd="sng" algn="ctr">
              <a:solidFill>
                <a:srgbClr val="597C5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18" name="Oval 48"/>
            <p:cNvSpPr/>
            <p:nvPr>
              <p:custDataLst>
                <p:tags r:id="rId78"/>
              </p:custDataLst>
            </p:nvPr>
          </p:nvSpPr>
          <p:spPr bwMode="gray">
            <a:xfrm>
              <a:off x="2626393" y="3232377"/>
              <a:ext cx="67215" cy="65213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shade val="51000"/>
                    <a:satMod val="130000"/>
                  </a:srgbClr>
                </a:gs>
                <a:gs pos="80000">
                  <a:srgbClr val="000000">
                    <a:shade val="93000"/>
                    <a:satMod val="130000"/>
                  </a:srgbClr>
                </a:gs>
                <a:gs pos="100000">
                  <a:srgbClr val="000000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19" name="Rectangle 310273"/>
            <p:cNvSpPr txBox="1"/>
            <p:nvPr>
              <p:custDataLst>
                <p:tags r:id="rId79"/>
              </p:custDataLst>
            </p:nvPr>
          </p:nvSpPr>
          <p:spPr bwMode="gray">
            <a:xfrm>
              <a:off x="2737698" y="3187037"/>
              <a:ext cx="346249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Touba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220" name="Oval 126"/>
            <p:cNvSpPr/>
            <p:nvPr>
              <p:custDataLst>
                <p:tags r:id="rId80"/>
              </p:custDataLst>
            </p:nvPr>
          </p:nvSpPr>
          <p:spPr bwMode="gray">
            <a:xfrm>
              <a:off x="741815" y="3382387"/>
              <a:ext cx="67215" cy="6521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21" name="Oval 136"/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871134" y="3304711"/>
              <a:ext cx="80060" cy="77675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22" name="Arc 221"/>
            <p:cNvSpPr/>
            <p:nvPr>
              <p:custDataLst>
                <p:tags r:id="rId82"/>
              </p:custDataLst>
            </p:nvPr>
          </p:nvSpPr>
          <p:spPr>
            <a:xfrm rot="5222169" flipH="1" flipV="1">
              <a:off x="2716165" y="3528879"/>
              <a:ext cx="586700" cy="1475554"/>
            </a:xfrm>
            <a:prstGeom prst="arc">
              <a:avLst>
                <a:gd name="adj1" fmla="val 17404151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23" name="Rectangle 310273"/>
            <p:cNvSpPr txBox="1"/>
            <p:nvPr>
              <p:custDataLst>
                <p:tags r:id="rId83"/>
              </p:custDataLst>
            </p:nvPr>
          </p:nvSpPr>
          <p:spPr bwMode="gray">
            <a:xfrm>
              <a:off x="6497403" y="5908471"/>
              <a:ext cx="55303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000000"/>
                  </a:solidFill>
                  <a:latin typeface="Cambria"/>
                </a:rPr>
                <a:t>Kedougou</a:t>
              </a:r>
              <a:endParaRPr lang="fr-FR" sz="1000" dirty="0">
                <a:solidFill>
                  <a:srgbClr val="000000"/>
                </a:solidFill>
                <a:latin typeface="Cambria"/>
              </a:endParaRPr>
            </a:p>
          </p:txBody>
        </p:sp>
        <p:sp>
          <p:nvSpPr>
            <p:cNvPr id="224" name="Arc 223"/>
            <p:cNvSpPr/>
            <p:nvPr>
              <p:custDataLst>
                <p:tags r:id="rId84"/>
              </p:custDataLst>
            </p:nvPr>
          </p:nvSpPr>
          <p:spPr>
            <a:xfrm rot="1269368" flipH="1" flipV="1">
              <a:off x="7158813" y="5462246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25" name="Arc 224"/>
            <p:cNvSpPr/>
            <p:nvPr>
              <p:custDataLst>
                <p:tags r:id="rId85"/>
              </p:custDataLst>
            </p:nvPr>
          </p:nvSpPr>
          <p:spPr>
            <a:xfrm rot="5181795" flipH="1" flipV="1">
              <a:off x="7117191" y="5776248"/>
              <a:ext cx="586700" cy="669782"/>
            </a:xfrm>
            <a:prstGeom prst="arc">
              <a:avLst>
                <a:gd name="adj1" fmla="val 19563512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26" name="Arc 225"/>
            <p:cNvSpPr/>
            <p:nvPr>
              <p:custDataLst>
                <p:tags r:id="rId86"/>
              </p:custDataLst>
            </p:nvPr>
          </p:nvSpPr>
          <p:spPr>
            <a:xfrm flipH="1">
              <a:off x="7116240" y="5804265"/>
              <a:ext cx="586700" cy="669782"/>
            </a:xfrm>
            <a:prstGeom prst="arc">
              <a:avLst>
                <a:gd name="adj1" fmla="val 19356808"/>
                <a:gd name="adj2" fmla="val 2574964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27" name="Arc 226"/>
            <p:cNvSpPr/>
            <p:nvPr>
              <p:custDataLst>
                <p:tags r:id="rId87"/>
              </p:custDataLst>
            </p:nvPr>
          </p:nvSpPr>
          <p:spPr>
            <a:xfrm rot="18554500" flipH="1">
              <a:off x="7209306" y="5515209"/>
              <a:ext cx="586700" cy="669782"/>
            </a:xfrm>
            <a:prstGeom prst="arc">
              <a:avLst>
                <a:gd name="adj1" fmla="val 19918506"/>
                <a:gd name="adj2" fmla="val 5014907"/>
              </a:avLst>
            </a:prstGeom>
            <a:noFill/>
            <a:ln w="28575" cap="flat" cmpd="sng" algn="ctr">
              <a:solidFill>
                <a:srgbClr val="0065CC"/>
              </a:solidFill>
              <a:prstDash val="solid"/>
              <a:headEnd type="none" w="med" len="med"/>
              <a:tailEnd type="arrow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28" name="Oval 122"/>
            <p:cNvSpPr/>
            <p:nvPr>
              <p:custDataLst>
                <p:tags r:id="rId88"/>
              </p:custDataLst>
            </p:nvPr>
          </p:nvSpPr>
          <p:spPr bwMode="gray">
            <a:xfrm>
              <a:off x="7136574" y="5875934"/>
              <a:ext cx="109728" cy="109728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0065CC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29" name="Freeform 130"/>
            <p:cNvSpPr/>
            <p:nvPr>
              <p:custDataLst>
                <p:tags r:id="rId89"/>
              </p:custDataLst>
            </p:nvPr>
          </p:nvSpPr>
          <p:spPr>
            <a:xfrm>
              <a:off x="1132514" y="3458133"/>
              <a:ext cx="5892895" cy="268740"/>
            </a:xfrm>
            <a:custGeom>
              <a:avLst/>
              <a:gdLst>
                <a:gd name="connsiteX0" fmla="*/ 0 w 5966460"/>
                <a:gd name="connsiteY0" fmla="*/ 0 h 243840"/>
                <a:gd name="connsiteX1" fmla="*/ 5966460 w 5966460"/>
                <a:gd name="connsiteY1" fmla="*/ 243840 h 243840"/>
                <a:gd name="connsiteX0" fmla="*/ 0 w 5469262"/>
                <a:gd name="connsiteY0" fmla="*/ 0 h 181470"/>
                <a:gd name="connsiteX1" fmla="*/ 5469262 w 5469262"/>
                <a:gd name="connsiteY1" fmla="*/ 181470 h 181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69262" h="181470">
                  <a:moveTo>
                    <a:pt x="0" y="0"/>
                  </a:moveTo>
                  <a:lnTo>
                    <a:pt x="5469262" y="181470"/>
                  </a:lnTo>
                </a:path>
              </a:pathLst>
            </a:custGeom>
            <a:noFill/>
            <a:ln w="38100" cap="flat" cmpd="sng" algn="ctr">
              <a:solidFill>
                <a:srgbClr val="FFFFFF">
                  <a:lumMod val="75000"/>
                </a:srgb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30" name="Oval 49"/>
            <p:cNvSpPr/>
            <p:nvPr>
              <p:custDataLst>
                <p:tags r:id="rId90"/>
              </p:custDataLst>
            </p:nvPr>
          </p:nvSpPr>
          <p:spPr bwMode="gray">
            <a:xfrm>
              <a:off x="2220887" y="3447484"/>
              <a:ext cx="67215" cy="65213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shade val="51000"/>
                    <a:satMod val="130000"/>
                  </a:srgbClr>
                </a:gs>
                <a:gs pos="80000">
                  <a:srgbClr val="000000">
                    <a:shade val="93000"/>
                    <a:satMod val="130000"/>
                  </a:srgbClr>
                </a:gs>
                <a:gs pos="100000">
                  <a:srgbClr val="000000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31" name="Rectangle 310273"/>
            <p:cNvSpPr txBox="1"/>
            <p:nvPr>
              <p:custDataLst>
                <p:tags r:id="rId91"/>
              </p:custDataLst>
            </p:nvPr>
          </p:nvSpPr>
          <p:spPr bwMode="gray">
            <a:xfrm>
              <a:off x="2316634" y="3432338"/>
              <a:ext cx="47929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smtClean="0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Diourbel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232" name="Rectangle 310273"/>
            <p:cNvSpPr txBox="1"/>
            <p:nvPr>
              <p:custDataLst>
                <p:tags r:id="rId92"/>
              </p:custDataLst>
            </p:nvPr>
          </p:nvSpPr>
          <p:spPr bwMode="gray">
            <a:xfrm>
              <a:off x="974898" y="3488474"/>
              <a:ext cx="394339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1000" dirty="0" err="1">
                  <a:solidFill>
                    <a:srgbClr val="808080">
                      <a:lumMod val="50000"/>
                    </a:srgbClr>
                  </a:solidFill>
                  <a:latin typeface="Cambria"/>
                </a:rPr>
                <a:t>Bargny</a:t>
              </a:r>
              <a:endParaRPr lang="fr-FR" sz="1000" dirty="0">
                <a:solidFill>
                  <a:srgbClr val="808080">
                    <a:lumMod val="50000"/>
                  </a:srgbClr>
                </a:solidFill>
                <a:latin typeface="Cambria"/>
              </a:endParaRPr>
            </a:p>
          </p:txBody>
        </p:sp>
        <p:sp>
          <p:nvSpPr>
            <p:cNvPr id="233" name="Oval 125"/>
            <p:cNvSpPr/>
            <p:nvPr>
              <p:custDataLst>
                <p:tags r:id="rId93"/>
              </p:custDataLst>
            </p:nvPr>
          </p:nvSpPr>
          <p:spPr bwMode="gray">
            <a:xfrm>
              <a:off x="1069497" y="3404446"/>
              <a:ext cx="73152" cy="73152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shade val="51000"/>
                    <a:satMod val="130000"/>
                  </a:srgbClr>
                </a:gs>
                <a:gs pos="80000">
                  <a:srgbClr val="000000">
                    <a:shade val="93000"/>
                    <a:satMod val="130000"/>
                  </a:srgbClr>
                </a:gs>
                <a:gs pos="100000">
                  <a:srgbClr val="000000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35" name="Rectangle 432139"/>
            <p:cNvSpPr txBox="1">
              <a:spLocks/>
            </p:cNvSpPr>
            <p:nvPr>
              <p:custDataLst>
                <p:tags r:id="rId94"/>
              </p:custDataLst>
            </p:nvPr>
          </p:nvSpPr>
          <p:spPr bwMode="gray">
            <a:xfrm>
              <a:off x="6576991" y="1743364"/>
              <a:ext cx="2069477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900" dirty="0" smtClean="0">
                  <a:solidFill>
                    <a:srgbClr val="000000"/>
                  </a:solidFill>
                  <a:latin typeface="Cambria"/>
                </a:rPr>
                <a:t>Dakar-</a:t>
              </a:r>
              <a:r>
                <a:rPr lang="fr-FR" sz="900" dirty="0" err="1" smtClean="0">
                  <a:solidFill>
                    <a:srgbClr val="000000"/>
                  </a:solidFill>
                  <a:latin typeface="Cambria"/>
                </a:rPr>
                <a:t>Tamba</a:t>
              </a:r>
              <a:r>
                <a:rPr lang="fr-FR" sz="900" dirty="0" smtClean="0">
                  <a:solidFill>
                    <a:srgbClr val="000000"/>
                  </a:solidFill>
                  <a:latin typeface="Cambria"/>
                </a:rPr>
                <a:t>-Kédougou-Bamako : nouvelle voie standard</a:t>
              </a:r>
              <a:endParaRPr lang="fr-FR" sz="900" dirty="0">
                <a:solidFill>
                  <a:srgbClr val="000000"/>
                </a:solidFill>
                <a:latin typeface="Cambria"/>
              </a:endParaRPr>
            </a:p>
          </p:txBody>
        </p:sp>
        <p:sp>
          <p:nvSpPr>
            <p:cNvPr id="236" name="Freeform 141"/>
            <p:cNvSpPr>
              <a:spLocks/>
            </p:cNvSpPr>
            <p:nvPr>
              <p:custDataLst>
                <p:tags r:id="rId95"/>
              </p:custDataLst>
            </p:nvPr>
          </p:nvSpPr>
          <p:spPr bwMode="gray">
            <a:xfrm>
              <a:off x="6276323" y="1564779"/>
              <a:ext cx="242887" cy="0"/>
            </a:xfrm>
            <a:custGeom>
              <a:avLst/>
              <a:gdLst>
                <a:gd name="connsiteX0" fmla="*/ 0 w 219075"/>
                <a:gd name="connsiteY0" fmla="*/ 0 h 0"/>
                <a:gd name="connsiteX1" fmla="*/ 219075 w 2190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>
                  <a:moveTo>
                    <a:pt x="0" y="0"/>
                  </a:moveTo>
                  <a:lnTo>
                    <a:pt x="219075" y="0"/>
                  </a:lnTo>
                </a:path>
              </a:pathLst>
            </a:custGeom>
            <a:noFill/>
            <a:ln w="38100" cap="flat" cmpd="sng" algn="ctr">
              <a:solidFill>
                <a:srgbClr val="597C56"/>
              </a:solidFill>
              <a:prstDash val="soli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37" name="Rectangle 432139"/>
            <p:cNvSpPr txBox="1">
              <a:spLocks/>
            </p:cNvSpPr>
            <p:nvPr>
              <p:custDataLst>
                <p:tags r:id="rId96"/>
              </p:custDataLst>
            </p:nvPr>
          </p:nvSpPr>
          <p:spPr bwMode="gray">
            <a:xfrm>
              <a:off x="6576992" y="1436142"/>
              <a:ext cx="216886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900" dirty="0" smtClean="0">
                  <a:solidFill>
                    <a:srgbClr val="000000"/>
                  </a:solidFill>
                  <a:latin typeface="Cambria"/>
                </a:rPr>
                <a:t>Dakar-Tamba-Kidira-Bamako – Nord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900" dirty="0" smtClean="0">
                  <a:solidFill>
                    <a:srgbClr val="000000"/>
                  </a:solidFill>
                  <a:latin typeface="Cambria"/>
                </a:rPr>
                <a:t>(rail):</a:t>
              </a:r>
              <a:r>
                <a:rPr lang="fr-FR" sz="900" dirty="0">
                  <a:solidFill>
                    <a:srgbClr val="000000"/>
                  </a:solidFill>
                  <a:latin typeface="Cambria"/>
                </a:rPr>
                <a:t> </a:t>
              </a:r>
              <a:r>
                <a:rPr lang="fr-FR" sz="900" dirty="0" smtClean="0">
                  <a:solidFill>
                    <a:srgbClr val="000000"/>
                  </a:solidFill>
                  <a:latin typeface="Cambria"/>
                </a:rPr>
                <a:t>réhabilitation voie metrique existante</a:t>
              </a:r>
              <a:endParaRPr lang="fr-FR" sz="900" dirty="0">
                <a:solidFill>
                  <a:srgbClr val="000000"/>
                </a:solidFill>
                <a:latin typeface="Cambria"/>
              </a:endParaRPr>
            </a:p>
          </p:txBody>
        </p:sp>
        <p:sp>
          <p:nvSpPr>
            <p:cNvPr id="238" name="Freeform 143"/>
            <p:cNvSpPr>
              <a:spLocks/>
            </p:cNvSpPr>
            <p:nvPr>
              <p:custDataLst>
                <p:tags r:id="rId97"/>
              </p:custDataLst>
            </p:nvPr>
          </p:nvSpPr>
          <p:spPr bwMode="gray">
            <a:xfrm>
              <a:off x="6277385" y="1820306"/>
              <a:ext cx="242887" cy="0"/>
            </a:xfrm>
            <a:custGeom>
              <a:avLst/>
              <a:gdLst>
                <a:gd name="connsiteX0" fmla="*/ 0 w 219075"/>
                <a:gd name="connsiteY0" fmla="*/ 0 h 0"/>
                <a:gd name="connsiteX1" fmla="*/ 219075 w 2190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>
                  <a:moveTo>
                    <a:pt x="0" y="0"/>
                  </a:moveTo>
                  <a:lnTo>
                    <a:pt x="219075" y="0"/>
                  </a:lnTo>
                </a:path>
              </a:pathLst>
            </a:custGeom>
            <a:noFill/>
            <a:ln w="38100" cap="flat" cmpd="sng" algn="ctr">
              <a:solidFill>
                <a:srgbClr val="FF0000"/>
              </a:solidFill>
              <a:prstDash val="solid"/>
              <a:tailEnd type="none" w="lg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39" name="Rectangle 432139"/>
            <p:cNvSpPr txBox="1">
              <a:spLocks/>
            </p:cNvSpPr>
            <p:nvPr>
              <p:custDataLst>
                <p:tags r:id="rId98"/>
              </p:custDataLst>
            </p:nvPr>
          </p:nvSpPr>
          <p:spPr bwMode="gray">
            <a:xfrm>
              <a:off x="6576991" y="2364225"/>
              <a:ext cx="4023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fr-FR" sz="900" dirty="0" smtClean="0">
                  <a:solidFill>
                    <a:srgbClr val="000000"/>
                  </a:solidFill>
                  <a:latin typeface="Cambria"/>
                </a:rPr>
                <a:t>Pipeline</a:t>
              </a:r>
              <a:endParaRPr lang="fr-FR" sz="900" dirty="0">
                <a:solidFill>
                  <a:srgbClr val="000000"/>
                </a:solidFill>
                <a:latin typeface="Cambria"/>
              </a:endParaRPr>
            </a:p>
          </p:txBody>
        </p:sp>
        <p:sp>
          <p:nvSpPr>
            <p:cNvPr id="240" name="Freeform 148"/>
            <p:cNvSpPr>
              <a:spLocks/>
            </p:cNvSpPr>
            <p:nvPr>
              <p:custDataLst>
                <p:tags r:id="rId99"/>
              </p:custDataLst>
            </p:nvPr>
          </p:nvSpPr>
          <p:spPr bwMode="gray">
            <a:xfrm>
              <a:off x="6277385" y="2441167"/>
              <a:ext cx="242887" cy="0"/>
            </a:xfrm>
            <a:custGeom>
              <a:avLst/>
              <a:gdLst>
                <a:gd name="connsiteX0" fmla="*/ 0 w 219075"/>
                <a:gd name="connsiteY0" fmla="*/ 0 h 0"/>
                <a:gd name="connsiteX1" fmla="*/ 219075 w 21907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>
                  <a:moveTo>
                    <a:pt x="0" y="0"/>
                  </a:moveTo>
                  <a:lnTo>
                    <a:pt x="219075" y="0"/>
                  </a:lnTo>
                </a:path>
              </a:pathLst>
            </a:custGeom>
            <a:noFill/>
            <a:ln w="38100" cap="flat" cmpd="sng" algn="ctr">
              <a:solidFill>
                <a:srgbClr val="FFFFFF">
                  <a:lumMod val="75000"/>
                </a:srgbClr>
              </a:solidFill>
              <a:prstDash val="sysDash"/>
            </a:ln>
            <a:effectLst/>
            <a:ex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41" name="Oval 118"/>
            <p:cNvSpPr>
              <a:spLocks/>
            </p:cNvSpPr>
            <p:nvPr>
              <p:custDataLst>
                <p:tags r:id="rId100"/>
              </p:custDataLst>
            </p:nvPr>
          </p:nvSpPr>
          <p:spPr bwMode="gray">
            <a:xfrm>
              <a:off x="3768788" y="5543091"/>
              <a:ext cx="73152" cy="73152"/>
            </a:xfrm>
            <a:prstGeom prst="ellipse">
              <a:avLst/>
            </a:prstGeom>
            <a:solidFill>
              <a:srgbClr val="0065CC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42" name="Oval 129"/>
            <p:cNvSpPr>
              <a:spLocks/>
            </p:cNvSpPr>
            <p:nvPr>
              <p:custDataLst>
                <p:tags r:id="rId101"/>
              </p:custDataLst>
            </p:nvPr>
          </p:nvSpPr>
          <p:spPr bwMode="gray">
            <a:xfrm>
              <a:off x="2431040" y="4069875"/>
              <a:ext cx="73152" cy="73152"/>
            </a:xfrm>
            <a:prstGeom prst="ellipse">
              <a:avLst/>
            </a:prstGeom>
            <a:solidFill>
              <a:srgbClr val="0065CC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43" name="Oval 146"/>
            <p:cNvSpPr/>
            <p:nvPr>
              <p:custDataLst>
                <p:tags r:id="rId102"/>
              </p:custDataLst>
            </p:nvPr>
          </p:nvSpPr>
          <p:spPr bwMode="gray">
            <a:xfrm>
              <a:off x="2349959" y="4019782"/>
              <a:ext cx="93154" cy="93154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0065CC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44" name="Oval 149"/>
            <p:cNvSpPr>
              <a:spLocks/>
            </p:cNvSpPr>
            <p:nvPr>
              <p:custDataLst>
                <p:tags r:id="rId103"/>
              </p:custDataLst>
            </p:nvPr>
          </p:nvSpPr>
          <p:spPr bwMode="gray">
            <a:xfrm>
              <a:off x="2357663" y="4102504"/>
              <a:ext cx="73152" cy="73152"/>
            </a:xfrm>
            <a:prstGeom prst="ellipse">
              <a:avLst/>
            </a:prstGeom>
            <a:solidFill>
              <a:srgbClr val="597C56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45" name="Oval 150"/>
            <p:cNvSpPr>
              <a:spLocks/>
            </p:cNvSpPr>
            <p:nvPr>
              <p:custDataLst>
                <p:tags r:id="rId104"/>
              </p:custDataLst>
            </p:nvPr>
          </p:nvSpPr>
          <p:spPr bwMode="gray">
            <a:xfrm>
              <a:off x="2363306" y="4024526"/>
              <a:ext cx="73152" cy="73152"/>
            </a:xfrm>
            <a:prstGeom prst="ellipse">
              <a:avLst/>
            </a:prstGeom>
            <a:solidFill>
              <a:srgbClr val="998700">
                <a:lumMod val="40000"/>
                <a:lumOff val="60000"/>
              </a:srgb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246" name="Oval 151"/>
            <p:cNvSpPr>
              <a:spLocks/>
            </p:cNvSpPr>
            <p:nvPr>
              <p:custDataLst>
                <p:tags r:id="rId105"/>
              </p:custDataLst>
            </p:nvPr>
          </p:nvSpPr>
          <p:spPr bwMode="gray">
            <a:xfrm>
              <a:off x="686888" y="3364118"/>
              <a:ext cx="73152" cy="73152"/>
            </a:xfrm>
            <a:prstGeom prst="ellipse">
              <a:avLst/>
            </a:prstGeom>
            <a:solidFill>
              <a:srgbClr val="998700">
                <a:lumMod val="40000"/>
                <a:lumOff val="60000"/>
              </a:srgb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grpSp>
          <p:nvGrpSpPr>
            <p:cNvPr id="2" name="Group 9"/>
            <p:cNvGrpSpPr/>
            <p:nvPr>
              <p:custDataLst>
                <p:tags r:id="rId106"/>
              </p:custDataLst>
            </p:nvPr>
          </p:nvGrpSpPr>
          <p:grpSpPr>
            <a:xfrm>
              <a:off x="7423510" y="664881"/>
              <a:ext cx="1325701" cy="501660"/>
              <a:chOff x="7423509" y="732661"/>
              <a:chExt cx="1325701" cy="501660"/>
            </a:xfrm>
          </p:grpSpPr>
          <p:sp>
            <p:nvSpPr>
              <p:cNvPr id="248" name="Oval 157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gray">
              <a:xfrm>
                <a:off x="7423509" y="989995"/>
                <a:ext cx="73152" cy="73152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49" name="Rectangle 432139"/>
              <p:cNvSpPr txBox="1">
                <a:spLocks/>
              </p:cNvSpPr>
              <p:nvPr>
                <p:custDataLst>
                  <p:tags r:id="rId125"/>
                </p:custDataLst>
              </p:nvPr>
            </p:nvSpPr>
            <p:spPr bwMode="gray">
              <a:xfrm>
                <a:off x="7563604" y="957322"/>
                <a:ext cx="1185606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marR="0" lvl="0" indent="0" defTabSz="9135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Plateforme « matériaux de construction »</a:t>
                </a:r>
                <a:endPara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50" name="Rectangle 432139"/>
              <p:cNvSpPr txBox="1">
                <a:spLocks/>
              </p:cNvSpPr>
              <p:nvPr>
                <p:custDataLst>
                  <p:tags r:id="rId126"/>
                </p:custDataLst>
              </p:nvPr>
            </p:nvSpPr>
            <p:spPr bwMode="gray">
              <a:xfrm>
                <a:off x="7563604" y="732661"/>
                <a:ext cx="1185606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marR="0" lvl="0" indent="0" defTabSz="9135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Plateforme « céréales »</a:t>
                </a:r>
                <a:endPara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51" name="Oval 159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gray">
              <a:xfrm>
                <a:off x="7423509" y="765334"/>
                <a:ext cx="73152" cy="73152"/>
              </a:xfrm>
              <a:prstGeom prst="ellipse">
                <a:avLst/>
              </a:prstGeom>
              <a:solidFill>
                <a:srgbClr val="597C56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</p:grpSp>
        <p:grpSp>
          <p:nvGrpSpPr>
            <p:cNvPr id="3" name="Group 8"/>
            <p:cNvGrpSpPr/>
            <p:nvPr>
              <p:custDataLst>
                <p:tags r:id="rId107"/>
              </p:custDataLst>
            </p:nvPr>
          </p:nvGrpSpPr>
          <p:grpSpPr>
            <a:xfrm>
              <a:off x="5624591" y="664882"/>
              <a:ext cx="1613967" cy="709801"/>
              <a:chOff x="4213466" y="514844"/>
              <a:chExt cx="1613967" cy="709801"/>
            </a:xfrm>
          </p:grpSpPr>
          <p:sp>
            <p:nvSpPr>
              <p:cNvPr id="253" name="Rectangle 432139"/>
              <p:cNvSpPr txBox="1">
                <a:spLocks/>
              </p:cNvSpPr>
              <p:nvPr>
                <p:custDataLst>
                  <p:tags r:id="rId119"/>
                </p:custDataLst>
              </p:nvPr>
            </p:nvSpPr>
            <p:spPr bwMode="gray">
              <a:xfrm>
                <a:off x="4395009" y="947646"/>
                <a:ext cx="1431158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marR="0" lvl="0" indent="0" defTabSz="9135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Plateforme « </a:t>
                </a:r>
                <a:r>
                  <a:rPr kumimoji="0" lang="fr-FR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agrocommer-cialisation</a:t>
                </a:r>
                <a:r>
                  <a:rPr kumimoji="0" lang="fr-F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 »</a:t>
                </a:r>
                <a:endPara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54" name="Oval 155"/>
              <p:cNvSpPr/>
              <p:nvPr/>
            </p:nvSpPr>
            <p:spPr bwMode="gray">
              <a:xfrm>
                <a:off x="4213466" y="984221"/>
                <a:ext cx="109728" cy="109728"/>
              </a:xfrm>
              <a:prstGeom prst="ellipse">
                <a:avLst/>
              </a:prstGeom>
              <a:solidFill>
                <a:srgbClr val="FFFFFF"/>
              </a:solidFill>
              <a:ln w="28575" cap="flat" cmpd="sng" algn="ctr">
                <a:solidFill>
                  <a:srgbClr val="0065CC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55" name="Rectangle 432139"/>
              <p:cNvSpPr txBox="1">
                <a:spLocks/>
              </p:cNvSpPr>
              <p:nvPr>
                <p:custDataLst>
                  <p:tags r:id="rId120"/>
                </p:custDataLst>
              </p:nvPr>
            </p:nvSpPr>
            <p:spPr bwMode="gray">
              <a:xfrm>
                <a:off x="4396275" y="717430"/>
                <a:ext cx="1431158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marR="0" lvl="0" indent="0" defTabSz="9135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Plateforme « distribution »</a:t>
                </a:r>
                <a:endPara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56" name="Oval 153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gray">
              <a:xfrm>
                <a:off x="4233021" y="750103"/>
                <a:ext cx="73152" cy="73152"/>
              </a:xfrm>
              <a:prstGeom prst="ellipse">
                <a:avLst/>
              </a:prstGeom>
              <a:solidFill>
                <a:srgbClr val="0065CC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57" name="Rectangle 432139"/>
              <p:cNvSpPr txBox="1">
                <a:spLocks/>
              </p:cNvSpPr>
              <p:nvPr>
                <p:custDataLst>
                  <p:tags r:id="rId122"/>
                </p:custDataLst>
              </p:nvPr>
            </p:nvSpPr>
            <p:spPr bwMode="gray">
              <a:xfrm>
                <a:off x="4396275" y="514844"/>
                <a:ext cx="1431158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marR="0" lvl="0" indent="0" defTabSz="9135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Plateforme « conteneurs »</a:t>
                </a:r>
                <a:endPara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58" name="Oval 161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gray">
              <a:xfrm>
                <a:off x="4233021" y="547517"/>
                <a:ext cx="73152" cy="73152"/>
              </a:xfrm>
              <a:prstGeom prst="ellipse">
                <a:avLst/>
              </a:prstGeom>
              <a:solidFill>
                <a:srgbClr val="998700">
                  <a:lumMod val="40000"/>
                  <a:lumOff val="60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</p:grpSp>
        <p:pic>
          <p:nvPicPr>
            <p:cNvPr id="259" name="Picture 34"/>
            <p:cNvPicPr>
              <a:picLocks noChangeAspect="1" noChangeArrowheads="1"/>
            </p:cNvPicPr>
            <p:nvPr>
              <p:custDataLst>
                <p:tags r:id="rId108"/>
              </p:custDataLst>
            </p:nvPr>
          </p:nvPicPr>
          <p:blipFill>
            <a:blip r:embed="rId1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0824" y="3755389"/>
              <a:ext cx="410528" cy="4165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0" name="Picture 34"/>
            <p:cNvPicPr>
              <a:picLocks noChangeAspect="1" noChangeArrowheads="1"/>
            </p:cNvPicPr>
            <p:nvPr>
              <p:custDataLst>
                <p:tags r:id="rId109"/>
              </p:custDataLst>
            </p:nvPr>
          </p:nvPicPr>
          <p:blipFill rotWithShape="1">
            <a:blip r:embed="rId1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482"/>
            <a:stretch/>
          </p:blipFill>
          <p:spPr bwMode="auto">
            <a:xfrm>
              <a:off x="227429" y="3459118"/>
              <a:ext cx="375707" cy="4165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61" name="Rectangle 3"/>
            <p:cNvSpPr txBox="1"/>
            <p:nvPr>
              <p:custDataLst>
                <p:tags r:id="rId110"/>
              </p:custDataLst>
            </p:nvPr>
          </p:nvSpPr>
          <p:spPr>
            <a:xfrm>
              <a:off x="131013" y="4228649"/>
              <a:ext cx="1298147" cy="443163"/>
            </a:xfrm>
            <a:prstGeom prst="rect">
              <a:avLst/>
            </a:prstGeom>
            <a:solidFill>
              <a:srgbClr val="998700"/>
            </a:solidFill>
            <a:ln w="19050">
              <a:solidFill>
                <a:srgbClr val="FFFFFF">
                  <a:lumMod val="85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rPr>
                <a:t>Port minéralier de </a:t>
              </a:r>
              <a:r>
                <a:rPr kumimoji="0" lang="fr-FR" sz="1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rPr>
                <a:t>Bargny</a:t>
              </a:r>
              <a:endPara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cxnSp>
          <p:nvCxnSpPr>
            <p:cNvPr id="262" name="Straight Connector 165"/>
            <p:cNvCxnSpPr>
              <a:stCxn id="261" idx="0"/>
            </p:cNvCxnSpPr>
            <p:nvPr>
              <p:custDataLst>
                <p:tags r:id="rId111"/>
              </p:custDataLst>
            </p:nvPr>
          </p:nvCxnSpPr>
          <p:spPr>
            <a:xfrm flipV="1">
              <a:off x="780087" y="3732877"/>
              <a:ext cx="170738" cy="49577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oval"/>
            </a:ln>
            <a:effectLst/>
          </p:spPr>
        </p:cxnSp>
        <p:sp>
          <p:nvSpPr>
            <p:cNvPr id="263" name="Rectangle 3"/>
            <p:cNvSpPr txBox="1"/>
            <p:nvPr>
              <p:custDataLst>
                <p:tags r:id="rId112"/>
              </p:custDataLst>
            </p:nvPr>
          </p:nvSpPr>
          <p:spPr>
            <a:xfrm>
              <a:off x="131012" y="2668342"/>
              <a:ext cx="890367" cy="443163"/>
            </a:xfrm>
            <a:prstGeom prst="rect">
              <a:avLst/>
            </a:prstGeom>
            <a:solidFill>
              <a:srgbClr val="998700"/>
            </a:solidFill>
            <a:ln w="19050">
              <a:solidFill>
                <a:srgbClr val="FFFFFF">
                  <a:lumMod val="85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rPr>
                <a:t>Port du futur</a:t>
              </a:r>
            </a:p>
          </p:txBody>
        </p:sp>
        <p:cxnSp>
          <p:nvCxnSpPr>
            <p:cNvPr id="264" name="Straight Connector 167"/>
            <p:cNvCxnSpPr>
              <a:stCxn id="263" idx="2"/>
            </p:cNvCxnSpPr>
            <p:nvPr>
              <p:custDataLst>
                <p:tags r:id="rId113"/>
              </p:custDataLst>
            </p:nvPr>
          </p:nvCxnSpPr>
          <p:spPr>
            <a:xfrm>
              <a:off x="576196" y="3111503"/>
              <a:ext cx="24326" cy="21272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oval"/>
            </a:ln>
            <a:effectLst/>
          </p:spPr>
        </p:cxnSp>
        <p:sp>
          <p:nvSpPr>
            <p:cNvPr id="266" name="Freeform 131"/>
            <p:cNvSpPr/>
            <p:nvPr/>
          </p:nvSpPr>
          <p:spPr bwMode="gray">
            <a:xfrm>
              <a:off x="5284787" y="2264433"/>
              <a:ext cx="473300" cy="2266619"/>
            </a:xfrm>
            <a:custGeom>
              <a:avLst/>
              <a:gdLst>
                <a:gd name="connsiteX0" fmla="*/ 0 w 440675"/>
                <a:gd name="connsiteY0" fmla="*/ 176270 h 176270"/>
                <a:gd name="connsiteX1" fmla="*/ 440675 w 440675"/>
                <a:gd name="connsiteY1" fmla="*/ 0 h 17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0675" h="176270">
                  <a:moveTo>
                    <a:pt x="0" y="176270"/>
                  </a:moveTo>
                  <a:lnTo>
                    <a:pt x="440675" y="0"/>
                  </a:lnTo>
                </a:path>
              </a:pathLst>
            </a:custGeom>
            <a:noFill/>
            <a:ln w="381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grpSp>
          <p:nvGrpSpPr>
            <p:cNvPr id="4" name="Group 1"/>
            <p:cNvGrpSpPr/>
            <p:nvPr/>
          </p:nvGrpSpPr>
          <p:grpSpPr>
            <a:xfrm>
              <a:off x="6277385" y="2024511"/>
              <a:ext cx="1307896" cy="138499"/>
              <a:chOff x="6277384" y="2003166"/>
              <a:chExt cx="1307896" cy="138499"/>
            </a:xfrm>
          </p:grpSpPr>
          <p:sp>
            <p:nvSpPr>
              <p:cNvPr id="268" name="Rectangle 432139"/>
              <p:cNvSpPr txBox="1">
                <a:spLocks/>
              </p:cNvSpPr>
              <p:nvPr>
                <p:custDataLst>
                  <p:tags r:id="rId117"/>
                </p:custDataLst>
              </p:nvPr>
            </p:nvSpPr>
            <p:spPr bwMode="gray">
              <a:xfrm>
                <a:off x="6576991" y="2003166"/>
                <a:ext cx="1008289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marR="0" lvl="0" indent="0" defTabSz="9135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Rail Matam – </a:t>
                </a:r>
                <a:r>
                  <a:rPr kumimoji="0" lang="fr-FR" sz="9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Tamba</a:t>
                </a:r>
                <a:endPara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69" name="Freeform 169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gray">
              <a:xfrm>
                <a:off x="6277384" y="2080110"/>
                <a:ext cx="242887" cy="0"/>
              </a:xfrm>
              <a:custGeom>
                <a:avLst/>
                <a:gdLst>
                  <a:gd name="connsiteX0" fmla="*/ 0 w 219075"/>
                  <a:gd name="connsiteY0" fmla="*/ 0 h 0"/>
                  <a:gd name="connsiteX1" fmla="*/ 219075 w 2190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075">
                    <a:moveTo>
                      <a:pt x="0" y="0"/>
                    </a:moveTo>
                    <a:lnTo>
                      <a:pt x="219075" y="0"/>
                    </a:lnTo>
                  </a:path>
                </a:pathLst>
              </a:custGeom>
              <a:noFill/>
              <a:ln w="38100" cap="flat" cmpd="sng" algn="ctr">
                <a:solidFill>
                  <a:srgbClr val="000000"/>
                </a:solidFill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</p:grpSp>
        <p:sp>
          <p:nvSpPr>
            <p:cNvPr id="270" name="Freeform 170"/>
            <p:cNvSpPr/>
            <p:nvPr>
              <p:custDataLst>
                <p:tags r:id="rId114"/>
              </p:custDataLst>
            </p:nvPr>
          </p:nvSpPr>
          <p:spPr bwMode="gray">
            <a:xfrm>
              <a:off x="5353592" y="2264433"/>
              <a:ext cx="473300" cy="2266619"/>
            </a:xfrm>
            <a:custGeom>
              <a:avLst/>
              <a:gdLst>
                <a:gd name="connsiteX0" fmla="*/ 0 w 440675"/>
                <a:gd name="connsiteY0" fmla="*/ 176270 h 176270"/>
                <a:gd name="connsiteX1" fmla="*/ 440675 w 440675"/>
                <a:gd name="connsiteY1" fmla="*/ 0 h 176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0675" h="176270">
                  <a:moveTo>
                    <a:pt x="0" y="176270"/>
                  </a:moveTo>
                  <a:lnTo>
                    <a:pt x="440675" y="0"/>
                  </a:lnTo>
                </a:path>
              </a:pathLst>
            </a:custGeom>
            <a:noFill/>
            <a:ln w="38100" cap="flat" cmpd="sng" algn="ctr">
              <a:solidFill>
                <a:srgbClr val="FFFFFF">
                  <a:lumMod val="75000"/>
                </a:srgbClr>
              </a:solidFill>
              <a:prstDash val="sys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grpSp>
          <p:nvGrpSpPr>
            <p:cNvPr id="5" name="Group 12"/>
            <p:cNvGrpSpPr/>
            <p:nvPr/>
          </p:nvGrpSpPr>
          <p:grpSpPr>
            <a:xfrm>
              <a:off x="1436151" y="1800318"/>
              <a:ext cx="596267" cy="1455312"/>
              <a:chOff x="1436150" y="1800318"/>
              <a:chExt cx="596267" cy="1455312"/>
            </a:xfrm>
          </p:grpSpPr>
          <p:cxnSp>
            <p:nvCxnSpPr>
              <p:cNvPr id="272" name="Straight Connector 4"/>
              <p:cNvCxnSpPr>
                <a:stCxn id="187" idx="5"/>
              </p:cNvCxnSpPr>
              <p:nvPr/>
            </p:nvCxnSpPr>
            <p:spPr>
              <a:xfrm>
                <a:off x="1995283" y="1800318"/>
                <a:ext cx="34640" cy="319888"/>
              </a:xfrm>
              <a:prstGeom prst="line">
                <a:avLst/>
              </a:prstGeom>
              <a:noFill/>
              <a:ln w="38100" cap="flat" cmpd="sng" algn="ctr">
                <a:solidFill>
                  <a:srgbClr val="C00000"/>
                </a:solidFill>
                <a:prstDash val="solid"/>
              </a:ln>
              <a:effectLst/>
            </p:spPr>
          </p:cxnSp>
          <p:cxnSp>
            <p:nvCxnSpPr>
              <p:cNvPr id="273" name="Straight Connector 139"/>
              <p:cNvCxnSpPr/>
              <p:nvPr/>
            </p:nvCxnSpPr>
            <p:spPr>
              <a:xfrm flipH="1">
                <a:off x="1436150" y="2105425"/>
                <a:ext cx="596267" cy="1150205"/>
              </a:xfrm>
              <a:prstGeom prst="line">
                <a:avLst/>
              </a:prstGeom>
              <a:noFill/>
              <a:ln w="38100" cap="flat" cmpd="sng" algn="ctr">
                <a:solidFill>
                  <a:srgbClr val="C00000"/>
                </a:solidFill>
                <a:prstDash val="solid"/>
              </a:ln>
              <a:effectLst/>
            </p:spPr>
          </p:cxnSp>
        </p:grpSp>
        <p:grpSp>
          <p:nvGrpSpPr>
            <p:cNvPr id="6" name="Group 140"/>
            <p:cNvGrpSpPr/>
            <p:nvPr/>
          </p:nvGrpSpPr>
          <p:grpSpPr>
            <a:xfrm>
              <a:off x="6277385" y="2192843"/>
              <a:ext cx="1434533" cy="138499"/>
              <a:chOff x="6277384" y="2003166"/>
              <a:chExt cx="1434532" cy="138499"/>
            </a:xfrm>
          </p:grpSpPr>
          <p:sp>
            <p:nvSpPr>
              <p:cNvPr id="275" name="Rectangle 432139"/>
              <p:cNvSpPr txBox="1">
                <a:spLocks/>
              </p:cNvSpPr>
              <p:nvPr>
                <p:custDataLst>
                  <p:tags r:id="rId115"/>
                </p:custDataLst>
              </p:nvPr>
            </p:nvSpPr>
            <p:spPr bwMode="gray">
              <a:xfrm>
                <a:off x="6576991" y="2003166"/>
                <a:ext cx="1134925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marR="0" lvl="0" indent="0" defTabSz="91352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mbria"/>
                  </a:rPr>
                  <a:t>Rail Thiès - Saint-Louis</a:t>
                </a:r>
                <a:endParaRPr kumimoji="0" lang="fr-FR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  <p:sp>
            <p:nvSpPr>
              <p:cNvPr id="276" name="Freeform 171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gray">
              <a:xfrm>
                <a:off x="6277384" y="2080110"/>
                <a:ext cx="242887" cy="0"/>
              </a:xfrm>
              <a:custGeom>
                <a:avLst/>
                <a:gdLst>
                  <a:gd name="connsiteX0" fmla="*/ 0 w 219075"/>
                  <a:gd name="connsiteY0" fmla="*/ 0 h 0"/>
                  <a:gd name="connsiteX1" fmla="*/ 219075 w 219075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9075">
                    <a:moveTo>
                      <a:pt x="0" y="0"/>
                    </a:moveTo>
                    <a:lnTo>
                      <a:pt x="219075" y="0"/>
                    </a:lnTo>
                  </a:path>
                </a:pathLst>
              </a:custGeom>
              <a:noFill/>
              <a:ln w="38100" cap="flat" cmpd="sng" algn="ctr">
                <a:solidFill>
                  <a:srgbClr val="C00000"/>
                </a:solidFill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mbria"/>
                </a:endParaRPr>
              </a:p>
            </p:txBody>
          </p:sp>
        </p:grpSp>
      </p:grpSp>
      <p:sp>
        <p:nvSpPr>
          <p:cNvPr id="137" name="Rectangle 136"/>
          <p:cNvSpPr/>
          <p:nvPr/>
        </p:nvSpPr>
        <p:spPr>
          <a:xfrm flipV="1">
            <a:off x="622667" y="181969"/>
            <a:ext cx="6003343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90" name="Groupe 289"/>
          <p:cNvGrpSpPr/>
          <p:nvPr/>
        </p:nvGrpSpPr>
        <p:grpSpPr>
          <a:xfrm>
            <a:off x="44539" y="1573478"/>
            <a:ext cx="9031033" cy="5015374"/>
            <a:chOff x="44539" y="1573478"/>
            <a:chExt cx="9031033" cy="5015374"/>
          </a:xfrm>
        </p:grpSpPr>
        <p:grpSp>
          <p:nvGrpSpPr>
            <p:cNvPr id="288" name="Groupe 287"/>
            <p:cNvGrpSpPr/>
            <p:nvPr/>
          </p:nvGrpSpPr>
          <p:grpSpPr>
            <a:xfrm>
              <a:off x="1785617" y="4140981"/>
              <a:ext cx="6830498" cy="2447871"/>
              <a:chOff x="1785617" y="4140981"/>
              <a:chExt cx="6830498" cy="2447871"/>
            </a:xfrm>
          </p:grpSpPr>
          <p:sp>
            <p:nvSpPr>
              <p:cNvPr id="278" name="Rectangle 277"/>
              <p:cNvSpPr/>
              <p:nvPr/>
            </p:nvSpPr>
            <p:spPr>
              <a:xfrm>
                <a:off x="3996235" y="5880966"/>
                <a:ext cx="4578527" cy="70788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square">
                <a:spAutoFit/>
              </a:bodyPr>
              <a:lstStyle/>
              <a:p>
                <a:pPr marL="355600" indent="-355600">
                  <a:spcAft>
                    <a:spcPts val="600"/>
                  </a:spcAft>
                  <a:tabLst>
                    <a:tab pos="355600" algn="l"/>
                    <a:tab pos="1433513" algn="l"/>
                  </a:tabLst>
                  <a:defRPr/>
                </a:pPr>
                <a:r>
                  <a:rPr lang="en-GB" sz="2000" b="1" dirty="0" smtClean="0">
                    <a:solidFill>
                      <a:srgbClr val="FF0000"/>
                    </a:solidFill>
                    <a:latin typeface="Cambria" pitchFamily="18" charset="0"/>
                  </a:rPr>
                  <a:t>120 km </a:t>
                </a:r>
                <a:r>
                  <a:rPr lang="en-GB" sz="2000" dirty="0">
                    <a:latin typeface="Cambria" pitchFamily="18" charset="0"/>
                  </a:rPr>
                  <a:t>of toll highway to connect the E</a:t>
                </a:r>
                <a:r>
                  <a:rPr lang="en-GB" sz="2000" dirty="0" smtClean="0">
                    <a:latin typeface="Cambria" pitchFamily="18" charset="0"/>
                  </a:rPr>
                  <a:t>ast </a:t>
                </a:r>
                <a:endParaRPr lang="en-GB" sz="2000" dirty="0">
                  <a:solidFill>
                    <a:srgbClr val="C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279" name="Rectangle 278"/>
              <p:cNvSpPr/>
              <p:nvPr/>
            </p:nvSpPr>
            <p:spPr>
              <a:xfrm>
                <a:off x="3996237" y="4140981"/>
                <a:ext cx="4578526" cy="70788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square">
                <a:spAutoFit/>
              </a:bodyPr>
              <a:lstStyle/>
              <a:p>
                <a:pPr>
                  <a:spcAft>
                    <a:spcPts val="600"/>
                  </a:spcAft>
                  <a:tabLst>
                    <a:tab pos="355600" algn="l"/>
                    <a:tab pos="1433513" algn="l"/>
                  </a:tabLst>
                  <a:defRPr/>
                </a:pPr>
                <a:r>
                  <a:rPr lang="en-GB" sz="2000" b="1" dirty="0" smtClean="0">
                    <a:solidFill>
                      <a:srgbClr val="FF0000"/>
                    </a:solidFill>
                    <a:latin typeface="Cambria" pitchFamily="18" charset="0"/>
                  </a:rPr>
                  <a:t> </a:t>
                </a:r>
                <a:r>
                  <a:rPr lang="en-GB" sz="2000" b="1" dirty="0">
                    <a:solidFill>
                      <a:srgbClr val="FF0000"/>
                    </a:solidFill>
                    <a:latin typeface="Cambria" pitchFamily="18" charset="0"/>
                  </a:rPr>
                  <a:t>247 </a:t>
                </a:r>
                <a:r>
                  <a:rPr lang="en-GB" sz="2000" b="1" dirty="0" smtClean="0">
                    <a:solidFill>
                      <a:srgbClr val="FF0000"/>
                    </a:solidFill>
                    <a:latin typeface="Cambria" pitchFamily="18" charset="0"/>
                  </a:rPr>
                  <a:t>km </a:t>
                </a:r>
                <a:r>
                  <a:rPr lang="en-GB" sz="2000" dirty="0" smtClean="0">
                    <a:latin typeface="Cambria" pitchFamily="18" charset="0"/>
                  </a:rPr>
                  <a:t>of toll highway to connect the </a:t>
                </a:r>
                <a:r>
                  <a:rPr lang="en-GB" sz="2000" dirty="0" err="1" smtClean="0">
                    <a:latin typeface="Cambria" pitchFamily="18" charset="0"/>
                  </a:rPr>
                  <a:t>center</a:t>
                </a:r>
                <a:endParaRPr lang="en-GB" sz="2000" dirty="0">
                  <a:solidFill>
                    <a:schemeClr val="accent6">
                      <a:lumMod val="50000"/>
                    </a:schemeClr>
                  </a:solidFill>
                  <a:latin typeface="Cambria" pitchFamily="18" charset="0"/>
                </a:endParaRPr>
              </a:p>
            </p:txBody>
          </p:sp>
          <p:sp>
            <p:nvSpPr>
              <p:cNvPr id="280" name="Rectangle 279"/>
              <p:cNvSpPr/>
              <p:nvPr/>
            </p:nvSpPr>
            <p:spPr>
              <a:xfrm>
                <a:off x="3996236" y="4848867"/>
                <a:ext cx="4619879" cy="70788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square">
                <a:spAutoFit/>
              </a:bodyPr>
              <a:lstStyle/>
              <a:p>
                <a:pPr>
                  <a:spcAft>
                    <a:spcPts val="600"/>
                  </a:spcAft>
                  <a:tabLst>
                    <a:tab pos="1433513" algn="l"/>
                  </a:tabLst>
                  <a:defRPr/>
                </a:pPr>
                <a:r>
                  <a:rPr lang="en-GB" sz="2000" b="1" dirty="0">
                    <a:solidFill>
                      <a:srgbClr val="FF0000"/>
                    </a:solidFill>
                    <a:latin typeface="Cambria" pitchFamily="18" charset="0"/>
                  </a:rPr>
                  <a:t>200 </a:t>
                </a:r>
                <a:r>
                  <a:rPr lang="en-GB" sz="2000" b="1" dirty="0" smtClean="0">
                    <a:solidFill>
                      <a:srgbClr val="FF0000"/>
                    </a:solidFill>
                    <a:latin typeface="Cambria" pitchFamily="18" charset="0"/>
                  </a:rPr>
                  <a:t>km </a:t>
                </a:r>
                <a:r>
                  <a:rPr lang="en-GB" sz="2000" dirty="0">
                    <a:latin typeface="Cambria" pitchFamily="18" charset="0"/>
                  </a:rPr>
                  <a:t>of toll highway to connect the </a:t>
                </a:r>
                <a:r>
                  <a:rPr lang="en-GB" sz="2000" dirty="0" smtClean="0">
                    <a:latin typeface="Cambria" pitchFamily="18" charset="0"/>
                  </a:rPr>
                  <a:t>North (access to </a:t>
                </a:r>
                <a:r>
                  <a:rPr lang="en-GB" sz="2000" dirty="0">
                    <a:latin typeface="Cambria" pitchFamily="18" charset="0"/>
                  </a:rPr>
                  <a:t>E</a:t>
                </a:r>
                <a:r>
                  <a:rPr lang="en-GB" sz="2000" dirty="0" smtClean="0">
                    <a:latin typeface="Cambria" pitchFamily="18" charset="0"/>
                  </a:rPr>
                  <a:t>urope)</a:t>
                </a:r>
                <a:endParaRPr lang="fr-FR" sz="2000" dirty="0">
                  <a:solidFill>
                    <a:srgbClr val="C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281" name="Titre 3"/>
              <p:cNvSpPr txBox="1">
                <a:spLocks/>
              </p:cNvSpPr>
              <p:nvPr/>
            </p:nvSpPr>
            <p:spPr bwMode="auto">
              <a:xfrm>
                <a:off x="1785617" y="4297641"/>
                <a:ext cx="1889337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r>
                  <a:rPr lang="fr-FR" sz="2400" b="1" dirty="0" err="1" smtClean="0">
                    <a:solidFill>
                      <a:srgbClr val="000090"/>
                    </a:solidFill>
                    <a:latin typeface="Cambria" pitchFamily="18" charset="0"/>
                    <a:ea typeface="+mj-ea"/>
                    <a:cs typeface="+mj-cs"/>
                  </a:rPr>
                  <a:t>Highways</a:t>
                </a:r>
                <a:r>
                  <a:rPr lang="fr-FR" sz="2400" b="1" dirty="0" smtClean="0">
                    <a:solidFill>
                      <a:srgbClr val="000090"/>
                    </a:solidFill>
                    <a:latin typeface="Cambria" pitchFamily="18" charset="0"/>
                    <a:ea typeface="+mj-ea"/>
                    <a:cs typeface="+mj-cs"/>
                  </a:rPr>
                  <a:t> </a:t>
                </a:r>
              </a:p>
            </p:txBody>
          </p:sp>
          <p:sp>
            <p:nvSpPr>
              <p:cNvPr id="282" name="Rectangle 281"/>
              <p:cNvSpPr/>
              <p:nvPr/>
            </p:nvSpPr>
            <p:spPr>
              <a:xfrm flipH="1">
                <a:off x="3674954" y="4140981"/>
                <a:ext cx="45719" cy="2447871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grpSp>
          <p:nvGrpSpPr>
            <p:cNvPr id="289" name="Groupe 288"/>
            <p:cNvGrpSpPr/>
            <p:nvPr/>
          </p:nvGrpSpPr>
          <p:grpSpPr>
            <a:xfrm>
              <a:off x="44539" y="1573478"/>
              <a:ext cx="9031033" cy="1318214"/>
              <a:chOff x="44539" y="1573478"/>
              <a:chExt cx="9031033" cy="1318214"/>
            </a:xfrm>
          </p:grpSpPr>
          <p:sp>
            <p:nvSpPr>
              <p:cNvPr id="283" name="Titre 3"/>
              <p:cNvSpPr txBox="1">
                <a:spLocks/>
              </p:cNvSpPr>
              <p:nvPr/>
            </p:nvSpPr>
            <p:spPr bwMode="auto">
              <a:xfrm>
                <a:off x="44539" y="1710765"/>
                <a:ext cx="1555641" cy="809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r>
                  <a:rPr lang="fr-FR" sz="2400" b="1" dirty="0" err="1" smtClean="0">
                    <a:solidFill>
                      <a:srgbClr val="000090"/>
                    </a:solidFill>
                    <a:latin typeface="Cambria" pitchFamily="18" charset="0"/>
                    <a:ea typeface="+mj-ea"/>
                    <a:cs typeface="+mj-cs"/>
                  </a:rPr>
                  <a:t>Railways</a:t>
                </a:r>
                <a:endParaRPr lang="fr-FR" sz="2400" b="1" dirty="0" smtClean="0">
                  <a:solidFill>
                    <a:srgbClr val="000090"/>
                  </a:solidFill>
                  <a:latin typeface="Cambria" pitchFamily="18" charset="0"/>
                  <a:ea typeface="+mj-ea"/>
                  <a:cs typeface="+mj-cs"/>
                </a:endParaRPr>
              </a:p>
            </p:txBody>
          </p:sp>
          <p:sp>
            <p:nvSpPr>
              <p:cNvPr id="284" name="Rectangle 283"/>
              <p:cNvSpPr/>
              <p:nvPr/>
            </p:nvSpPr>
            <p:spPr>
              <a:xfrm>
                <a:off x="1785617" y="1573478"/>
                <a:ext cx="7250879" cy="46166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square">
                <a:spAutoFit/>
              </a:bodyPr>
              <a:lstStyle/>
              <a:p>
                <a:pPr marL="355600" indent="-355600">
                  <a:spcAft>
                    <a:spcPts val="600"/>
                  </a:spcAft>
                  <a:tabLst>
                    <a:tab pos="355600" algn="l"/>
                    <a:tab pos="1433513" algn="l"/>
                  </a:tabLst>
                  <a:defRPr/>
                </a:pPr>
                <a:r>
                  <a:rPr lang="fr-FR" sz="2400" b="1" dirty="0" smtClean="0">
                    <a:solidFill>
                      <a:srgbClr val="FF0000"/>
                    </a:solidFill>
                    <a:latin typeface="Cambria" pitchFamily="18" charset="0"/>
                  </a:rPr>
                  <a:t>750 km </a:t>
                </a:r>
                <a:r>
                  <a:rPr lang="fr-FR" sz="2400" dirty="0" smtClean="0">
                    <a:latin typeface="Cambria" pitchFamily="18" charset="0"/>
                  </a:rPr>
                  <a:t>of rail line to the Mali</a:t>
                </a:r>
                <a:r>
                  <a:rPr lang="en-GB" sz="2400" dirty="0" smtClean="0">
                    <a:solidFill>
                      <a:srgbClr val="C00000"/>
                    </a:solidFill>
                    <a:latin typeface="Cambria" pitchFamily="18" charset="0"/>
                  </a:rPr>
                  <a:t> </a:t>
                </a:r>
                <a:r>
                  <a:rPr lang="fr-FR" sz="2400" dirty="0" smtClean="0">
                    <a:latin typeface="Cambria" pitchFamily="18" charset="0"/>
                  </a:rPr>
                  <a:t> </a:t>
                </a:r>
                <a:endParaRPr lang="fr-FR" sz="2400" dirty="0">
                  <a:latin typeface="Cambria" pitchFamily="18" charset="0"/>
                </a:endParaRPr>
              </a:p>
            </p:txBody>
          </p:sp>
          <p:sp>
            <p:nvSpPr>
              <p:cNvPr id="285" name="Rectangle 284"/>
              <p:cNvSpPr/>
              <p:nvPr/>
            </p:nvSpPr>
            <p:spPr>
              <a:xfrm>
                <a:off x="1808479" y="2036771"/>
                <a:ext cx="7267093" cy="46166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square">
                <a:spAutoFit/>
              </a:bodyPr>
              <a:lstStyle/>
              <a:p>
                <a:pPr marL="355600" indent="-355600">
                  <a:spcAft>
                    <a:spcPts val="600"/>
                  </a:spcAft>
                  <a:tabLst>
                    <a:tab pos="355600" algn="l"/>
                    <a:tab pos="1433513" algn="l"/>
                  </a:tabLst>
                  <a:defRPr/>
                </a:pPr>
                <a:r>
                  <a:rPr lang="fr-FR" sz="2400" b="1" dirty="0" smtClean="0">
                    <a:solidFill>
                      <a:srgbClr val="FF0000"/>
                    </a:solidFill>
                    <a:latin typeface="Cambria" pitchFamily="18" charset="0"/>
                  </a:rPr>
                  <a:t>50 km </a:t>
                </a:r>
                <a:r>
                  <a:rPr lang="fr-FR" sz="2400" dirty="0" smtClean="0">
                    <a:latin typeface="Cambria" pitchFamily="18" charset="0"/>
                  </a:rPr>
                  <a:t>of inter </a:t>
                </a:r>
                <a:r>
                  <a:rPr lang="fr-FR" sz="2400" dirty="0" err="1" smtClean="0">
                    <a:latin typeface="Cambria" pitchFamily="18" charset="0"/>
                  </a:rPr>
                  <a:t>urban</a:t>
                </a:r>
                <a:r>
                  <a:rPr lang="fr-FR" sz="2400" dirty="0" smtClean="0">
                    <a:latin typeface="Cambria" pitchFamily="18" charset="0"/>
                  </a:rPr>
                  <a:t> rail line in Dakar </a:t>
                </a:r>
                <a:r>
                  <a:rPr lang="fr-FR" sz="2400" dirty="0" err="1" smtClean="0">
                    <a:latin typeface="Cambria" pitchFamily="18" charset="0"/>
                  </a:rPr>
                  <a:t>region</a:t>
                </a:r>
                <a:endParaRPr lang="fr-FR" sz="2400" dirty="0" smtClean="0">
                  <a:latin typeface="Cambria" pitchFamily="18" charset="0"/>
                </a:endParaRPr>
              </a:p>
            </p:txBody>
          </p:sp>
          <p:sp>
            <p:nvSpPr>
              <p:cNvPr id="286" name="Rectangle 285"/>
              <p:cNvSpPr/>
              <p:nvPr/>
            </p:nvSpPr>
            <p:spPr>
              <a:xfrm>
                <a:off x="1600181" y="1573478"/>
                <a:ext cx="45719" cy="1318214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3324324"/>
      </p:ext>
    </p:extLst>
  </p:cSld>
  <p:clrMapOvr>
    <a:masterClrMapping/>
  </p:clrMapOvr>
  <p:transition spd="med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heckerboard(across)">
                                      <p:cBhvr>
                                        <p:cTn id="11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3"/>
          <p:cNvSpPr txBox="1"/>
          <p:nvPr>
            <p:custDataLst>
              <p:tags r:id="rId1"/>
            </p:custDataLst>
          </p:nvPr>
        </p:nvSpPr>
        <p:spPr bwMode="gray">
          <a:xfrm>
            <a:off x="100018" y="798555"/>
            <a:ext cx="8712968" cy="5853271"/>
          </a:xfrm>
          <a:prstGeom prst="rect">
            <a:avLst/>
          </a:prstGeom>
          <a:solidFill>
            <a:srgbClr val="FFFFFF"/>
          </a:solidFill>
          <a:ln w="9525">
            <a:solidFill>
              <a:srgbClr val="94B492"/>
            </a:solidFill>
            <a:miter lim="800000"/>
            <a:headEnd/>
            <a:tailEnd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36000" bIns="7347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3675" marR="0" lvl="1" indent="-192088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2F422E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98" name="McK 4. 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37530" y="6665160"/>
            <a:ext cx="790451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98425" indent="-98425" defTabSz="895350">
              <a:defRPr sz="1000">
                <a:solidFill>
                  <a:srgbClr val="000000"/>
                </a:solidFill>
                <a:latin typeface="Cambria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98425" marR="0" lvl="0" indent="-98425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rPr>
              <a:t>1 </a:t>
            </a: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rPr>
              <a:t>Part affectée au </a:t>
            </a:r>
            <a:r>
              <a:rPr kumimoji="0" lang="fr-FR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rPr>
              <a:t>Sénégal</a:t>
            </a:r>
            <a:endParaRPr kumimoji="0" lang="fr-FR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99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39555" y="360970"/>
            <a:ext cx="867844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vert="horz" lIns="91440" tIns="45720" rIns="91440" bIns="45720" rtlCol="0" anchor="ctr">
            <a:noAutofit/>
          </a:bodyPr>
          <a:lstStyle>
            <a:lvl1pPr eaLnBrk="0" hangingPunct="0">
              <a:spcBef>
                <a:spcPct val="0"/>
              </a:spcBef>
              <a:buNone/>
              <a:defRPr sz="2400" b="1"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r>
              <a:rPr lang="fr-FR" sz="3200" dirty="0"/>
              <a:t>2020- </a:t>
            </a:r>
            <a:r>
              <a:rPr lang="fr-FR" sz="3200" dirty="0" smtClean="0"/>
              <a:t>2025 </a:t>
            </a:r>
            <a:r>
              <a:rPr lang="fr-FR" sz="3200" dirty="0" err="1" smtClean="0">
                <a:solidFill>
                  <a:srgbClr val="AB0000"/>
                </a:solidFill>
              </a:rPr>
              <a:t>Energy</a:t>
            </a:r>
            <a:r>
              <a:rPr lang="fr-FR" sz="3200" dirty="0" smtClean="0">
                <a:solidFill>
                  <a:srgbClr val="AB0000"/>
                </a:solidFill>
              </a:rPr>
              <a:t> Vision</a:t>
            </a:r>
            <a:endParaRPr lang="fr-FR" sz="3200" dirty="0">
              <a:solidFill>
                <a:srgbClr val="AB0000"/>
              </a:solidFill>
            </a:endParaRPr>
          </a:p>
        </p:txBody>
      </p:sp>
      <p:pic>
        <p:nvPicPr>
          <p:cNvPr id="100" name="Picture 6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44041" y="992673"/>
            <a:ext cx="7479732" cy="5162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1" name="Rectangle 316"/>
          <p:cNvSpPr txBox="1"/>
          <p:nvPr>
            <p:custDataLst>
              <p:tags r:id="rId5"/>
            </p:custDataLst>
          </p:nvPr>
        </p:nvSpPr>
        <p:spPr bwMode="gray">
          <a:xfrm>
            <a:off x="3071208" y="908293"/>
            <a:ext cx="92974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fr-FR" sz="1000" dirty="0" smtClean="0">
                <a:solidFill>
                  <a:srgbClr val="000000"/>
                </a:solidFill>
                <a:latin typeface="Cambria"/>
              </a:rPr>
              <a:t>Vers </a:t>
            </a:r>
            <a:r>
              <a:rPr lang="fr-FR" sz="1000" b="1" dirty="0" smtClean="0">
                <a:solidFill>
                  <a:srgbClr val="000000"/>
                </a:solidFill>
                <a:latin typeface="Cambria"/>
              </a:rPr>
              <a:t>Mauritanie</a:t>
            </a:r>
            <a:endParaRPr lang="fr-FR" sz="1000" b="1" dirty="0">
              <a:solidFill>
                <a:srgbClr val="000000"/>
              </a:solidFill>
              <a:latin typeface="Cambria"/>
            </a:endParaRPr>
          </a:p>
        </p:txBody>
      </p:sp>
      <p:sp>
        <p:nvSpPr>
          <p:cNvPr id="102" name="Rectangle 316"/>
          <p:cNvSpPr txBox="1"/>
          <p:nvPr>
            <p:custDataLst>
              <p:tags r:id="rId6"/>
            </p:custDataLst>
          </p:nvPr>
        </p:nvSpPr>
        <p:spPr bwMode="gray">
          <a:xfrm>
            <a:off x="7331052" y="4273922"/>
            <a:ext cx="694101" cy="138499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rPr>
              <a:t>Mali</a:t>
            </a:r>
            <a:r>
              <a:rPr kumimoji="0" lang="fr-F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mbria"/>
              </a:rPr>
              <a:t> </a:t>
            </a:r>
            <a:r>
              <a:rPr kumimoji="0" lang="fr-FR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mbria"/>
              </a:rPr>
              <a:t>                 </a:t>
            </a:r>
            <a:endParaRPr kumimoji="0" lang="fr-FR" sz="9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03" name="Freeform 347"/>
          <p:cNvSpPr/>
          <p:nvPr>
            <p:custDataLst>
              <p:tags r:id="rId7"/>
            </p:custDataLst>
          </p:nvPr>
        </p:nvSpPr>
        <p:spPr bwMode="gray">
          <a:xfrm>
            <a:off x="4198146" y="5531393"/>
            <a:ext cx="271462" cy="33338"/>
          </a:xfrm>
          <a:custGeom>
            <a:avLst/>
            <a:gdLst>
              <a:gd name="connsiteX0" fmla="*/ 271462 w 271462"/>
              <a:gd name="connsiteY0" fmla="*/ 33338 h 33338"/>
              <a:gd name="connsiteX1" fmla="*/ 0 w 271462"/>
              <a:gd name="connsiteY1" fmla="*/ 0 h 33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1462" h="33338">
                <a:moveTo>
                  <a:pt x="271462" y="33338"/>
                </a:moveTo>
                <a:lnTo>
                  <a:pt x="0" y="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04" name="Freeform 319"/>
          <p:cNvSpPr/>
          <p:nvPr>
            <p:custDataLst>
              <p:tags r:id="rId8"/>
            </p:custDataLst>
          </p:nvPr>
        </p:nvSpPr>
        <p:spPr bwMode="gray">
          <a:xfrm>
            <a:off x="3450504" y="1160809"/>
            <a:ext cx="24982" cy="512132"/>
          </a:xfrm>
          <a:custGeom>
            <a:avLst/>
            <a:gdLst>
              <a:gd name="connsiteX0" fmla="*/ 0 w 28575"/>
              <a:gd name="connsiteY0" fmla="*/ 585787 h 585787"/>
              <a:gd name="connsiteX1" fmla="*/ 28575 w 28575"/>
              <a:gd name="connsiteY1" fmla="*/ 0 h 585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8575" h="585787">
                <a:moveTo>
                  <a:pt x="0" y="585787"/>
                </a:moveTo>
                <a:lnTo>
                  <a:pt x="28575" y="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05" name="Freeform 332"/>
          <p:cNvSpPr/>
          <p:nvPr>
            <p:custDataLst>
              <p:tags r:id="rId9"/>
            </p:custDataLst>
          </p:nvPr>
        </p:nvSpPr>
        <p:spPr bwMode="gray">
          <a:xfrm>
            <a:off x="5315832" y="4887301"/>
            <a:ext cx="408040" cy="399713"/>
          </a:xfrm>
          <a:custGeom>
            <a:avLst/>
            <a:gdLst>
              <a:gd name="connsiteX0" fmla="*/ 128588 w 466725"/>
              <a:gd name="connsiteY0" fmla="*/ 0 h 457200"/>
              <a:gd name="connsiteX1" fmla="*/ 466725 w 466725"/>
              <a:gd name="connsiteY1" fmla="*/ 419100 h 457200"/>
              <a:gd name="connsiteX2" fmla="*/ 0 w 466725"/>
              <a:gd name="connsiteY2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6725" h="457200">
                <a:moveTo>
                  <a:pt x="128588" y="0"/>
                </a:moveTo>
                <a:lnTo>
                  <a:pt x="466725" y="419100"/>
                </a:lnTo>
                <a:lnTo>
                  <a:pt x="0" y="45720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06" name="Freeform 333"/>
          <p:cNvSpPr/>
          <p:nvPr>
            <p:custDataLst>
              <p:tags r:id="rId10"/>
            </p:custDataLst>
          </p:nvPr>
        </p:nvSpPr>
        <p:spPr bwMode="gray">
          <a:xfrm>
            <a:off x="5790491" y="5303668"/>
            <a:ext cx="503805" cy="487151"/>
          </a:xfrm>
          <a:custGeom>
            <a:avLst/>
            <a:gdLst>
              <a:gd name="connsiteX0" fmla="*/ 0 w 576263"/>
              <a:gd name="connsiteY0" fmla="*/ 0 h 557213"/>
              <a:gd name="connsiteX1" fmla="*/ 576263 w 576263"/>
              <a:gd name="connsiteY1" fmla="*/ 557213 h 557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76263" h="557213">
                <a:moveTo>
                  <a:pt x="0" y="0"/>
                </a:moveTo>
                <a:lnTo>
                  <a:pt x="576263" y="557213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07" name="Freeform 334"/>
          <p:cNvSpPr/>
          <p:nvPr>
            <p:custDataLst>
              <p:tags r:id="rId11"/>
            </p:custDataLst>
          </p:nvPr>
        </p:nvSpPr>
        <p:spPr bwMode="gray">
          <a:xfrm>
            <a:off x="6365078" y="5836617"/>
            <a:ext cx="353913" cy="124910"/>
          </a:xfrm>
          <a:custGeom>
            <a:avLst/>
            <a:gdLst>
              <a:gd name="connsiteX0" fmla="*/ 0 w 404813"/>
              <a:gd name="connsiteY0" fmla="*/ 0 h 142875"/>
              <a:gd name="connsiteX1" fmla="*/ 404813 w 404813"/>
              <a:gd name="connsiteY1" fmla="*/ 142875 h 14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4813" h="142875">
                <a:moveTo>
                  <a:pt x="0" y="0"/>
                </a:moveTo>
                <a:lnTo>
                  <a:pt x="404813" y="142875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08" name="Freeform 335"/>
          <p:cNvSpPr/>
          <p:nvPr>
            <p:custDataLst>
              <p:tags r:id="rId12"/>
            </p:custDataLst>
          </p:nvPr>
        </p:nvSpPr>
        <p:spPr bwMode="gray">
          <a:xfrm>
            <a:off x="6789773" y="5940711"/>
            <a:ext cx="79110" cy="33309"/>
          </a:xfrm>
          <a:custGeom>
            <a:avLst/>
            <a:gdLst>
              <a:gd name="connsiteX0" fmla="*/ 0 w 90488"/>
              <a:gd name="connsiteY0" fmla="*/ 38100 h 38100"/>
              <a:gd name="connsiteX1" fmla="*/ 90488 w 90488"/>
              <a:gd name="connsiteY1" fmla="*/ 0 h 3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0488" h="38100">
                <a:moveTo>
                  <a:pt x="0" y="38100"/>
                </a:moveTo>
                <a:lnTo>
                  <a:pt x="90488" y="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09" name="Freeform 336"/>
          <p:cNvSpPr/>
          <p:nvPr>
            <p:custDataLst>
              <p:tags r:id="rId13"/>
            </p:custDataLst>
          </p:nvPr>
        </p:nvSpPr>
        <p:spPr bwMode="gray">
          <a:xfrm>
            <a:off x="6935502" y="5915727"/>
            <a:ext cx="303948" cy="49964"/>
          </a:xfrm>
          <a:custGeom>
            <a:avLst/>
            <a:gdLst>
              <a:gd name="connsiteX0" fmla="*/ 0 w 347662"/>
              <a:gd name="connsiteY0" fmla="*/ 0 h 57150"/>
              <a:gd name="connsiteX1" fmla="*/ 347662 w 347662"/>
              <a:gd name="connsiteY1" fmla="*/ 57150 h 5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7662" h="57150">
                <a:moveTo>
                  <a:pt x="0" y="0"/>
                </a:moveTo>
                <a:lnTo>
                  <a:pt x="347662" y="5715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0" name="Freeform 337"/>
          <p:cNvSpPr/>
          <p:nvPr>
            <p:custDataLst>
              <p:tags r:id="rId14"/>
            </p:custDataLst>
          </p:nvPr>
        </p:nvSpPr>
        <p:spPr bwMode="gray">
          <a:xfrm>
            <a:off x="7301907" y="5645090"/>
            <a:ext cx="95764" cy="303949"/>
          </a:xfrm>
          <a:custGeom>
            <a:avLst/>
            <a:gdLst>
              <a:gd name="connsiteX0" fmla="*/ 0 w 109537"/>
              <a:gd name="connsiteY0" fmla="*/ 347663 h 347663"/>
              <a:gd name="connsiteX1" fmla="*/ 109537 w 109537"/>
              <a:gd name="connsiteY1" fmla="*/ 0 h 347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9537" h="347663">
                <a:moveTo>
                  <a:pt x="0" y="347663"/>
                </a:moveTo>
                <a:lnTo>
                  <a:pt x="109537" y="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1" name="Freeform 338"/>
          <p:cNvSpPr/>
          <p:nvPr>
            <p:custDataLst>
              <p:tags r:id="rId15"/>
            </p:custDataLst>
          </p:nvPr>
        </p:nvSpPr>
        <p:spPr bwMode="gray">
          <a:xfrm>
            <a:off x="5086353" y="5324485"/>
            <a:ext cx="645848" cy="616224"/>
          </a:xfrm>
          <a:custGeom>
            <a:avLst/>
            <a:gdLst>
              <a:gd name="connsiteX0" fmla="*/ 371475 w 371475"/>
              <a:gd name="connsiteY0" fmla="*/ 0 h 671512"/>
              <a:gd name="connsiteX1" fmla="*/ 0 w 371475"/>
              <a:gd name="connsiteY1" fmla="*/ 671512 h 67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1475" h="671512">
                <a:moveTo>
                  <a:pt x="371475" y="0"/>
                </a:moveTo>
                <a:lnTo>
                  <a:pt x="0" y="671512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2" name="Freeform 345"/>
          <p:cNvSpPr/>
          <p:nvPr>
            <p:custDataLst>
              <p:tags r:id="rId16"/>
            </p:custDataLst>
          </p:nvPr>
        </p:nvSpPr>
        <p:spPr bwMode="gray">
          <a:xfrm>
            <a:off x="4936333" y="5288506"/>
            <a:ext cx="300038" cy="4762"/>
          </a:xfrm>
          <a:custGeom>
            <a:avLst/>
            <a:gdLst>
              <a:gd name="connsiteX0" fmla="*/ 300038 w 300038"/>
              <a:gd name="connsiteY0" fmla="*/ 0 h 4762"/>
              <a:gd name="connsiteX1" fmla="*/ 0 w 300038"/>
              <a:gd name="connsiteY1" fmla="*/ 4762 h 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00038" h="4762">
                <a:moveTo>
                  <a:pt x="300038" y="0"/>
                </a:moveTo>
                <a:lnTo>
                  <a:pt x="0" y="4762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3" name="Freeform 346"/>
          <p:cNvSpPr/>
          <p:nvPr>
            <p:custDataLst>
              <p:tags r:id="rId17"/>
            </p:custDataLst>
          </p:nvPr>
        </p:nvSpPr>
        <p:spPr bwMode="gray">
          <a:xfrm>
            <a:off x="4541046" y="5507583"/>
            <a:ext cx="366712" cy="52387"/>
          </a:xfrm>
          <a:custGeom>
            <a:avLst/>
            <a:gdLst>
              <a:gd name="connsiteX0" fmla="*/ 366712 w 366712"/>
              <a:gd name="connsiteY0" fmla="*/ 0 h 52387"/>
              <a:gd name="connsiteX1" fmla="*/ 0 w 366712"/>
              <a:gd name="connsiteY1" fmla="*/ 52387 h 5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6712" h="52387">
                <a:moveTo>
                  <a:pt x="366712" y="0"/>
                </a:moveTo>
                <a:lnTo>
                  <a:pt x="0" y="52387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4" name="Freeform 348"/>
          <p:cNvSpPr/>
          <p:nvPr>
            <p:custDataLst>
              <p:tags r:id="rId18"/>
            </p:custDataLst>
          </p:nvPr>
        </p:nvSpPr>
        <p:spPr bwMode="gray">
          <a:xfrm>
            <a:off x="3555208" y="5702843"/>
            <a:ext cx="500063" cy="109538"/>
          </a:xfrm>
          <a:custGeom>
            <a:avLst/>
            <a:gdLst>
              <a:gd name="connsiteX0" fmla="*/ 0 w 500063"/>
              <a:gd name="connsiteY0" fmla="*/ 109538 h 109538"/>
              <a:gd name="connsiteX1" fmla="*/ 185738 w 500063"/>
              <a:gd name="connsiteY1" fmla="*/ 14288 h 109538"/>
              <a:gd name="connsiteX2" fmla="*/ 500063 w 500063"/>
              <a:gd name="connsiteY2" fmla="*/ 0 h 109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0063" h="109538">
                <a:moveTo>
                  <a:pt x="0" y="109538"/>
                </a:moveTo>
                <a:lnTo>
                  <a:pt x="185738" y="14288"/>
                </a:lnTo>
                <a:lnTo>
                  <a:pt x="500063" y="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5" name="Freeform 349"/>
          <p:cNvSpPr/>
          <p:nvPr>
            <p:custDataLst>
              <p:tags r:id="rId19"/>
            </p:custDataLst>
          </p:nvPr>
        </p:nvSpPr>
        <p:spPr bwMode="gray">
          <a:xfrm>
            <a:off x="4026696" y="5159920"/>
            <a:ext cx="223837" cy="347663"/>
          </a:xfrm>
          <a:custGeom>
            <a:avLst/>
            <a:gdLst>
              <a:gd name="connsiteX0" fmla="*/ 0 w 223837"/>
              <a:gd name="connsiteY0" fmla="*/ 347663 h 347663"/>
              <a:gd name="connsiteX1" fmla="*/ 223837 w 223837"/>
              <a:gd name="connsiteY1" fmla="*/ 0 h 347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3837" h="347663">
                <a:moveTo>
                  <a:pt x="0" y="347663"/>
                </a:moveTo>
                <a:lnTo>
                  <a:pt x="223837" y="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6" name="Freeform 350"/>
          <p:cNvSpPr/>
          <p:nvPr>
            <p:custDataLst>
              <p:tags r:id="rId20"/>
            </p:custDataLst>
          </p:nvPr>
        </p:nvSpPr>
        <p:spPr bwMode="gray">
          <a:xfrm>
            <a:off x="3940970" y="4393156"/>
            <a:ext cx="428625" cy="4762"/>
          </a:xfrm>
          <a:custGeom>
            <a:avLst/>
            <a:gdLst>
              <a:gd name="connsiteX0" fmla="*/ 0 w 428625"/>
              <a:gd name="connsiteY0" fmla="*/ 0 h 4762"/>
              <a:gd name="connsiteX1" fmla="*/ 428625 w 428625"/>
              <a:gd name="connsiteY1" fmla="*/ 4762 h 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28625" h="4762">
                <a:moveTo>
                  <a:pt x="0" y="0"/>
                </a:moveTo>
                <a:lnTo>
                  <a:pt x="428625" y="4762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7" name="Freeform 351"/>
          <p:cNvSpPr/>
          <p:nvPr>
            <p:custDataLst>
              <p:tags r:id="rId21"/>
            </p:custDataLst>
          </p:nvPr>
        </p:nvSpPr>
        <p:spPr bwMode="gray">
          <a:xfrm>
            <a:off x="4445796" y="4431256"/>
            <a:ext cx="261937" cy="309562"/>
          </a:xfrm>
          <a:custGeom>
            <a:avLst/>
            <a:gdLst>
              <a:gd name="connsiteX0" fmla="*/ 0 w 261937"/>
              <a:gd name="connsiteY0" fmla="*/ 0 h 309562"/>
              <a:gd name="connsiteX1" fmla="*/ 261937 w 261937"/>
              <a:gd name="connsiteY1" fmla="*/ 309562 h 30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1937" h="309562">
                <a:moveTo>
                  <a:pt x="0" y="0"/>
                </a:moveTo>
                <a:lnTo>
                  <a:pt x="261937" y="309562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8" name="Freeform 352"/>
          <p:cNvSpPr/>
          <p:nvPr>
            <p:custDataLst>
              <p:tags r:id="rId22"/>
            </p:custDataLst>
          </p:nvPr>
        </p:nvSpPr>
        <p:spPr bwMode="gray">
          <a:xfrm>
            <a:off x="3126583" y="4616995"/>
            <a:ext cx="223838" cy="142875"/>
          </a:xfrm>
          <a:custGeom>
            <a:avLst/>
            <a:gdLst>
              <a:gd name="connsiteX0" fmla="*/ 0 w 223838"/>
              <a:gd name="connsiteY0" fmla="*/ 0 h 142875"/>
              <a:gd name="connsiteX1" fmla="*/ 219075 w 223838"/>
              <a:gd name="connsiteY1" fmla="*/ 133350 h 142875"/>
              <a:gd name="connsiteX2" fmla="*/ 219075 w 223838"/>
              <a:gd name="connsiteY2" fmla="*/ 133350 h 142875"/>
              <a:gd name="connsiteX3" fmla="*/ 223838 w 223838"/>
              <a:gd name="connsiteY3" fmla="*/ 142875 h 14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838" h="142875">
                <a:moveTo>
                  <a:pt x="0" y="0"/>
                </a:moveTo>
                <a:lnTo>
                  <a:pt x="219075" y="133350"/>
                </a:lnTo>
                <a:lnTo>
                  <a:pt x="219075" y="133350"/>
                </a:lnTo>
                <a:lnTo>
                  <a:pt x="223838" y="142875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19" name="Freeform 353"/>
          <p:cNvSpPr/>
          <p:nvPr>
            <p:custDataLst>
              <p:tags r:id="rId23"/>
            </p:custDataLst>
          </p:nvPr>
        </p:nvSpPr>
        <p:spPr bwMode="gray">
          <a:xfrm>
            <a:off x="3307558" y="4802733"/>
            <a:ext cx="85725" cy="261937"/>
          </a:xfrm>
          <a:custGeom>
            <a:avLst/>
            <a:gdLst>
              <a:gd name="connsiteX0" fmla="*/ 0 w 85725"/>
              <a:gd name="connsiteY0" fmla="*/ 261937 h 261937"/>
              <a:gd name="connsiteX1" fmla="*/ 85725 w 85725"/>
              <a:gd name="connsiteY1" fmla="*/ 0 h 26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5725" h="261937">
                <a:moveTo>
                  <a:pt x="0" y="261937"/>
                </a:moveTo>
                <a:lnTo>
                  <a:pt x="85725" y="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20" name="Freeform 354"/>
          <p:cNvSpPr/>
          <p:nvPr>
            <p:custDataLst>
              <p:tags r:id="rId24"/>
            </p:custDataLst>
          </p:nvPr>
        </p:nvSpPr>
        <p:spPr bwMode="gray">
          <a:xfrm>
            <a:off x="3417096" y="4586039"/>
            <a:ext cx="90487" cy="150019"/>
          </a:xfrm>
          <a:custGeom>
            <a:avLst/>
            <a:gdLst>
              <a:gd name="connsiteX0" fmla="*/ 0 w 119062"/>
              <a:gd name="connsiteY0" fmla="*/ 142875 h 142875"/>
              <a:gd name="connsiteX1" fmla="*/ 119062 w 119062"/>
              <a:gd name="connsiteY1" fmla="*/ 0 h 14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9062" h="142875">
                <a:moveTo>
                  <a:pt x="0" y="142875"/>
                </a:moveTo>
                <a:lnTo>
                  <a:pt x="119062" y="0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21" name="Rectangle 120"/>
          <p:cNvSpPr/>
          <p:nvPr>
            <p:custDataLst>
              <p:tags r:id="rId25"/>
            </p:custDataLst>
          </p:nvPr>
        </p:nvSpPr>
        <p:spPr bwMode="gray">
          <a:xfrm>
            <a:off x="1468392" y="3679550"/>
            <a:ext cx="101317" cy="94377"/>
          </a:xfrm>
          <a:prstGeom prst="rect">
            <a:avLst/>
          </a:prstGeom>
          <a:solidFill>
            <a:srgbClr val="002060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22" name="Rectangle 121"/>
          <p:cNvSpPr/>
          <p:nvPr>
            <p:custDataLst>
              <p:tags r:id="rId26"/>
            </p:custDataLst>
          </p:nvPr>
        </p:nvSpPr>
        <p:spPr bwMode="gray">
          <a:xfrm>
            <a:off x="1844192" y="3168175"/>
            <a:ext cx="101317" cy="94377"/>
          </a:xfrm>
          <a:prstGeom prst="rect">
            <a:avLst/>
          </a:prstGeom>
          <a:solidFill>
            <a:srgbClr val="002060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23" name="Rectangle 122"/>
          <p:cNvSpPr/>
          <p:nvPr>
            <p:custDataLst>
              <p:tags r:id="rId27"/>
            </p:custDataLst>
          </p:nvPr>
        </p:nvSpPr>
        <p:spPr bwMode="gray">
          <a:xfrm>
            <a:off x="5315832" y="4456658"/>
            <a:ext cx="101317" cy="94377"/>
          </a:xfrm>
          <a:prstGeom prst="rect">
            <a:avLst/>
          </a:prstGeom>
          <a:solidFill>
            <a:srgbClr val="002060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24" name="Rectangle 123"/>
          <p:cNvSpPr/>
          <p:nvPr>
            <p:custDataLst>
              <p:tags r:id="rId28"/>
            </p:custDataLst>
          </p:nvPr>
        </p:nvSpPr>
        <p:spPr bwMode="gray">
          <a:xfrm>
            <a:off x="2895224" y="4166843"/>
            <a:ext cx="101317" cy="94377"/>
          </a:xfrm>
          <a:prstGeom prst="rect">
            <a:avLst/>
          </a:prstGeom>
          <a:solidFill>
            <a:srgbClr val="FF0000"/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25" name="Rectangle 3"/>
          <p:cNvSpPr txBox="1"/>
          <p:nvPr>
            <p:custDataLst>
              <p:tags r:id="rId29"/>
            </p:custDataLst>
          </p:nvPr>
        </p:nvSpPr>
        <p:spPr>
          <a:xfrm>
            <a:off x="4094804" y="860883"/>
            <a:ext cx="1285063" cy="555993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Importation de 80 à 250 MW via une centrale au gaz</a:t>
            </a:r>
            <a:endParaRPr kumimoji="0" lang="fr-F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26" name="Rectangle 3"/>
          <p:cNvSpPr txBox="1"/>
          <p:nvPr>
            <p:custDataLst>
              <p:tags r:id="rId30"/>
            </p:custDataLst>
          </p:nvPr>
        </p:nvSpPr>
        <p:spPr>
          <a:xfrm>
            <a:off x="152691" y="1109470"/>
            <a:ext cx="1281220" cy="466454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Taiba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 </a:t>
            </a: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Ndiaye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 : 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p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rojet éolien</a:t>
            </a:r>
          </a:p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(50 MW)</a:t>
            </a:r>
            <a:endParaRPr kumimoji="0" lang="fr-F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27" name="Rectangle 3"/>
          <p:cNvSpPr txBox="1"/>
          <p:nvPr>
            <p:custDataLst>
              <p:tags r:id="rId31"/>
            </p:custDataLst>
          </p:nvPr>
        </p:nvSpPr>
        <p:spPr>
          <a:xfrm>
            <a:off x="152691" y="2379980"/>
            <a:ext cx="1381080" cy="417265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Mboro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 : </a:t>
            </a:r>
          </a:p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270 MW charbon</a:t>
            </a:r>
            <a:endParaRPr kumimoji="0" lang="fr-F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28" name="Rectangle 3"/>
          <p:cNvSpPr txBox="1"/>
          <p:nvPr>
            <p:custDataLst>
              <p:tags r:id="rId32"/>
            </p:custDataLst>
          </p:nvPr>
        </p:nvSpPr>
        <p:spPr>
          <a:xfrm>
            <a:off x="152691" y="5020082"/>
            <a:ext cx="1298147" cy="878990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Sendou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 : </a:t>
            </a:r>
          </a:p>
          <a:p>
            <a:pPr marL="197607" marR="0" lvl="1" indent="-195987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125 MW (</a:t>
            </a: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Nycomb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)</a:t>
            </a:r>
          </a:p>
          <a:p>
            <a:pPr marL="197607" marR="0" lvl="1" indent="-195987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250 MW (</a:t>
            </a: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Kepco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)</a:t>
            </a:r>
          </a:p>
        </p:txBody>
      </p:sp>
      <p:sp>
        <p:nvSpPr>
          <p:cNvPr id="129" name="Rectangle 3"/>
          <p:cNvSpPr txBox="1"/>
          <p:nvPr>
            <p:custDataLst>
              <p:tags r:id="rId33"/>
            </p:custDataLst>
          </p:nvPr>
        </p:nvSpPr>
        <p:spPr>
          <a:xfrm>
            <a:off x="7658495" y="3557317"/>
            <a:ext cx="1118867" cy="481530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Barrage de 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 </a:t>
            </a: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Felou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 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(15 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MW</a:t>
            </a:r>
            <a:r>
              <a:rPr kumimoji="0" lang="fr-FR" sz="1000" b="1" i="0" u="none" strike="noStrike" kern="0" cap="none" spc="0" normalizeH="0" baseline="30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1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)</a:t>
            </a:r>
            <a:endParaRPr kumimoji="0" lang="fr-F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30" name="Rectangle 3"/>
          <p:cNvSpPr txBox="1"/>
          <p:nvPr>
            <p:custDataLst>
              <p:tags r:id="rId34"/>
            </p:custDataLst>
          </p:nvPr>
        </p:nvSpPr>
        <p:spPr>
          <a:xfrm>
            <a:off x="3389498" y="6163286"/>
            <a:ext cx="1443705" cy="468000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Barrage de </a:t>
            </a: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Kaléta</a:t>
            </a:r>
            <a:endParaRPr kumimoji="0" lang="fr-FR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(48 MW</a:t>
            </a:r>
            <a:r>
              <a:rPr kumimoji="0" lang="fr-FR" sz="1000" b="1" i="0" u="none" strike="noStrike" kern="0" cap="none" spc="0" normalizeH="0" baseline="30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1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)</a:t>
            </a:r>
            <a:endParaRPr kumimoji="0" lang="fr-F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31" name="Rectangle 316"/>
          <p:cNvSpPr txBox="1"/>
          <p:nvPr>
            <p:custDataLst>
              <p:tags r:id="rId35"/>
            </p:custDataLst>
          </p:nvPr>
        </p:nvSpPr>
        <p:spPr bwMode="gray">
          <a:xfrm>
            <a:off x="4715398" y="5970809"/>
            <a:ext cx="68768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fr-FR" sz="1000" dirty="0" smtClean="0">
                <a:solidFill>
                  <a:srgbClr val="000000"/>
                </a:solidFill>
                <a:latin typeface="Cambria"/>
              </a:rPr>
              <a:t>Vers </a:t>
            </a:r>
            <a:r>
              <a:rPr lang="fr-FR" sz="1000" b="1" dirty="0" smtClean="0">
                <a:solidFill>
                  <a:srgbClr val="000000"/>
                </a:solidFill>
                <a:latin typeface="Cambria"/>
              </a:rPr>
              <a:t>Guinée</a:t>
            </a:r>
            <a:endParaRPr lang="fr-FR" sz="1000" b="1" dirty="0">
              <a:solidFill>
                <a:srgbClr val="000000"/>
              </a:solidFill>
              <a:latin typeface="Cambria"/>
            </a:endParaRPr>
          </a:p>
        </p:txBody>
      </p:sp>
      <p:cxnSp>
        <p:nvCxnSpPr>
          <p:cNvPr id="132" name="Straight Connector 5"/>
          <p:cNvCxnSpPr>
            <a:stCxn id="126" idx="3"/>
          </p:cNvCxnSpPr>
          <p:nvPr>
            <p:custDataLst>
              <p:tags r:id="rId36"/>
            </p:custDataLst>
          </p:nvPr>
        </p:nvCxnSpPr>
        <p:spPr>
          <a:xfrm>
            <a:off x="1433912" y="1342697"/>
            <a:ext cx="559413" cy="19592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133" name="Straight Connector 67"/>
          <p:cNvCxnSpPr/>
          <p:nvPr>
            <p:custDataLst>
              <p:tags r:id="rId37"/>
            </p:custDataLst>
          </p:nvPr>
        </p:nvCxnSpPr>
        <p:spPr>
          <a:xfrm>
            <a:off x="838135" y="2797509"/>
            <a:ext cx="1006056" cy="415734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cxnSp>
        <p:nvCxnSpPr>
          <p:cNvPr id="134" name="Straight Connector 69"/>
          <p:cNvCxnSpPr/>
          <p:nvPr>
            <p:custDataLst>
              <p:tags r:id="rId38"/>
            </p:custDataLst>
          </p:nvPr>
        </p:nvCxnSpPr>
        <p:spPr>
          <a:xfrm flipV="1">
            <a:off x="1032375" y="3924021"/>
            <a:ext cx="343093" cy="1159646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sp>
        <p:nvSpPr>
          <p:cNvPr id="135" name="Rectangle 3"/>
          <p:cNvSpPr txBox="1"/>
          <p:nvPr>
            <p:custDataLst>
              <p:tags r:id="rId39"/>
            </p:custDataLst>
          </p:nvPr>
        </p:nvSpPr>
        <p:spPr>
          <a:xfrm>
            <a:off x="152691" y="3058590"/>
            <a:ext cx="746902" cy="1222642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Port de Dakar  rénové pour les produits pétroliers importés</a:t>
            </a:r>
          </a:p>
        </p:txBody>
      </p:sp>
      <p:cxnSp>
        <p:nvCxnSpPr>
          <p:cNvPr id="136" name="Straight Connector 74"/>
          <p:cNvCxnSpPr>
            <a:stCxn id="100" idx="1"/>
          </p:cNvCxnSpPr>
          <p:nvPr>
            <p:custDataLst>
              <p:tags r:id="rId40"/>
            </p:custDataLst>
          </p:nvPr>
        </p:nvCxnSpPr>
        <p:spPr>
          <a:xfrm flipV="1">
            <a:off x="844041" y="3573907"/>
            <a:ext cx="359880" cy="1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sp>
        <p:nvSpPr>
          <p:cNvPr id="137" name="Rectangle 136"/>
          <p:cNvSpPr/>
          <p:nvPr>
            <p:custDataLst>
              <p:tags r:id="rId41"/>
            </p:custDataLst>
          </p:nvPr>
        </p:nvSpPr>
        <p:spPr bwMode="gray">
          <a:xfrm>
            <a:off x="6208713" y="917308"/>
            <a:ext cx="2375729" cy="1276889"/>
          </a:xfrm>
          <a:prstGeom prst="rect">
            <a:avLst/>
          </a:prstGeom>
          <a:solidFill>
            <a:srgbClr val="FFFFFF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grpSp>
        <p:nvGrpSpPr>
          <p:cNvPr id="2" name="Group 4"/>
          <p:cNvGrpSpPr/>
          <p:nvPr>
            <p:custDataLst>
              <p:tags r:id="rId42"/>
            </p:custDataLst>
          </p:nvPr>
        </p:nvGrpSpPr>
        <p:grpSpPr>
          <a:xfrm>
            <a:off x="6637862" y="1092454"/>
            <a:ext cx="2084739" cy="1678467"/>
            <a:chOff x="9692441" y="222956"/>
            <a:chExt cx="2084739" cy="1678467"/>
          </a:xfrm>
        </p:grpSpPr>
        <p:sp>
          <p:nvSpPr>
            <p:cNvPr id="139" name="Rectangle 138"/>
            <p:cNvSpPr>
              <a:spLocks/>
            </p:cNvSpPr>
            <p:nvPr>
              <p:custDataLst>
                <p:tags r:id="rId72"/>
              </p:custDataLst>
            </p:nvPr>
          </p:nvSpPr>
          <p:spPr bwMode="gray">
            <a:xfrm>
              <a:off x="9966588" y="1470982"/>
              <a:ext cx="100584" cy="91440"/>
            </a:xfrm>
            <a:prstGeom prst="rect">
              <a:avLst/>
            </a:prstGeom>
            <a:solidFill>
              <a:srgbClr val="002060"/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0" name="Rectangle 316"/>
            <p:cNvSpPr txBox="1"/>
            <p:nvPr>
              <p:custDataLst>
                <p:tags r:id="rId73"/>
              </p:custDataLst>
            </p:nvPr>
          </p:nvSpPr>
          <p:spPr bwMode="gray">
            <a:xfrm>
              <a:off x="10137307" y="1439758"/>
              <a:ext cx="1221488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rPr>
                <a:t>Nouvelles centrales</a:t>
              </a:r>
            </a:p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rPr>
                <a:t>(plan de production et</a:t>
              </a:r>
            </a:p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rPr>
                <a:t>projets régionaux)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1" name="Rectangle 316"/>
            <p:cNvSpPr txBox="1"/>
            <p:nvPr>
              <p:custDataLst>
                <p:tags r:id="rId74"/>
              </p:custDataLst>
            </p:nvPr>
          </p:nvSpPr>
          <p:spPr bwMode="gray">
            <a:xfrm>
              <a:off x="10137307" y="222956"/>
              <a:ext cx="163987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rPr>
                <a:t>Nouvelles lignes (hypothèses)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2" name="Freeform 318"/>
            <p:cNvSpPr/>
            <p:nvPr>
              <p:custDataLst>
                <p:tags r:id="rId75"/>
              </p:custDataLst>
            </p:nvPr>
          </p:nvSpPr>
          <p:spPr bwMode="gray">
            <a:xfrm>
              <a:off x="9692441" y="309277"/>
              <a:ext cx="374731" cy="0"/>
            </a:xfrm>
            <a:custGeom>
              <a:avLst/>
              <a:gdLst>
                <a:gd name="connsiteX0" fmla="*/ 428625 w 428625"/>
                <a:gd name="connsiteY0" fmla="*/ 0 h 0"/>
                <a:gd name="connsiteX1" fmla="*/ 0 w 4286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625">
                  <a:moveTo>
                    <a:pt x="428625" y="0"/>
                  </a:moveTo>
                  <a:lnTo>
                    <a:pt x="0" y="0"/>
                  </a:lnTo>
                </a:path>
              </a:pathLst>
            </a:custGeom>
            <a:noFill/>
            <a:ln w="28575" cap="flat" cmpd="sng" algn="ctr">
              <a:solidFill>
                <a:srgbClr val="00206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3" name="Rectangle 142"/>
            <p:cNvSpPr>
              <a:spLocks/>
            </p:cNvSpPr>
            <p:nvPr>
              <p:custDataLst>
                <p:tags r:id="rId76"/>
              </p:custDataLst>
            </p:nvPr>
          </p:nvSpPr>
          <p:spPr bwMode="gray">
            <a:xfrm>
              <a:off x="9966588" y="1271223"/>
              <a:ext cx="100584" cy="91440"/>
            </a:xfrm>
            <a:prstGeom prst="rect">
              <a:avLst/>
            </a:prstGeom>
            <a:solidFill>
              <a:srgbClr val="00B050"/>
            </a:solidFill>
            <a:ln w="31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4" name="Rectangle 316"/>
            <p:cNvSpPr txBox="1"/>
            <p:nvPr>
              <p:custDataLst>
                <p:tags r:id="rId77"/>
              </p:custDataLst>
            </p:nvPr>
          </p:nvSpPr>
          <p:spPr bwMode="gray">
            <a:xfrm>
              <a:off x="10137309" y="1236956"/>
              <a:ext cx="111569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rPr>
                <a:t>Centrales régionales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5" name="Rectangle 144"/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9977438" y="1068423"/>
              <a:ext cx="89734" cy="91440"/>
            </a:xfrm>
            <a:prstGeom prst="rect">
              <a:avLst/>
            </a:prstGeom>
            <a:noFill/>
            <a:ln w="9525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6" name="Rectangle 316"/>
            <p:cNvSpPr txBox="1"/>
            <p:nvPr>
              <p:custDataLst>
                <p:tags r:id="rId79"/>
              </p:custDataLst>
            </p:nvPr>
          </p:nvSpPr>
          <p:spPr bwMode="gray">
            <a:xfrm>
              <a:off x="10137309" y="1034156"/>
              <a:ext cx="139621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rPr>
                <a:t>Poste HT interconnectées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7" name="Rectangle 146"/>
            <p:cNvSpPr>
              <a:spLocks/>
            </p:cNvSpPr>
            <p:nvPr>
              <p:custDataLst>
                <p:tags r:id="rId80"/>
              </p:custDataLst>
            </p:nvPr>
          </p:nvSpPr>
          <p:spPr bwMode="gray">
            <a:xfrm>
              <a:off x="9966588" y="862580"/>
              <a:ext cx="100584" cy="91440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8" name="Rectangle 316"/>
            <p:cNvSpPr txBox="1"/>
            <p:nvPr>
              <p:custDataLst>
                <p:tags r:id="rId81"/>
              </p:custDataLst>
            </p:nvPr>
          </p:nvSpPr>
          <p:spPr bwMode="gray">
            <a:xfrm>
              <a:off x="10137309" y="831356"/>
              <a:ext cx="1421864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rPr>
                <a:t>Centrales interconnectées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49" name="Rectangle 316"/>
            <p:cNvSpPr txBox="1"/>
            <p:nvPr>
              <p:custDataLst>
                <p:tags r:id="rId82"/>
              </p:custDataLst>
            </p:nvPr>
          </p:nvSpPr>
          <p:spPr bwMode="gray">
            <a:xfrm>
              <a:off x="10137309" y="425756"/>
              <a:ext cx="1325684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rPr>
                <a:t>Ligne HT (225 et 90 KV)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50" name="Freeform 68"/>
            <p:cNvSpPr/>
            <p:nvPr>
              <p:custDataLst>
                <p:tags r:id="rId83"/>
              </p:custDataLst>
            </p:nvPr>
          </p:nvSpPr>
          <p:spPr bwMode="gray">
            <a:xfrm>
              <a:off x="9692441" y="512077"/>
              <a:ext cx="374731" cy="0"/>
            </a:xfrm>
            <a:custGeom>
              <a:avLst/>
              <a:gdLst>
                <a:gd name="connsiteX0" fmla="*/ 428625 w 428625"/>
                <a:gd name="connsiteY0" fmla="*/ 0 h 0"/>
                <a:gd name="connsiteX1" fmla="*/ 0 w 4286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625">
                  <a:moveTo>
                    <a:pt x="428625" y="0"/>
                  </a:moveTo>
                  <a:lnTo>
                    <a:pt x="0" y="0"/>
                  </a:lnTo>
                </a:path>
              </a:pathLst>
            </a:custGeom>
            <a:noFill/>
            <a:ln w="28575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51" name="Rectangle 316"/>
            <p:cNvSpPr txBox="1"/>
            <p:nvPr>
              <p:custDataLst>
                <p:tags r:id="rId84"/>
              </p:custDataLst>
            </p:nvPr>
          </p:nvSpPr>
          <p:spPr bwMode="gray">
            <a:xfrm>
              <a:off x="10137307" y="628556"/>
              <a:ext cx="85119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defTabSz="91352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mbria"/>
                </a:rPr>
                <a:t>Ligne HT 30 KV</a:t>
              </a: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/>
              </a:endParaRPr>
            </a:p>
          </p:txBody>
        </p:sp>
        <p:sp>
          <p:nvSpPr>
            <p:cNvPr id="152" name="Freeform 71"/>
            <p:cNvSpPr/>
            <p:nvPr>
              <p:custDataLst>
                <p:tags r:id="rId85"/>
              </p:custDataLst>
            </p:nvPr>
          </p:nvSpPr>
          <p:spPr bwMode="gray">
            <a:xfrm>
              <a:off x="9692441" y="714877"/>
              <a:ext cx="374731" cy="0"/>
            </a:xfrm>
            <a:custGeom>
              <a:avLst/>
              <a:gdLst>
                <a:gd name="connsiteX0" fmla="*/ 428625 w 428625"/>
                <a:gd name="connsiteY0" fmla="*/ 0 h 0"/>
                <a:gd name="connsiteX1" fmla="*/ 0 w 42862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8625">
                  <a:moveTo>
                    <a:pt x="428625" y="0"/>
                  </a:moveTo>
                  <a:lnTo>
                    <a:pt x="0" y="0"/>
                  </a:lnTo>
                </a:path>
              </a:pathLst>
            </a:custGeom>
            <a:noFill/>
            <a:ln w="1905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endParaRPr>
            </a:p>
          </p:txBody>
        </p:sp>
      </p:grpSp>
      <p:sp>
        <p:nvSpPr>
          <p:cNvPr id="153" name="Freeform 65"/>
          <p:cNvSpPr/>
          <p:nvPr>
            <p:custDataLst>
              <p:tags r:id="rId43"/>
            </p:custDataLst>
          </p:nvPr>
        </p:nvSpPr>
        <p:spPr bwMode="gray">
          <a:xfrm>
            <a:off x="6829328" y="5333750"/>
            <a:ext cx="319185" cy="451511"/>
          </a:xfrm>
          <a:custGeom>
            <a:avLst/>
            <a:gdLst>
              <a:gd name="connsiteX0" fmla="*/ 260350 w 457200"/>
              <a:gd name="connsiteY0" fmla="*/ 12700 h 609600"/>
              <a:gd name="connsiteX1" fmla="*/ 260350 w 457200"/>
              <a:gd name="connsiteY1" fmla="*/ 12700 h 609600"/>
              <a:gd name="connsiteX2" fmla="*/ 209550 w 457200"/>
              <a:gd name="connsiteY2" fmla="*/ 133350 h 609600"/>
              <a:gd name="connsiteX3" fmla="*/ 190500 w 457200"/>
              <a:gd name="connsiteY3" fmla="*/ 158750 h 609600"/>
              <a:gd name="connsiteX4" fmla="*/ 127000 w 457200"/>
              <a:gd name="connsiteY4" fmla="*/ 273050 h 609600"/>
              <a:gd name="connsiteX5" fmla="*/ 101600 w 457200"/>
              <a:gd name="connsiteY5" fmla="*/ 311150 h 609600"/>
              <a:gd name="connsiteX6" fmla="*/ 82550 w 457200"/>
              <a:gd name="connsiteY6" fmla="*/ 342900 h 609600"/>
              <a:gd name="connsiteX7" fmla="*/ 63500 w 457200"/>
              <a:gd name="connsiteY7" fmla="*/ 368300 h 609600"/>
              <a:gd name="connsiteX8" fmla="*/ 19050 w 457200"/>
              <a:gd name="connsiteY8" fmla="*/ 444500 h 609600"/>
              <a:gd name="connsiteX9" fmla="*/ 0 w 457200"/>
              <a:gd name="connsiteY9" fmla="*/ 482600 h 609600"/>
              <a:gd name="connsiteX10" fmla="*/ 57150 w 457200"/>
              <a:gd name="connsiteY10" fmla="*/ 577850 h 609600"/>
              <a:gd name="connsiteX11" fmla="*/ 88900 w 457200"/>
              <a:gd name="connsiteY11" fmla="*/ 584200 h 609600"/>
              <a:gd name="connsiteX12" fmla="*/ 107950 w 457200"/>
              <a:gd name="connsiteY12" fmla="*/ 596900 h 609600"/>
              <a:gd name="connsiteX13" fmla="*/ 184150 w 457200"/>
              <a:gd name="connsiteY13" fmla="*/ 609600 h 609600"/>
              <a:gd name="connsiteX14" fmla="*/ 247650 w 457200"/>
              <a:gd name="connsiteY14" fmla="*/ 603250 h 609600"/>
              <a:gd name="connsiteX15" fmla="*/ 266700 w 457200"/>
              <a:gd name="connsiteY15" fmla="*/ 596900 h 609600"/>
              <a:gd name="connsiteX16" fmla="*/ 285750 w 457200"/>
              <a:gd name="connsiteY16" fmla="*/ 577850 h 609600"/>
              <a:gd name="connsiteX17" fmla="*/ 304800 w 457200"/>
              <a:gd name="connsiteY17" fmla="*/ 571500 h 609600"/>
              <a:gd name="connsiteX18" fmla="*/ 323850 w 457200"/>
              <a:gd name="connsiteY18" fmla="*/ 558800 h 609600"/>
              <a:gd name="connsiteX19" fmla="*/ 349250 w 457200"/>
              <a:gd name="connsiteY19" fmla="*/ 546100 h 609600"/>
              <a:gd name="connsiteX20" fmla="*/ 361950 w 457200"/>
              <a:gd name="connsiteY20" fmla="*/ 527050 h 609600"/>
              <a:gd name="connsiteX21" fmla="*/ 381000 w 457200"/>
              <a:gd name="connsiteY21" fmla="*/ 482600 h 609600"/>
              <a:gd name="connsiteX22" fmla="*/ 400050 w 457200"/>
              <a:gd name="connsiteY22" fmla="*/ 463550 h 609600"/>
              <a:gd name="connsiteX23" fmla="*/ 406400 w 457200"/>
              <a:gd name="connsiteY23" fmla="*/ 425450 h 609600"/>
              <a:gd name="connsiteX24" fmla="*/ 419100 w 457200"/>
              <a:gd name="connsiteY24" fmla="*/ 406400 h 609600"/>
              <a:gd name="connsiteX25" fmla="*/ 425450 w 457200"/>
              <a:gd name="connsiteY25" fmla="*/ 361950 h 609600"/>
              <a:gd name="connsiteX26" fmla="*/ 438150 w 457200"/>
              <a:gd name="connsiteY26" fmla="*/ 323850 h 609600"/>
              <a:gd name="connsiteX27" fmla="*/ 444500 w 457200"/>
              <a:gd name="connsiteY27" fmla="*/ 285750 h 609600"/>
              <a:gd name="connsiteX28" fmla="*/ 450850 w 457200"/>
              <a:gd name="connsiteY28" fmla="*/ 266700 h 609600"/>
              <a:gd name="connsiteX29" fmla="*/ 457200 w 457200"/>
              <a:gd name="connsiteY29" fmla="*/ 241300 h 609600"/>
              <a:gd name="connsiteX30" fmla="*/ 450850 w 457200"/>
              <a:gd name="connsiteY30" fmla="*/ 76200 h 609600"/>
              <a:gd name="connsiteX31" fmla="*/ 444500 w 457200"/>
              <a:gd name="connsiteY31" fmla="*/ 57150 h 609600"/>
              <a:gd name="connsiteX32" fmla="*/ 425450 w 457200"/>
              <a:gd name="connsiteY32" fmla="*/ 44450 h 609600"/>
              <a:gd name="connsiteX33" fmla="*/ 400050 w 457200"/>
              <a:gd name="connsiteY33" fmla="*/ 25400 h 609600"/>
              <a:gd name="connsiteX34" fmla="*/ 374650 w 457200"/>
              <a:gd name="connsiteY34" fmla="*/ 12700 h 609600"/>
              <a:gd name="connsiteX35" fmla="*/ 342900 w 457200"/>
              <a:gd name="connsiteY35" fmla="*/ 6350 h 609600"/>
              <a:gd name="connsiteX36" fmla="*/ 317500 w 457200"/>
              <a:gd name="connsiteY36" fmla="*/ 0 h 609600"/>
              <a:gd name="connsiteX37" fmla="*/ 279400 w 457200"/>
              <a:gd name="connsiteY37" fmla="*/ 6350 h 609600"/>
              <a:gd name="connsiteX38" fmla="*/ 260350 w 457200"/>
              <a:gd name="connsiteY38" fmla="*/ 127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57200" h="609600">
                <a:moveTo>
                  <a:pt x="260350" y="12700"/>
                </a:moveTo>
                <a:lnTo>
                  <a:pt x="260350" y="12700"/>
                </a:lnTo>
                <a:cubicBezTo>
                  <a:pt x="243417" y="52917"/>
                  <a:pt x="228377" y="93984"/>
                  <a:pt x="209550" y="133350"/>
                </a:cubicBezTo>
                <a:cubicBezTo>
                  <a:pt x="204984" y="142898"/>
                  <a:pt x="195884" y="149639"/>
                  <a:pt x="190500" y="158750"/>
                </a:cubicBezTo>
                <a:cubicBezTo>
                  <a:pt x="168327" y="196273"/>
                  <a:pt x="151177" y="236785"/>
                  <a:pt x="127000" y="273050"/>
                </a:cubicBezTo>
                <a:cubicBezTo>
                  <a:pt x="118533" y="285750"/>
                  <a:pt x="109795" y="298273"/>
                  <a:pt x="101600" y="311150"/>
                </a:cubicBezTo>
                <a:cubicBezTo>
                  <a:pt x="94974" y="321563"/>
                  <a:pt x="89396" y="332631"/>
                  <a:pt x="82550" y="342900"/>
                </a:cubicBezTo>
                <a:cubicBezTo>
                  <a:pt x="76679" y="351706"/>
                  <a:pt x="69109" y="359325"/>
                  <a:pt x="63500" y="368300"/>
                </a:cubicBezTo>
                <a:cubicBezTo>
                  <a:pt x="47915" y="393236"/>
                  <a:pt x="32888" y="418554"/>
                  <a:pt x="19050" y="444500"/>
                </a:cubicBezTo>
                <a:cubicBezTo>
                  <a:pt x="-16003" y="510225"/>
                  <a:pt x="46388" y="413018"/>
                  <a:pt x="0" y="482600"/>
                </a:cubicBezTo>
                <a:cubicBezTo>
                  <a:pt x="16559" y="522341"/>
                  <a:pt x="17145" y="560070"/>
                  <a:pt x="57150" y="577850"/>
                </a:cubicBezTo>
                <a:cubicBezTo>
                  <a:pt x="67013" y="582233"/>
                  <a:pt x="78317" y="582083"/>
                  <a:pt x="88900" y="584200"/>
                </a:cubicBezTo>
                <a:cubicBezTo>
                  <a:pt x="95250" y="588433"/>
                  <a:pt x="101124" y="593487"/>
                  <a:pt x="107950" y="596900"/>
                </a:cubicBezTo>
                <a:cubicBezTo>
                  <a:pt x="129226" y="607538"/>
                  <a:pt x="166042" y="607588"/>
                  <a:pt x="184150" y="609600"/>
                </a:cubicBezTo>
                <a:cubicBezTo>
                  <a:pt x="205317" y="607483"/>
                  <a:pt x="226625" y="606485"/>
                  <a:pt x="247650" y="603250"/>
                </a:cubicBezTo>
                <a:cubicBezTo>
                  <a:pt x="254266" y="602232"/>
                  <a:pt x="261131" y="600613"/>
                  <a:pt x="266700" y="596900"/>
                </a:cubicBezTo>
                <a:cubicBezTo>
                  <a:pt x="274172" y="591919"/>
                  <a:pt x="278278" y="582831"/>
                  <a:pt x="285750" y="577850"/>
                </a:cubicBezTo>
                <a:cubicBezTo>
                  <a:pt x="291319" y="574137"/>
                  <a:pt x="298813" y="574493"/>
                  <a:pt x="304800" y="571500"/>
                </a:cubicBezTo>
                <a:cubicBezTo>
                  <a:pt x="311626" y="568087"/>
                  <a:pt x="317224" y="562586"/>
                  <a:pt x="323850" y="558800"/>
                </a:cubicBezTo>
                <a:cubicBezTo>
                  <a:pt x="332069" y="554104"/>
                  <a:pt x="340783" y="550333"/>
                  <a:pt x="349250" y="546100"/>
                </a:cubicBezTo>
                <a:cubicBezTo>
                  <a:pt x="353483" y="539750"/>
                  <a:pt x="358537" y="533876"/>
                  <a:pt x="361950" y="527050"/>
                </a:cubicBezTo>
                <a:cubicBezTo>
                  <a:pt x="375769" y="499412"/>
                  <a:pt x="358977" y="513432"/>
                  <a:pt x="381000" y="482600"/>
                </a:cubicBezTo>
                <a:cubicBezTo>
                  <a:pt x="386220" y="475292"/>
                  <a:pt x="393700" y="469900"/>
                  <a:pt x="400050" y="463550"/>
                </a:cubicBezTo>
                <a:cubicBezTo>
                  <a:pt x="402167" y="450850"/>
                  <a:pt x="402329" y="437664"/>
                  <a:pt x="406400" y="425450"/>
                </a:cubicBezTo>
                <a:cubicBezTo>
                  <a:pt x="408813" y="418210"/>
                  <a:pt x="416907" y="413710"/>
                  <a:pt x="419100" y="406400"/>
                </a:cubicBezTo>
                <a:cubicBezTo>
                  <a:pt x="423401" y="392064"/>
                  <a:pt x="422085" y="376534"/>
                  <a:pt x="425450" y="361950"/>
                </a:cubicBezTo>
                <a:cubicBezTo>
                  <a:pt x="428460" y="348906"/>
                  <a:pt x="434903" y="336837"/>
                  <a:pt x="438150" y="323850"/>
                </a:cubicBezTo>
                <a:cubicBezTo>
                  <a:pt x="441273" y="311359"/>
                  <a:pt x="441707" y="298319"/>
                  <a:pt x="444500" y="285750"/>
                </a:cubicBezTo>
                <a:cubicBezTo>
                  <a:pt x="445952" y="279216"/>
                  <a:pt x="449011" y="273136"/>
                  <a:pt x="450850" y="266700"/>
                </a:cubicBezTo>
                <a:cubicBezTo>
                  <a:pt x="453248" y="258309"/>
                  <a:pt x="455083" y="249767"/>
                  <a:pt x="457200" y="241300"/>
                </a:cubicBezTo>
                <a:cubicBezTo>
                  <a:pt x="455083" y="186267"/>
                  <a:pt x="454639" y="131144"/>
                  <a:pt x="450850" y="76200"/>
                </a:cubicBezTo>
                <a:cubicBezTo>
                  <a:pt x="450389" y="69522"/>
                  <a:pt x="448681" y="62377"/>
                  <a:pt x="444500" y="57150"/>
                </a:cubicBezTo>
                <a:cubicBezTo>
                  <a:pt x="439732" y="51191"/>
                  <a:pt x="431660" y="48886"/>
                  <a:pt x="425450" y="44450"/>
                </a:cubicBezTo>
                <a:cubicBezTo>
                  <a:pt x="416838" y="38299"/>
                  <a:pt x="409025" y="31009"/>
                  <a:pt x="400050" y="25400"/>
                </a:cubicBezTo>
                <a:cubicBezTo>
                  <a:pt x="392023" y="20383"/>
                  <a:pt x="383630" y="15693"/>
                  <a:pt x="374650" y="12700"/>
                </a:cubicBezTo>
                <a:cubicBezTo>
                  <a:pt x="364411" y="9287"/>
                  <a:pt x="353436" y="8691"/>
                  <a:pt x="342900" y="6350"/>
                </a:cubicBezTo>
                <a:cubicBezTo>
                  <a:pt x="334381" y="4457"/>
                  <a:pt x="325967" y="2117"/>
                  <a:pt x="317500" y="0"/>
                </a:cubicBezTo>
                <a:cubicBezTo>
                  <a:pt x="304800" y="2117"/>
                  <a:pt x="289877" y="-1134"/>
                  <a:pt x="279400" y="6350"/>
                </a:cubicBezTo>
                <a:cubicBezTo>
                  <a:pt x="272298" y="11423"/>
                  <a:pt x="263525" y="11642"/>
                  <a:pt x="260350" y="12700"/>
                </a:cubicBezTo>
                <a:close/>
              </a:path>
            </a:pathLst>
          </a:custGeom>
          <a:noFill/>
          <a:ln w="19050" cap="flat" cmpd="sng" algn="ctr">
            <a:solidFill>
              <a:srgbClr val="BBD0BA">
                <a:lumMod val="50000"/>
              </a:srgbClr>
            </a:solidFill>
            <a:prstDash val="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54" name="Rectangle 3"/>
          <p:cNvSpPr txBox="1"/>
          <p:nvPr>
            <p:custDataLst>
              <p:tags r:id="rId44"/>
            </p:custDataLst>
          </p:nvPr>
        </p:nvSpPr>
        <p:spPr>
          <a:xfrm>
            <a:off x="7127398" y="6163286"/>
            <a:ext cx="1394695" cy="468000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Centrales solaires</a:t>
            </a:r>
            <a:endParaRPr kumimoji="0" lang="fr-F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cxnSp>
        <p:nvCxnSpPr>
          <p:cNvPr id="155" name="Straight Connector 77"/>
          <p:cNvCxnSpPr>
            <a:stCxn id="154" idx="0"/>
          </p:cNvCxnSpPr>
          <p:nvPr>
            <p:custDataLst>
              <p:tags r:id="rId45"/>
            </p:custDataLst>
          </p:nvPr>
        </p:nvCxnSpPr>
        <p:spPr>
          <a:xfrm flipH="1" flipV="1">
            <a:off x="7127400" y="5836618"/>
            <a:ext cx="697346" cy="32666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sp>
        <p:nvSpPr>
          <p:cNvPr id="156" name="Rectangle 155"/>
          <p:cNvSpPr/>
          <p:nvPr>
            <p:custDataLst>
              <p:tags r:id="rId46"/>
            </p:custDataLst>
          </p:nvPr>
        </p:nvSpPr>
        <p:spPr bwMode="gray">
          <a:xfrm>
            <a:off x="3172371" y="6322130"/>
            <a:ext cx="101317" cy="94377"/>
          </a:xfrm>
          <a:prstGeom prst="rect">
            <a:avLst/>
          </a:prstGeom>
          <a:solidFill>
            <a:srgbClr val="002060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57" name="Rectangle 156"/>
          <p:cNvSpPr/>
          <p:nvPr>
            <p:custDataLst>
              <p:tags r:id="rId47"/>
            </p:custDataLst>
          </p:nvPr>
        </p:nvSpPr>
        <p:spPr bwMode="gray">
          <a:xfrm>
            <a:off x="7480168" y="3750896"/>
            <a:ext cx="101317" cy="94377"/>
          </a:xfrm>
          <a:prstGeom prst="rect">
            <a:avLst/>
          </a:prstGeom>
          <a:solidFill>
            <a:srgbClr val="002060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58" name="Rectangle 3"/>
          <p:cNvSpPr txBox="1"/>
          <p:nvPr>
            <p:custDataLst>
              <p:tags r:id="rId48"/>
            </p:custDataLst>
          </p:nvPr>
        </p:nvSpPr>
        <p:spPr>
          <a:xfrm>
            <a:off x="7658495" y="4273922"/>
            <a:ext cx="1118867" cy="473705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Barrage </a:t>
            </a:r>
          </a:p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de  Gouina </a:t>
            </a:r>
          </a:p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(46 MW</a:t>
            </a:r>
            <a:r>
              <a:rPr kumimoji="0" lang="fr-FR" sz="1000" b="1" i="0" u="none" strike="noStrike" kern="0" cap="none" spc="0" normalizeH="0" baseline="30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1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)</a:t>
            </a:r>
            <a:endParaRPr kumimoji="0" lang="fr-F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59" name="Rectangle 158"/>
          <p:cNvSpPr/>
          <p:nvPr>
            <p:custDataLst>
              <p:tags r:id="rId49"/>
            </p:custDataLst>
          </p:nvPr>
        </p:nvSpPr>
        <p:spPr bwMode="gray">
          <a:xfrm>
            <a:off x="7480168" y="4463586"/>
            <a:ext cx="101317" cy="94377"/>
          </a:xfrm>
          <a:prstGeom prst="rect">
            <a:avLst/>
          </a:prstGeom>
          <a:solidFill>
            <a:srgbClr val="002060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60" name="Rectangle 159"/>
          <p:cNvSpPr/>
          <p:nvPr>
            <p:custDataLst>
              <p:tags r:id="rId50"/>
            </p:custDataLst>
          </p:nvPr>
        </p:nvSpPr>
        <p:spPr bwMode="gray">
          <a:xfrm>
            <a:off x="3439802" y="1076228"/>
            <a:ext cx="101317" cy="94377"/>
          </a:xfrm>
          <a:prstGeom prst="rect">
            <a:avLst/>
          </a:prstGeom>
          <a:solidFill>
            <a:srgbClr val="002060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pic>
        <p:nvPicPr>
          <p:cNvPr id="161" name="Picture 14"/>
          <p:cNvPicPr>
            <a:picLocks noChangeAspect="1" noChangeArrowheads="1"/>
          </p:cNvPicPr>
          <p:nvPr>
            <p:custDataLst>
              <p:tags r:id="rId51"/>
            </p:custDataLst>
          </p:nvPr>
        </p:nvPicPr>
        <p:blipFill rotWithShape="1">
          <a:blip r:embed="rId8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26201" y="3324401"/>
            <a:ext cx="248964" cy="227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2" name="Picture 17"/>
          <p:cNvPicPr>
            <a:picLocks noChangeAspect="1" noChangeArrowheads="1"/>
          </p:cNvPicPr>
          <p:nvPr>
            <p:custDataLst>
              <p:tags r:id="rId52"/>
            </p:custDataLst>
          </p:nvPr>
        </p:nvPicPr>
        <p:blipFill>
          <a:blip r:embed="rId9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7149" y="822996"/>
            <a:ext cx="352333" cy="572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" name="Picture 18"/>
          <p:cNvPicPr>
            <a:picLocks noChangeArrowheads="1"/>
          </p:cNvPicPr>
          <p:nvPr>
            <p:custDataLst>
              <p:tags r:id="rId53"/>
            </p:custDataLst>
          </p:nvPr>
        </p:nvPicPr>
        <p:blipFill>
          <a:blip r:embed="rId9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1273" y="1008841"/>
            <a:ext cx="498059" cy="372480"/>
          </a:xfrm>
          <a:prstGeom prst="rect">
            <a:avLst/>
          </a:prstGeom>
          <a:noFill/>
          <a:ln w="9525">
            <a:solidFill>
              <a:srgbClr val="9987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4" name="Picture 19"/>
          <p:cNvPicPr>
            <a:picLocks noChangeArrowheads="1"/>
          </p:cNvPicPr>
          <p:nvPr>
            <p:custDataLst>
              <p:tags r:id="rId54"/>
            </p:custDataLst>
          </p:nvPr>
        </p:nvPicPr>
        <p:blipFill>
          <a:blip r:embed="rId9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728" y="2247743"/>
            <a:ext cx="498059" cy="372480"/>
          </a:xfrm>
          <a:prstGeom prst="rect">
            <a:avLst/>
          </a:prstGeom>
          <a:noFill/>
          <a:ln w="9525">
            <a:solidFill>
              <a:srgbClr val="9987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5" name="Picture 19"/>
          <p:cNvPicPr>
            <a:picLocks noChangeArrowheads="1"/>
          </p:cNvPicPr>
          <p:nvPr>
            <p:custDataLst>
              <p:tags r:id="rId55"/>
            </p:custDataLst>
          </p:nvPr>
        </p:nvPicPr>
        <p:blipFill>
          <a:blip r:embed="rId9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248" y="4878428"/>
            <a:ext cx="498059" cy="372480"/>
          </a:xfrm>
          <a:prstGeom prst="rect">
            <a:avLst/>
          </a:prstGeom>
          <a:noFill/>
          <a:ln w="9525">
            <a:solidFill>
              <a:srgbClr val="9987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6" name="Picture 22" descr="http://ts1.mm.bing.net/th?id=H.4794460249457744&amp;w=259&amp;h=179&amp;c=7&amp;rs=1&amp;pid=1.7"/>
          <p:cNvPicPr>
            <a:picLocks noChangeArrowheads="1"/>
          </p:cNvPicPr>
          <p:nvPr>
            <p:custDataLst>
              <p:tags r:id="rId56"/>
            </p:custDataLst>
          </p:nvPr>
        </p:nvPicPr>
        <p:blipFill>
          <a:blip r:embed="rId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303" y="3301935"/>
            <a:ext cx="498059" cy="372480"/>
          </a:xfrm>
          <a:prstGeom prst="rect">
            <a:avLst/>
          </a:prstGeom>
          <a:noFill/>
          <a:ln w="9525">
            <a:solidFill>
              <a:srgbClr val="9987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7" name="Picture 22" descr="http://ts1.mm.bing.net/th?id=H.4794460249457744&amp;w=259&amp;h=179&amp;c=7&amp;rs=1&amp;pid=1.7"/>
          <p:cNvPicPr>
            <a:picLocks noChangeArrowheads="1"/>
          </p:cNvPicPr>
          <p:nvPr>
            <p:custDataLst>
              <p:tags r:id="rId57"/>
            </p:custDataLst>
          </p:nvPr>
        </p:nvPicPr>
        <p:blipFill>
          <a:blip r:embed="rId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303" y="4111255"/>
            <a:ext cx="498059" cy="372480"/>
          </a:xfrm>
          <a:prstGeom prst="rect">
            <a:avLst/>
          </a:prstGeom>
          <a:noFill/>
          <a:ln w="9525">
            <a:solidFill>
              <a:srgbClr val="9987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8" name="Picture 22" descr="http://ts1.mm.bing.net/th?id=H.4794460249457744&amp;w=259&amp;h=179&amp;c=7&amp;rs=1&amp;pid=1.7"/>
          <p:cNvPicPr>
            <a:picLocks noChangeArrowheads="1"/>
          </p:cNvPicPr>
          <p:nvPr>
            <p:custDataLst>
              <p:tags r:id="rId58"/>
            </p:custDataLst>
          </p:nvPr>
        </p:nvPicPr>
        <p:blipFill>
          <a:blip r:embed="rId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403" y="6230265"/>
            <a:ext cx="498059" cy="372480"/>
          </a:xfrm>
          <a:prstGeom prst="rect">
            <a:avLst/>
          </a:prstGeom>
          <a:noFill/>
          <a:ln w="9525">
            <a:solidFill>
              <a:srgbClr val="9987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9" name="Picture 24"/>
          <p:cNvPicPr>
            <a:picLocks noChangeArrowheads="1"/>
          </p:cNvPicPr>
          <p:nvPr>
            <p:custDataLst>
              <p:tags r:id="rId59"/>
            </p:custDataLst>
          </p:nvPr>
        </p:nvPicPr>
        <p:blipFill>
          <a:blip r:embed="rId9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658" y="6230265"/>
            <a:ext cx="498059" cy="372480"/>
          </a:xfrm>
          <a:prstGeom prst="rect">
            <a:avLst/>
          </a:prstGeom>
          <a:noFill/>
          <a:ln w="9525">
            <a:solidFill>
              <a:srgbClr val="9987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0" name="Picture 27"/>
          <p:cNvPicPr>
            <a:picLocks noChangeAspect="1" noChangeArrowheads="1"/>
          </p:cNvPicPr>
          <p:nvPr>
            <p:custDataLst>
              <p:tags r:id="rId60"/>
            </p:custDataLst>
          </p:nvPr>
        </p:nvPicPr>
        <p:blipFill>
          <a:blip r:embed="rId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84" y="4287394"/>
            <a:ext cx="467333" cy="566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1" name="Rectangle 3"/>
          <p:cNvSpPr txBox="1"/>
          <p:nvPr>
            <p:custDataLst>
              <p:tags r:id="rId61"/>
            </p:custDataLst>
          </p:nvPr>
        </p:nvSpPr>
        <p:spPr>
          <a:xfrm>
            <a:off x="152691" y="1691336"/>
            <a:ext cx="1281220" cy="494768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Tobène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 : centrale duale fioul - gaz</a:t>
            </a:r>
          </a:p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(70 MW)</a:t>
            </a:r>
            <a:endParaRPr kumimoji="0" lang="fr-F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72" name="Rectangle 171"/>
          <p:cNvSpPr/>
          <p:nvPr>
            <p:custDataLst>
              <p:tags r:id="rId62"/>
            </p:custDataLst>
          </p:nvPr>
        </p:nvSpPr>
        <p:spPr bwMode="gray">
          <a:xfrm>
            <a:off x="1996592" y="3320575"/>
            <a:ext cx="101317" cy="94377"/>
          </a:xfrm>
          <a:prstGeom prst="rect">
            <a:avLst/>
          </a:prstGeom>
          <a:solidFill>
            <a:srgbClr val="002060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73" name="Rectangle 3"/>
          <p:cNvSpPr txBox="1"/>
          <p:nvPr>
            <p:custDataLst>
              <p:tags r:id="rId63"/>
            </p:custDataLst>
          </p:nvPr>
        </p:nvSpPr>
        <p:spPr>
          <a:xfrm>
            <a:off x="5315831" y="6163286"/>
            <a:ext cx="1443705" cy="468000"/>
          </a:xfrm>
          <a:prstGeom prst="rect">
            <a:avLst/>
          </a:prstGeom>
          <a:solidFill>
            <a:srgbClr val="99870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Barrage de </a:t>
            </a:r>
            <a:r>
              <a:rPr kumimoji="0" lang="fr-FR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Sambangalou</a:t>
            </a:r>
            <a:r>
              <a:rPr kumimoji="0" lang="fr-F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 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/>
            </a:r>
            <a:b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</a:b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(61 MW</a:t>
            </a:r>
            <a:r>
              <a:rPr kumimoji="0" lang="fr-FR" sz="1000" b="1" i="0" u="none" strike="noStrike" kern="0" cap="none" spc="0" normalizeH="0" baseline="30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1</a:t>
            </a:r>
            <a:r>
              <a:rPr kumimoji="0" lang="fr-FR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mbria"/>
              </a:rPr>
              <a:t>)</a:t>
            </a:r>
            <a:endParaRPr kumimoji="0" lang="fr-FR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pic>
        <p:nvPicPr>
          <p:cNvPr id="174" name="Picture 22" descr="http://ts1.mm.bing.net/th?id=H.4794460249457744&amp;w=259&amp;h=179&amp;c=7&amp;rs=1&amp;pid=1.7"/>
          <p:cNvPicPr>
            <a:picLocks noChangeArrowheads="1"/>
          </p:cNvPicPr>
          <p:nvPr>
            <p:custDataLst>
              <p:tags r:id="rId64"/>
            </p:custDataLst>
          </p:nvPr>
        </p:nvPicPr>
        <p:blipFill>
          <a:blip r:embed="rId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7737" y="6230265"/>
            <a:ext cx="498059" cy="372480"/>
          </a:xfrm>
          <a:prstGeom prst="rect">
            <a:avLst/>
          </a:prstGeom>
          <a:noFill/>
          <a:ln w="9525">
            <a:solidFill>
              <a:srgbClr val="9987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5" name="Rectangle 174"/>
          <p:cNvSpPr/>
          <p:nvPr>
            <p:custDataLst>
              <p:tags r:id="rId65"/>
            </p:custDataLst>
          </p:nvPr>
        </p:nvSpPr>
        <p:spPr bwMode="gray">
          <a:xfrm>
            <a:off x="7101021" y="5940155"/>
            <a:ext cx="101317" cy="94377"/>
          </a:xfrm>
          <a:prstGeom prst="rect">
            <a:avLst/>
          </a:prstGeom>
          <a:solidFill>
            <a:srgbClr val="002060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mbria"/>
            </a:endParaRPr>
          </a:p>
        </p:txBody>
      </p:sp>
      <p:cxnSp>
        <p:nvCxnSpPr>
          <p:cNvPr id="176" name="Straight Connector 100"/>
          <p:cNvCxnSpPr>
            <a:stCxn id="173" idx="0"/>
          </p:cNvCxnSpPr>
          <p:nvPr>
            <p:custDataLst>
              <p:tags r:id="rId66"/>
            </p:custDataLst>
          </p:nvPr>
        </p:nvCxnSpPr>
        <p:spPr>
          <a:xfrm flipV="1">
            <a:off x="6037685" y="6047755"/>
            <a:ext cx="974908" cy="115533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oval"/>
          </a:ln>
          <a:effectLst/>
        </p:spPr>
      </p:cxnSp>
      <p:sp>
        <p:nvSpPr>
          <p:cNvPr id="177" name="Freeform 88"/>
          <p:cNvSpPr/>
          <p:nvPr>
            <p:custDataLst>
              <p:tags r:id="rId67"/>
            </p:custDataLst>
          </p:nvPr>
        </p:nvSpPr>
        <p:spPr bwMode="gray">
          <a:xfrm flipV="1">
            <a:off x="5881530" y="4202603"/>
            <a:ext cx="449258" cy="148645"/>
          </a:xfrm>
          <a:custGeom>
            <a:avLst/>
            <a:gdLst>
              <a:gd name="connsiteX0" fmla="*/ 0 w 261937"/>
              <a:gd name="connsiteY0" fmla="*/ 0 h 309562"/>
              <a:gd name="connsiteX1" fmla="*/ 261937 w 261937"/>
              <a:gd name="connsiteY1" fmla="*/ 309562 h 30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1937" h="309562">
                <a:moveTo>
                  <a:pt x="0" y="0"/>
                </a:moveTo>
                <a:lnTo>
                  <a:pt x="261937" y="309562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sp>
        <p:nvSpPr>
          <p:cNvPr id="178" name="Freeform 89"/>
          <p:cNvSpPr/>
          <p:nvPr>
            <p:custDataLst>
              <p:tags r:id="rId68"/>
            </p:custDataLst>
          </p:nvPr>
        </p:nvSpPr>
        <p:spPr bwMode="gray">
          <a:xfrm flipV="1">
            <a:off x="6365078" y="3845271"/>
            <a:ext cx="464250" cy="315842"/>
          </a:xfrm>
          <a:custGeom>
            <a:avLst/>
            <a:gdLst>
              <a:gd name="connsiteX0" fmla="*/ 0 w 261937"/>
              <a:gd name="connsiteY0" fmla="*/ 0 h 309562"/>
              <a:gd name="connsiteX1" fmla="*/ 261937 w 261937"/>
              <a:gd name="connsiteY1" fmla="*/ 309562 h 30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1937" h="309562">
                <a:moveTo>
                  <a:pt x="0" y="0"/>
                </a:moveTo>
                <a:lnTo>
                  <a:pt x="261937" y="309562"/>
                </a:lnTo>
              </a:path>
            </a:pathLst>
          </a:custGeom>
          <a:noFill/>
          <a:ln w="28575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mbria"/>
            </a:endParaRPr>
          </a:p>
        </p:txBody>
      </p:sp>
      <p:grpSp>
        <p:nvGrpSpPr>
          <p:cNvPr id="3" name="Group 7"/>
          <p:cNvGrpSpPr/>
          <p:nvPr>
            <p:custDataLst>
              <p:tags r:id="rId69"/>
            </p:custDataLst>
          </p:nvPr>
        </p:nvGrpSpPr>
        <p:grpSpPr>
          <a:xfrm>
            <a:off x="7670826" y="308851"/>
            <a:ext cx="1145940" cy="213160"/>
            <a:chOff x="7670825" y="308850"/>
            <a:chExt cx="1145940" cy="213160"/>
          </a:xfrm>
        </p:grpSpPr>
        <p:sp>
          <p:nvSpPr>
            <p:cNvPr id="180" name="StickerRectangle"/>
            <p:cNvSpPr>
              <a:spLocks noChangeArrowheads="1"/>
            </p:cNvSpPr>
            <p:nvPr/>
          </p:nvSpPr>
          <p:spPr bwMode="auto">
            <a:xfrm>
              <a:off x="7671619" y="308850"/>
              <a:ext cx="1144352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smtClean="0">
                  <a:solidFill>
                    <a:srgbClr val="808080"/>
                  </a:solidFill>
                  <a:latin typeface="Cambria"/>
                </a:rPr>
                <a:t>NON EXHAUSTIF</a:t>
              </a:r>
              <a:endParaRPr lang="en-US" sz="1200">
                <a:solidFill>
                  <a:srgbClr val="808080"/>
                </a:solidFill>
                <a:latin typeface="Cambria"/>
              </a:endParaRPr>
            </a:p>
          </p:txBody>
        </p:sp>
        <p:cxnSp>
          <p:nvCxnSpPr>
            <p:cNvPr id="181" name="AutoShape 31"/>
            <p:cNvCxnSpPr>
              <a:cxnSpLocks noChangeShapeType="1"/>
              <a:stCxn id="180" idx="2"/>
              <a:endCxn id="180" idx="4"/>
            </p:cNvCxnSpPr>
            <p:nvPr/>
          </p:nvCxnSpPr>
          <p:spPr bwMode="auto">
            <a:xfrm rot="16200000" flipH="1">
              <a:off x="7565436" y="415033"/>
              <a:ext cx="212366" cy="158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2" name="AutoShape 32"/>
            <p:cNvCxnSpPr>
              <a:cxnSpLocks noChangeShapeType="1"/>
              <a:stCxn id="180" idx="4"/>
              <a:endCxn id="180" idx="6"/>
            </p:cNvCxnSpPr>
            <p:nvPr/>
          </p:nvCxnSpPr>
          <p:spPr bwMode="auto">
            <a:xfrm rot="16200000" flipH="1">
              <a:off x="8243795" y="-50960"/>
              <a:ext cx="1588" cy="1144352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84" name="Rectangle 9"/>
          <p:cNvSpPr txBox="1"/>
          <p:nvPr>
            <p:custDataLst>
              <p:tags r:id="rId70"/>
            </p:custDataLst>
          </p:nvPr>
        </p:nvSpPr>
        <p:spPr>
          <a:xfrm>
            <a:off x="2465888" y="1276598"/>
            <a:ext cx="141296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000" b="1" dirty="0" err="1" smtClean="0">
                <a:solidFill>
                  <a:srgbClr val="000000"/>
                </a:solidFill>
                <a:latin typeface="Cambria"/>
              </a:rPr>
              <a:t>Interconnexion</a:t>
            </a:r>
            <a:r>
              <a:rPr lang="en-US" sz="1000" b="1" dirty="0" smtClean="0">
                <a:solidFill>
                  <a:srgbClr val="000000"/>
                </a:solidFill>
                <a:latin typeface="Cambria"/>
              </a:rPr>
              <a:t> </a:t>
            </a:r>
            <a:r>
              <a:rPr lang="en-US" sz="1000" b="1" dirty="0" err="1" smtClean="0">
                <a:solidFill>
                  <a:srgbClr val="000000"/>
                </a:solidFill>
                <a:latin typeface="Cambria"/>
              </a:rPr>
              <a:t>Mauritanie</a:t>
            </a:r>
            <a:endParaRPr lang="en-US" sz="1000" b="1" dirty="0">
              <a:solidFill>
                <a:srgbClr val="000000"/>
              </a:solidFill>
              <a:latin typeface="Cambria"/>
            </a:endParaRPr>
          </a:p>
        </p:txBody>
      </p:sp>
      <p:sp>
        <p:nvSpPr>
          <p:cNvPr id="185" name="Rectangle 9"/>
          <p:cNvSpPr txBox="1"/>
          <p:nvPr/>
        </p:nvSpPr>
        <p:spPr>
          <a:xfrm>
            <a:off x="5725865" y="3597007"/>
            <a:ext cx="141296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000" b="1" dirty="0" err="1" smtClean="0">
                <a:solidFill>
                  <a:srgbClr val="000000"/>
                </a:solidFill>
                <a:latin typeface="Cambria"/>
              </a:rPr>
              <a:t>Interconnexion</a:t>
            </a:r>
            <a:r>
              <a:rPr lang="en-US" sz="1000" b="1" dirty="0" smtClean="0">
                <a:solidFill>
                  <a:srgbClr val="000000"/>
                </a:solidFill>
                <a:latin typeface="Cambria"/>
              </a:rPr>
              <a:t> </a:t>
            </a:r>
            <a:br>
              <a:rPr lang="en-US" sz="1000" b="1" dirty="0" smtClean="0">
                <a:solidFill>
                  <a:srgbClr val="000000"/>
                </a:solidFill>
                <a:latin typeface="Cambria"/>
              </a:rPr>
            </a:br>
            <a:r>
              <a:rPr lang="en-US" sz="1000" b="1" dirty="0" err="1" smtClean="0">
                <a:solidFill>
                  <a:srgbClr val="000000"/>
                </a:solidFill>
                <a:latin typeface="Cambria"/>
              </a:rPr>
              <a:t>OMVS</a:t>
            </a:r>
            <a:endParaRPr lang="en-US" sz="1000" b="1" dirty="0">
              <a:solidFill>
                <a:srgbClr val="000000"/>
              </a:solidFill>
              <a:latin typeface="Cambria"/>
            </a:endParaRPr>
          </a:p>
        </p:txBody>
      </p:sp>
      <p:sp>
        <p:nvSpPr>
          <p:cNvPr id="186" name="Rectangle 9"/>
          <p:cNvSpPr txBox="1"/>
          <p:nvPr>
            <p:custDataLst>
              <p:tags r:id="rId71"/>
            </p:custDataLst>
          </p:nvPr>
        </p:nvSpPr>
        <p:spPr>
          <a:xfrm>
            <a:off x="7491935" y="5603725"/>
            <a:ext cx="141296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000" b="1" dirty="0" err="1" smtClean="0">
                <a:solidFill>
                  <a:srgbClr val="000000"/>
                </a:solidFill>
                <a:latin typeface="Cambria"/>
              </a:rPr>
              <a:t>Interconnexion</a:t>
            </a:r>
            <a:r>
              <a:rPr lang="en-US" sz="1000" b="1" dirty="0" smtClean="0">
                <a:solidFill>
                  <a:srgbClr val="000000"/>
                </a:solidFill>
                <a:latin typeface="Cambria"/>
              </a:rPr>
              <a:t> </a:t>
            </a:r>
            <a:br>
              <a:rPr lang="en-US" sz="1000" b="1" dirty="0" smtClean="0">
                <a:solidFill>
                  <a:srgbClr val="000000"/>
                </a:solidFill>
                <a:latin typeface="Cambria"/>
              </a:rPr>
            </a:br>
            <a:r>
              <a:rPr lang="en-US" sz="1000" b="1" dirty="0" err="1" smtClean="0">
                <a:solidFill>
                  <a:srgbClr val="000000"/>
                </a:solidFill>
                <a:latin typeface="Cambria"/>
              </a:rPr>
              <a:t>OMVG</a:t>
            </a:r>
            <a:endParaRPr lang="en-US" sz="1000" b="1" dirty="0">
              <a:solidFill>
                <a:srgbClr val="000000"/>
              </a:solidFill>
              <a:latin typeface="Cambria"/>
            </a:endParaRPr>
          </a:p>
        </p:txBody>
      </p:sp>
      <p:sp>
        <p:nvSpPr>
          <p:cNvPr id="92" name="Rectangle 91"/>
          <p:cNvSpPr/>
          <p:nvPr/>
        </p:nvSpPr>
        <p:spPr>
          <a:xfrm flipV="1">
            <a:off x="668993" y="226901"/>
            <a:ext cx="5054879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26451"/>
      </p:ext>
    </p:extLst>
  </p:cSld>
  <p:clrMapOvr>
    <a:masterClrMapping/>
  </p:clrMapOvr>
  <p:transition spd="med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5" grpId="0" animBg="1"/>
      <p:bldP spid="154" grpId="0" animBg="1"/>
      <p:bldP spid="154" grpId="1" animBg="1"/>
      <p:bldP spid="158" grpId="0" animBg="1"/>
      <p:bldP spid="171" grpId="0" animBg="1"/>
      <p:bldP spid="17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1266528" y="2411884"/>
            <a:ext cx="6048672" cy="538591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vert="horz" wrap="square" lIns="91423" tIns="45711" rIns="91423" bIns="45711" rtlCol="0" anchor="ctr">
            <a:spAutoFit/>
          </a:bodyPr>
          <a:lstStyle>
            <a:defPPr>
              <a:defRPr lang="en-US"/>
            </a:defPPr>
            <a:lvl1pPr algn="ctr" eaLnBrk="0" hangingPunct="0">
              <a:spcBef>
                <a:spcPct val="0"/>
              </a:spcBef>
              <a:buNone/>
              <a:defRPr sz="2900" b="1">
                <a:latin typeface="Cambria" pitchFamily="18" charset="0"/>
                <a:ea typeface="+mj-ea"/>
                <a:cs typeface="+mj-cs"/>
              </a:defRPr>
            </a:lvl1pPr>
          </a:lstStyle>
          <a:p>
            <a:endParaRPr lang="fr-FR" dirty="0"/>
          </a:p>
        </p:txBody>
      </p:sp>
      <p:pic>
        <p:nvPicPr>
          <p:cNvPr id="3" name="Imag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681" y="1261241"/>
            <a:ext cx="5029319" cy="5292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37217" y="122206"/>
            <a:ext cx="8615612" cy="5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457200" eaLnBrk="0" hangingPunct="0">
              <a:defRPr/>
            </a:pPr>
            <a:r>
              <a:rPr lang="fr-FR" sz="3600" dirty="0">
                <a:solidFill>
                  <a:srgbClr val="000000"/>
                </a:solidFill>
                <a:latin typeface="+mn-lt"/>
              </a:rPr>
              <a:t>2020-</a:t>
            </a:r>
            <a:r>
              <a:rPr lang="fr-FR" sz="3600" dirty="0" smtClean="0">
                <a:solidFill>
                  <a:srgbClr val="000000"/>
                </a:solidFill>
                <a:latin typeface="+mn-lt"/>
              </a:rPr>
              <a:t>2025 </a:t>
            </a:r>
            <a:r>
              <a:rPr lang="fr-FR" sz="3600" dirty="0" err="1" smtClean="0">
                <a:solidFill>
                  <a:srgbClr val="AB0000"/>
                </a:solidFill>
                <a:latin typeface="+mn-lt"/>
              </a:rPr>
              <a:t>Numeric</a:t>
            </a:r>
            <a:r>
              <a:rPr lang="fr-FR" sz="3600" dirty="0" smtClean="0">
                <a:solidFill>
                  <a:srgbClr val="AB0000"/>
                </a:solidFill>
                <a:latin typeface="+mn-lt"/>
              </a:rPr>
              <a:t> Infrastructure Vision </a:t>
            </a:r>
            <a:endParaRPr kumimoji="0" lang="fr-FR" sz="3600" b="1" i="0" u="none" strike="noStrike" kern="1200" cap="none" spc="0" normalizeH="0" baseline="0" noProof="0" dirty="0">
              <a:ln>
                <a:noFill/>
              </a:ln>
              <a:solidFill>
                <a:srgbClr val="AB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0" name="Rectangle 9"/>
          <p:cNvSpPr/>
          <p:nvPr/>
        </p:nvSpPr>
        <p:spPr>
          <a:xfrm flipV="1">
            <a:off x="622667" y="181969"/>
            <a:ext cx="6003343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7" name="Espace réservé du contenu 2"/>
          <p:cNvSpPr>
            <a:spLocks noGrp="1"/>
          </p:cNvSpPr>
          <p:nvPr>
            <p:ph idx="1"/>
          </p:nvPr>
        </p:nvSpPr>
        <p:spPr>
          <a:xfrm>
            <a:off x="204952" y="1484313"/>
            <a:ext cx="3909729" cy="5373686"/>
          </a:xfrm>
        </p:spPr>
        <p:txBody>
          <a:bodyPr>
            <a:noAutofit/>
          </a:bodyPr>
          <a:lstStyle/>
          <a:p>
            <a:pPr marL="180975" indent="-180975">
              <a:spcBef>
                <a:spcPts val="0"/>
              </a:spcBef>
              <a:spcAft>
                <a:spcPts val="2400"/>
              </a:spcAft>
              <a:buFont typeface="Wingdings" pitchFamily="2" charset="2"/>
              <a:buChar char="§"/>
              <a:defRPr/>
            </a:pPr>
            <a:r>
              <a:rPr lang="fr-FR" sz="2000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VSAT hub </a:t>
            </a:r>
            <a:r>
              <a:rPr lang="fr-FR" sz="2000" dirty="0" err="1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pointing</a:t>
            </a:r>
            <a:r>
              <a:rPr lang="fr-FR" sz="2000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 to the </a:t>
            </a:r>
            <a:r>
              <a:rPr lang="fr-FR" sz="2000" b="1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355.5 Intelsat</a:t>
            </a:r>
          </a:p>
          <a:p>
            <a:pPr marL="180975" indent="-180975">
              <a:spcBef>
                <a:spcPts val="0"/>
              </a:spcBef>
              <a:spcAft>
                <a:spcPts val="2400"/>
              </a:spcAft>
              <a:buFont typeface="Wingdings" pitchFamily="2" charset="2"/>
              <a:buChar char="§"/>
              <a:defRPr/>
            </a:pPr>
            <a:r>
              <a:rPr lang="fr-FR" sz="2000" b="1" dirty="0" err="1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Ground</a:t>
            </a:r>
            <a:r>
              <a:rPr lang="fr-FR" sz="2000" b="1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 optical fiber </a:t>
            </a:r>
            <a:r>
              <a:rPr lang="fr-FR" sz="2000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interconnecting Mali, Mauritania and Senegal</a:t>
            </a:r>
          </a:p>
          <a:p>
            <a:pPr marL="581025" lvl="1" indent="-180975">
              <a:spcBef>
                <a:spcPts val="0"/>
              </a:spcBef>
              <a:spcAft>
                <a:spcPts val="2400"/>
              </a:spcAft>
              <a:buFont typeface="Wingdings" pitchFamily="2" charset="2"/>
              <a:buChar char="ü"/>
              <a:defRPr/>
            </a:pPr>
            <a:r>
              <a:rPr lang="fr-FR" sz="2000" b="1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3000 kilometers loop </a:t>
            </a:r>
            <a:r>
              <a:rPr lang="fr-FR" sz="2000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of </a:t>
            </a:r>
            <a:r>
              <a:rPr lang="fr-FR" sz="2000" dirty="0" err="1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optics</a:t>
            </a:r>
            <a:r>
              <a:rPr lang="fr-FR" sz="2000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 </a:t>
            </a:r>
            <a:r>
              <a:rPr lang="fr-FR" sz="2000" dirty="0" err="1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fiber</a:t>
            </a:r>
            <a:endParaRPr lang="fr-FR" sz="2000" dirty="0" smtClean="0">
              <a:latin typeface="Cambria" pitchFamily="18" charset="0"/>
              <a:ea typeface="MS PGothic" pitchFamily="34" charset="-128"/>
              <a:cs typeface="Arial" panose="020B0604020202020204" pitchFamily="34" charset="0"/>
            </a:endParaRPr>
          </a:p>
          <a:p>
            <a:pPr marL="180975" indent="-180975">
              <a:spcBef>
                <a:spcPts val="0"/>
              </a:spcBef>
              <a:spcAft>
                <a:spcPts val="2400"/>
              </a:spcAft>
              <a:buFont typeface="Wingdings" pitchFamily="2" charset="2"/>
              <a:buChar char="§"/>
              <a:defRPr/>
            </a:pPr>
            <a:r>
              <a:rPr lang="fr-FR" sz="2000" b="1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18,4 Gb/s</a:t>
            </a:r>
            <a:r>
              <a:rPr lang="fr-FR" sz="2000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 of International Internet bandwidth</a:t>
            </a:r>
          </a:p>
          <a:p>
            <a:pPr marL="180975" indent="-180975">
              <a:spcBef>
                <a:spcPts val="0"/>
              </a:spcBef>
              <a:spcAft>
                <a:spcPts val="2400"/>
              </a:spcAft>
              <a:buFont typeface="Wingdings" pitchFamily="2" charset="2"/>
              <a:buChar char="§"/>
              <a:defRPr/>
            </a:pPr>
            <a:r>
              <a:rPr lang="fr-FR" sz="2000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National IP network and leased lines </a:t>
            </a:r>
            <a:r>
              <a:rPr lang="fr-FR" sz="2000" b="1" dirty="0" smtClean="0">
                <a:latin typeface="Cambria" pitchFamily="18" charset="0"/>
                <a:ea typeface="MS PGothic" pitchFamily="34" charset="-128"/>
                <a:cs typeface="Arial" panose="020B0604020202020204" pitchFamily="34" charset="0"/>
              </a:rPr>
              <a:t>from 64 Kbps to 2 Mbps</a:t>
            </a:r>
          </a:p>
          <a:p>
            <a:pPr marL="182563" indent="-182563" eaLnBrk="1" hangingPunct="1">
              <a:spcBef>
                <a:spcPts val="0"/>
              </a:spcBef>
              <a:spcAft>
                <a:spcPts val="2400"/>
              </a:spcAft>
              <a:defRPr/>
            </a:pPr>
            <a:endParaRPr lang="fr-FR" sz="2000" dirty="0" smtClean="0">
              <a:latin typeface="Cambria" pitchFamily="18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30037362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AE510-2E18-4644-9DBF-437BBE941DE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22922" y="-39076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Agoa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Opportunities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 rot="20620671">
            <a:off x="8439645" y="104570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  <p:pic>
        <p:nvPicPr>
          <p:cNvPr id="13" name="Picture 3" descr="C:\Asepex\General\Plan Strategique\Revue PSD new Decret\AGOA\drapeau_USA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11782" y="2786071"/>
            <a:ext cx="3688410" cy="2371121"/>
          </a:xfrm>
          <a:prstGeom prst="rect">
            <a:avLst/>
          </a:prstGeom>
          <a:noFill/>
        </p:spPr>
      </p:pic>
      <p:graphicFrame>
        <p:nvGraphicFramePr>
          <p:cNvPr id="15" name="Diagramme 14"/>
          <p:cNvGraphicFramePr/>
          <p:nvPr/>
        </p:nvGraphicFramePr>
        <p:xfrm>
          <a:off x="251520" y="1268760"/>
          <a:ext cx="8676456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7" name="ZoneTexte 16"/>
          <p:cNvSpPr txBox="1"/>
          <p:nvPr/>
        </p:nvSpPr>
        <p:spPr>
          <a:xfrm>
            <a:off x="4283968" y="1124745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FFC000"/>
                </a:solidFill>
              </a:rPr>
              <a:t>AS.1</a:t>
            </a:r>
            <a:endParaRPr lang="fr-FR" b="1" dirty="0">
              <a:solidFill>
                <a:srgbClr val="FFC000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7524328" y="2996952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FFC000"/>
                </a:solidFill>
              </a:rPr>
              <a:t>AS.2</a:t>
            </a:r>
            <a:endParaRPr lang="fr-FR" b="1" dirty="0">
              <a:solidFill>
                <a:srgbClr val="FFC000"/>
              </a:solidFill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4211960" y="4941168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FFC000"/>
                </a:solidFill>
              </a:rPr>
              <a:t>AS.3</a:t>
            </a:r>
            <a:endParaRPr lang="fr-FR" b="1" dirty="0">
              <a:solidFill>
                <a:srgbClr val="FFC000"/>
              </a:solidFill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899592" y="3068960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>
                <a:solidFill>
                  <a:srgbClr val="FFC000"/>
                </a:solidFill>
              </a:rPr>
              <a:t>AS.4</a:t>
            </a:r>
            <a:endParaRPr lang="fr-FR" b="1" dirty="0">
              <a:solidFill>
                <a:srgbClr val="FFC000"/>
              </a:solidFill>
            </a:endParaRPr>
          </a:p>
        </p:txBody>
      </p:sp>
      <p:sp>
        <p:nvSpPr>
          <p:cNvPr id="21" name="Espace réservé du texte 2"/>
          <p:cNvSpPr txBox="1">
            <a:spLocks/>
          </p:cNvSpPr>
          <p:nvPr/>
        </p:nvSpPr>
        <p:spPr>
          <a:xfrm>
            <a:off x="5925269" y="1268760"/>
            <a:ext cx="3111228" cy="868970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361950" marR="0" lvl="0" indent="-3619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fr-FR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 STRATEGIC AXES</a:t>
            </a:r>
          </a:p>
          <a:p>
            <a:pPr marL="361950" marR="0" lvl="0" indent="-3619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v"/>
              <a:tabLst/>
              <a:defRPr/>
            </a:pPr>
            <a:r>
              <a:rPr kumimoji="0" lang="fr-FR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9 </a:t>
            </a:r>
            <a:r>
              <a:rPr kumimoji="0" lang="fr-FR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jects</a:t>
            </a:r>
            <a:endParaRPr kumimoji="0" lang="fr-FR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2648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4" name="Espace réservé du numéro de diapositive 5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B3F7746-CA17-49B8-BB9A-58CEE6ECD0DE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fr-FR"/>
          </a:p>
        </p:txBody>
      </p:sp>
      <p:pic>
        <p:nvPicPr>
          <p:cNvPr id="19" name="Image 15" descr="PRODUI~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8521" y="5186143"/>
            <a:ext cx="1800225" cy="135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Image 9" descr="produits halieutiques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9870" y="5241706"/>
            <a:ext cx="1582737" cy="129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" descr="mapa zonas 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6984" y="1975432"/>
            <a:ext cx="5188754" cy="3582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722922" y="-39076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Agoa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Opportunities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722921" y="827772"/>
            <a:ext cx="8313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 err="1" smtClean="0">
                <a:solidFill>
                  <a:srgbClr val="800000"/>
                </a:solidFill>
              </a:rPr>
              <a:t>Fishery</a:t>
            </a:r>
            <a:r>
              <a:rPr lang="fr-FR" sz="3600" b="1" dirty="0" smtClean="0">
                <a:solidFill>
                  <a:srgbClr val="800000"/>
                </a:solidFill>
              </a:rPr>
              <a:t> and Aquaculture </a:t>
            </a:r>
            <a:r>
              <a:rPr lang="fr-FR" sz="3600" b="1" dirty="0" smtClean="0">
                <a:solidFill>
                  <a:srgbClr val="000090"/>
                </a:solidFill>
              </a:rPr>
              <a:t>- </a:t>
            </a:r>
            <a:r>
              <a:rPr lang="fr-FR" sz="3600" b="1" dirty="0" err="1" smtClean="0">
                <a:solidFill>
                  <a:srgbClr val="000090"/>
                </a:solidFill>
              </a:rPr>
              <a:t>Potential</a:t>
            </a:r>
            <a:endParaRPr lang="fr-FR" sz="3600" b="1" dirty="0">
              <a:solidFill>
                <a:srgbClr val="00009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19870" y="1664602"/>
            <a:ext cx="3295992" cy="269304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74625" indent="-174625" algn="just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tabLst>
                <a:tab pos="174625" algn="l"/>
                <a:tab pos="261938" algn="l"/>
              </a:tabLst>
              <a:defRPr/>
            </a:pPr>
            <a:r>
              <a:rPr lang="fr-FR" b="1" dirty="0" smtClean="0"/>
              <a:t>148 </a:t>
            </a:r>
            <a:r>
              <a:rPr lang="fr-FR" b="1" dirty="0"/>
              <a:t>000 </a:t>
            </a:r>
            <a:r>
              <a:rPr lang="fr-FR" b="1" dirty="0" smtClean="0"/>
              <a:t>tons</a:t>
            </a:r>
            <a:r>
              <a:rPr lang="fr-FR" dirty="0" smtClean="0"/>
              <a:t> of production </a:t>
            </a:r>
            <a:r>
              <a:rPr lang="fr-FR" b="1" dirty="0" err="1" smtClean="0"/>
              <a:t>exported</a:t>
            </a:r>
            <a:r>
              <a:rPr lang="fr-FR" b="1" dirty="0" smtClean="0"/>
              <a:t> </a:t>
            </a:r>
            <a:r>
              <a:rPr lang="fr-FR" dirty="0" smtClean="0"/>
              <a:t> </a:t>
            </a:r>
            <a:r>
              <a:rPr lang="fr-FR" b="1" dirty="0" smtClean="0"/>
              <a:t>(</a:t>
            </a:r>
            <a:r>
              <a:rPr lang="fr-FR" dirty="0" smtClean="0"/>
              <a:t>2011) </a:t>
            </a:r>
          </a:p>
          <a:p>
            <a:pPr marL="631825" lvl="1" indent="-174625" algn="just">
              <a:spcBef>
                <a:spcPts val="600"/>
              </a:spcBef>
              <a:buFont typeface="Wingdings" pitchFamily="2" charset="2"/>
              <a:buChar char="§"/>
              <a:tabLst>
                <a:tab pos="261938" algn="l"/>
                <a:tab pos="363538" algn="l"/>
              </a:tabLst>
              <a:defRPr/>
            </a:pPr>
            <a:r>
              <a:rPr lang="fr-FR" b="1" dirty="0" smtClean="0"/>
              <a:t>91%</a:t>
            </a:r>
            <a:r>
              <a:rPr lang="fr-FR" dirty="0" smtClean="0"/>
              <a:t> </a:t>
            </a:r>
            <a:r>
              <a:rPr lang="fr-FR" b="1" dirty="0" err="1" smtClean="0"/>
              <a:t>unprocessed</a:t>
            </a:r>
            <a:r>
              <a:rPr lang="fr-FR" b="1" dirty="0" smtClean="0"/>
              <a:t>.</a:t>
            </a:r>
          </a:p>
          <a:p>
            <a:pPr marL="174625" indent="-174625" algn="just">
              <a:spcBef>
                <a:spcPts val="600"/>
              </a:spcBef>
              <a:buFont typeface="Wingdings" pitchFamily="2" charset="2"/>
              <a:buChar char="§"/>
              <a:tabLst>
                <a:tab pos="261938" algn="l"/>
                <a:tab pos="363538" algn="l"/>
              </a:tabLst>
              <a:defRPr/>
            </a:pPr>
            <a:r>
              <a:rPr lang="fr-FR" b="1" dirty="0" err="1" smtClean="0"/>
              <a:t>Markets</a:t>
            </a:r>
            <a:r>
              <a:rPr lang="fr-FR" b="1" dirty="0" smtClean="0"/>
              <a:t>: </a:t>
            </a:r>
            <a:r>
              <a:rPr lang="fr-FR" dirty="0" err="1" smtClean="0"/>
              <a:t>Europeans</a:t>
            </a:r>
            <a:r>
              <a:rPr lang="fr-FR" dirty="0" smtClean="0"/>
              <a:t>, </a:t>
            </a:r>
            <a:r>
              <a:rPr lang="fr-FR" dirty="0" err="1" smtClean="0"/>
              <a:t>Russian</a:t>
            </a:r>
            <a:r>
              <a:rPr lang="fr-FR" dirty="0" smtClean="0"/>
              <a:t>, </a:t>
            </a:r>
            <a:r>
              <a:rPr lang="fr-FR" dirty="0" err="1" smtClean="0"/>
              <a:t>Asian</a:t>
            </a:r>
            <a:r>
              <a:rPr lang="fr-FR" dirty="0" smtClean="0"/>
              <a:t>, </a:t>
            </a:r>
            <a:r>
              <a:rPr lang="fr-FR" dirty="0" err="1" smtClean="0"/>
              <a:t>Arabic</a:t>
            </a:r>
            <a:endParaRPr lang="fr-FR" dirty="0" smtClean="0"/>
          </a:p>
          <a:p>
            <a:pPr marL="174625" indent="-174625" algn="just">
              <a:spcBef>
                <a:spcPts val="600"/>
              </a:spcBef>
              <a:buFont typeface="Wingdings" pitchFamily="2" charset="2"/>
              <a:buChar char="§"/>
              <a:tabLst>
                <a:tab pos="261938" algn="l"/>
                <a:tab pos="363538" algn="l"/>
              </a:tabLst>
              <a:defRPr/>
            </a:pPr>
            <a:r>
              <a:rPr lang="fr-FR" b="1" i="1" dirty="0" err="1" smtClean="0"/>
              <a:t>Products</a:t>
            </a:r>
            <a:r>
              <a:rPr lang="fr-FR" b="1" i="1" dirty="0" smtClean="0"/>
              <a:t> </a:t>
            </a:r>
            <a:r>
              <a:rPr lang="fr-FR" dirty="0" smtClean="0"/>
              <a:t>: Fish and </a:t>
            </a:r>
            <a:r>
              <a:rPr lang="fr-FR" dirty="0" err="1" smtClean="0"/>
              <a:t>Seafood</a:t>
            </a:r>
            <a:endParaRPr lang="fr-FR" dirty="0" smtClean="0"/>
          </a:p>
          <a:p>
            <a:pPr marL="174625" indent="-174625" algn="just">
              <a:spcBef>
                <a:spcPts val="600"/>
              </a:spcBef>
              <a:buFont typeface="Wingdings" pitchFamily="2" charset="2"/>
              <a:buChar char="§"/>
              <a:tabLst>
                <a:tab pos="261938" algn="l"/>
                <a:tab pos="363538" algn="l"/>
              </a:tabLst>
              <a:defRPr/>
            </a:pPr>
            <a:endParaRPr lang="fr-FR" dirty="0" smtClean="0"/>
          </a:p>
          <a:p>
            <a:pPr marL="174625" indent="-174625" algn="just">
              <a:spcBef>
                <a:spcPts val="600"/>
              </a:spcBef>
              <a:buFont typeface="Wingdings" pitchFamily="2" charset="2"/>
              <a:buChar char="§"/>
              <a:tabLst>
                <a:tab pos="261938" algn="l"/>
                <a:tab pos="363538" algn="l"/>
              </a:tabLst>
              <a:defRPr/>
            </a:pP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78068297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03250" y="1437192"/>
            <a:ext cx="8396167" cy="4294867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marL="514350" indent="-514350">
              <a:lnSpc>
                <a:spcPct val="150000"/>
              </a:lnSpc>
              <a:spcAft>
                <a:spcPts val="600"/>
              </a:spcAft>
              <a:buFont typeface="Wingdings" charset="2"/>
              <a:buChar char="§"/>
            </a:pPr>
            <a:r>
              <a:rPr lang="fr-FR" sz="2800" b="1" dirty="0" err="1" smtClean="0">
                <a:solidFill>
                  <a:srgbClr val="141313"/>
                </a:solidFill>
                <a:ea typeface="Batang" pitchFamily="18" charset="-127"/>
                <a:cs typeface="Verdana" pitchFamily="34" charset="0"/>
              </a:rPr>
              <a:t>Why</a:t>
            </a:r>
            <a:r>
              <a:rPr lang="fr-FR" sz="2800" b="1" dirty="0" smtClean="0">
                <a:solidFill>
                  <a:srgbClr val="141313"/>
                </a:solidFill>
                <a:ea typeface="Batang" pitchFamily="18" charset="-127"/>
                <a:cs typeface="Verdana" pitchFamily="34" charset="0"/>
              </a:rPr>
              <a:t> </a:t>
            </a:r>
            <a:r>
              <a:rPr lang="fr-FR" sz="2800" b="1" dirty="0" err="1" smtClean="0">
                <a:solidFill>
                  <a:srgbClr val="141313"/>
                </a:solidFill>
                <a:ea typeface="Batang" pitchFamily="18" charset="-127"/>
                <a:cs typeface="Verdana" pitchFamily="34" charset="0"/>
              </a:rPr>
              <a:t>invest</a:t>
            </a:r>
            <a:r>
              <a:rPr lang="fr-FR" sz="2800" b="1" dirty="0" smtClean="0">
                <a:solidFill>
                  <a:srgbClr val="141313"/>
                </a:solidFill>
                <a:ea typeface="Batang" pitchFamily="18" charset="-127"/>
                <a:cs typeface="Verdana" pitchFamily="34" charset="0"/>
              </a:rPr>
              <a:t> in </a:t>
            </a:r>
            <a:r>
              <a:rPr lang="fr-FR" sz="2800" b="1" dirty="0" err="1" smtClean="0">
                <a:solidFill>
                  <a:srgbClr val="141313"/>
                </a:solidFill>
                <a:ea typeface="Batang" pitchFamily="18" charset="-127"/>
                <a:cs typeface="Verdana" pitchFamily="34" charset="0"/>
              </a:rPr>
              <a:t>Senegal</a:t>
            </a:r>
            <a:endParaRPr lang="fr-FR" sz="2800" b="1" dirty="0" smtClean="0">
              <a:solidFill>
                <a:srgbClr val="141313"/>
              </a:solidFill>
              <a:ea typeface="Batang" pitchFamily="18" charset="-127"/>
              <a:cs typeface="Verdana" pitchFamily="34" charset="0"/>
            </a:endParaRPr>
          </a:p>
          <a:p>
            <a:pPr marL="514350" indent="-514350">
              <a:lnSpc>
                <a:spcPct val="150000"/>
              </a:lnSpc>
              <a:spcAft>
                <a:spcPts val="600"/>
              </a:spcAft>
              <a:buFont typeface="Wingdings" charset="2"/>
              <a:buChar char="§"/>
            </a:pPr>
            <a:r>
              <a:rPr lang="fr-FR" sz="2800" b="1" dirty="0" err="1" smtClean="0">
                <a:solidFill>
                  <a:schemeClr val="bg1">
                    <a:lumMod val="75000"/>
                  </a:schemeClr>
                </a:solidFill>
                <a:ea typeface="Batang" pitchFamily="18" charset="-127"/>
                <a:cs typeface="Verdana" pitchFamily="34" charset="0"/>
              </a:rPr>
              <a:t>Airport</a:t>
            </a:r>
            <a:r>
              <a:rPr lang="fr-FR" sz="2800" b="1" dirty="0" smtClean="0">
                <a:solidFill>
                  <a:schemeClr val="bg1">
                    <a:lumMod val="75000"/>
                  </a:schemeClr>
                </a:solidFill>
                <a:ea typeface="Batang" pitchFamily="18" charset="-127"/>
                <a:cs typeface="Verdana" pitchFamily="34" charset="0"/>
              </a:rPr>
              <a:t> </a:t>
            </a:r>
            <a:r>
              <a:rPr lang="fr-FR" sz="2800" b="1" dirty="0" err="1" smtClean="0">
                <a:solidFill>
                  <a:schemeClr val="bg1">
                    <a:lumMod val="75000"/>
                  </a:schemeClr>
                </a:solidFill>
                <a:ea typeface="Batang" pitchFamily="18" charset="-127"/>
                <a:cs typeface="Verdana" pitchFamily="34" charset="0"/>
              </a:rPr>
              <a:t>sector</a:t>
            </a:r>
            <a:endParaRPr lang="fr-FR" sz="2800" b="1" dirty="0" smtClean="0">
              <a:solidFill>
                <a:schemeClr val="bg1">
                  <a:lumMod val="75000"/>
                </a:schemeClr>
              </a:solidFill>
              <a:ea typeface="Batang" pitchFamily="18" charset="-127"/>
              <a:cs typeface="Verdana" pitchFamily="34" charset="0"/>
            </a:endParaRPr>
          </a:p>
          <a:p>
            <a:pPr marL="514350" indent="-514350">
              <a:lnSpc>
                <a:spcPct val="150000"/>
              </a:lnSpc>
              <a:spcAft>
                <a:spcPts val="600"/>
              </a:spcAft>
              <a:buFont typeface="Wingdings" charset="2"/>
              <a:buChar char="§"/>
            </a:pPr>
            <a:r>
              <a:rPr lang="fr-FR" sz="2800" b="1" dirty="0" err="1" smtClean="0">
                <a:solidFill>
                  <a:schemeClr val="bg1">
                    <a:lumMod val="75000"/>
                  </a:schemeClr>
                </a:solidFill>
                <a:ea typeface="Batang" pitchFamily="18" charset="-127"/>
                <a:cs typeface="Verdana" pitchFamily="34" charset="0"/>
              </a:rPr>
              <a:t>Tourism</a:t>
            </a:r>
            <a:r>
              <a:rPr lang="fr-FR" sz="2800" b="1" dirty="0" smtClean="0">
                <a:solidFill>
                  <a:schemeClr val="bg1">
                    <a:lumMod val="75000"/>
                  </a:schemeClr>
                </a:solidFill>
                <a:ea typeface="Batang" pitchFamily="18" charset="-127"/>
                <a:cs typeface="Verdana" pitchFamily="34" charset="0"/>
              </a:rPr>
              <a:t> </a:t>
            </a:r>
            <a:r>
              <a:rPr lang="fr-FR" sz="2800" b="1" dirty="0" err="1" smtClean="0">
                <a:solidFill>
                  <a:schemeClr val="bg1">
                    <a:lumMod val="75000"/>
                  </a:schemeClr>
                </a:solidFill>
                <a:ea typeface="Batang" pitchFamily="18" charset="-127"/>
                <a:cs typeface="Verdana" pitchFamily="34" charset="0"/>
              </a:rPr>
              <a:t>Opportunities</a:t>
            </a:r>
            <a:endParaRPr lang="fr-FR" sz="2800" b="1" dirty="0" smtClean="0">
              <a:solidFill>
                <a:schemeClr val="bg1">
                  <a:lumMod val="75000"/>
                </a:schemeClr>
              </a:solidFill>
              <a:ea typeface="Batang" pitchFamily="18" charset="-127"/>
              <a:cs typeface="Verdana" pitchFamily="34" charset="0"/>
            </a:endParaRPr>
          </a:p>
        </p:txBody>
      </p:sp>
      <p:pic>
        <p:nvPicPr>
          <p:cNvPr id="12295" name="Image 10" descr="Capture d’écran 2014-02-23 à 00.01.06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10" t="33270" r="55852" b="61414"/>
          <a:stretch>
            <a:fillRect/>
          </a:stretch>
        </p:blipFill>
        <p:spPr bwMode="auto">
          <a:xfrm>
            <a:off x="0" y="0"/>
            <a:ext cx="603250" cy="1150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6" name="Image 11" descr="Capture d’écran 2014-02-23 à 00.01.06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81" t="67912" r="54128" b="26924"/>
          <a:stretch>
            <a:fillRect/>
          </a:stretch>
        </p:blipFill>
        <p:spPr bwMode="auto">
          <a:xfrm>
            <a:off x="28575" y="5991225"/>
            <a:ext cx="884238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 l="1386" t="13407" r="70821" b="51156"/>
          <a:stretch>
            <a:fillRect/>
          </a:stretch>
        </p:blipFill>
        <p:spPr bwMode="auto">
          <a:xfrm>
            <a:off x="3635896" y="260648"/>
            <a:ext cx="2160240" cy="1555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1346292"/>
      </p:ext>
    </p:extLst>
  </p:cSld>
  <p:clrMapOvr>
    <a:masterClrMapping/>
  </p:clrMapOvr>
  <p:transition spd="slow" advTm="30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775172"/>
            <a:ext cx="6096000" cy="1758503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fr-FR" sz="2400" b="1" dirty="0">
                <a:solidFill>
                  <a:srgbClr val="FF0000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4 million ha </a:t>
            </a:r>
            <a:r>
              <a:rPr lang="en-US" altLang="fr-FR" sz="2400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of arable land</a:t>
            </a:r>
          </a:p>
          <a:p>
            <a:pPr lvl="1"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fr-FR" sz="2000" b="1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385 </a:t>
            </a:r>
            <a:r>
              <a:rPr lang="en-US" altLang="fr-FR" sz="2000" b="1" dirty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ha </a:t>
            </a:r>
            <a:r>
              <a:rPr lang="en-US" altLang="fr-FR" sz="2000" b="1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per </a:t>
            </a:r>
            <a:r>
              <a:rPr lang="en-US" altLang="fr-FR" sz="2000" b="1" dirty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1000 </a:t>
            </a:r>
            <a:r>
              <a:rPr lang="en-US" altLang="fr-FR" sz="2000" b="1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in</a:t>
            </a:r>
            <a:r>
              <a:rPr lang="en-US" altLang="fr-FR" sz="2000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habitants </a:t>
            </a:r>
            <a:r>
              <a:rPr lang="en-US" altLang="fr-FR" sz="2000" i="1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(SN)</a:t>
            </a:r>
          </a:p>
          <a:p>
            <a:pPr lvl="1"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fr-FR" sz="2000" b="1" i="1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86 </a:t>
            </a:r>
            <a:r>
              <a:rPr lang="en-US" altLang="fr-FR" sz="2000" b="1" i="1" dirty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ha </a:t>
            </a:r>
            <a:r>
              <a:rPr lang="en-US" altLang="fr-FR" sz="2000" b="1" i="1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per </a:t>
            </a:r>
            <a:r>
              <a:rPr lang="en-US" altLang="fr-FR" sz="2000" b="1" i="1" dirty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1000 </a:t>
            </a:r>
            <a:r>
              <a:rPr lang="en-US" altLang="fr-FR" sz="2000" i="1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inhabitants </a:t>
            </a:r>
            <a:r>
              <a:rPr lang="en-US" altLang="fr-FR" sz="1800" i="1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(World Average)</a:t>
            </a:r>
            <a:endParaRPr lang="en-US" altLang="fr-FR" sz="1800" i="1" dirty="0">
              <a:latin typeface="Meiryo UI" pitchFamily="34" charset="-128"/>
              <a:ea typeface="Meiryo UI" pitchFamily="34" charset="-128"/>
              <a:cs typeface="Meiryo UI" pitchFamily="34" charset="-128"/>
            </a:endParaRPr>
          </a:p>
          <a:p>
            <a:pPr>
              <a:spcBef>
                <a:spcPts val="600"/>
              </a:spcBef>
              <a:buNone/>
            </a:pPr>
            <a:endParaRPr lang="fr-FR" altLang="fr-FR" sz="2400" dirty="0">
              <a:latin typeface="Meiryo UI" pitchFamily="34" charset="-128"/>
              <a:ea typeface="Meiryo UI" pitchFamily="34" charset="-128"/>
              <a:cs typeface="Meiryo UI" pitchFamily="34" charset="-128"/>
            </a:endParaRPr>
          </a:p>
          <a:p>
            <a:endParaRPr lang="fr-FR" sz="24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AE510-2E18-4644-9DBF-437BBE941DEC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3715354" y="3693331"/>
            <a:ext cx="5428646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fr-FR" sz="2400" b="1" dirty="0">
                <a:solidFill>
                  <a:srgbClr val="FF0000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35 </a:t>
            </a:r>
            <a:r>
              <a:rPr lang="en-US" altLang="fr-FR" sz="2400" b="1" dirty="0" smtClean="0">
                <a:solidFill>
                  <a:srgbClr val="FF0000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billion m</a:t>
            </a:r>
            <a:r>
              <a:rPr lang="en-US" altLang="fr-FR" sz="2400" b="1" baseline="30000" dirty="0" smtClean="0">
                <a:solidFill>
                  <a:srgbClr val="FF0000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3</a:t>
            </a:r>
            <a:r>
              <a:rPr lang="en-US" altLang="fr-FR" sz="2400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 </a:t>
            </a:r>
            <a:r>
              <a:rPr lang="en-US" altLang="fr-FR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of water resources</a:t>
            </a:r>
            <a:endParaRPr lang="en-US" altLang="fr-FR" dirty="0">
              <a:latin typeface="Meiryo UI" pitchFamily="34" charset="-128"/>
              <a:ea typeface="Meiryo UI" pitchFamily="34" charset="-128"/>
              <a:cs typeface="Meiryo UI" pitchFamily="34" charset="-128"/>
            </a:endParaRPr>
          </a:p>
          <a:p>
            <a:pPr marL="190500" lvl="1">
              <a:spcBef>
                <a:spcPts val="600"/>
              </a:spcBef>
              <a:buFont typeface="Wingdings" pitchFamily="2" charset="2"/>
              <a:buChar char="§"/>
            </a:pPr>
            <a:r>
              <a:rPr lang="en-US" altLang="fr-FR" sz="2400" dirty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 </a:t>
            </a:r>
            <a:r>
              <a:rPr lang="en-US" altLang="fr-FR" sz="2000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 </a:t>
            </a:r>
            <a:r>
              <a:rPr lang="en-US" altLang="fr-FR" sz="2000" b="1" dirty="0" smtClean="0">
                <a:solidFill>
                  <a:srgbClr val="000090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4 billion </a:t>
            </a:r>
            <a:r>
              <a:rPr lang="en-US" altLang="fr-FR" sz="2000" b="1" dirty="0">
                <a:solidFill>
                  <a:srgbClr val="0033CC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m</a:t>
            </a:r>
            <a:r>
              <a:rPr lang="en-US" altLang="fr-FR" sz="2000" b="1" baseline="30000" dirty="0">
                <a:solidFill>
                  <a:srgbClr val="0033CC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3</a:t>
            </a:r>
            <a:r>
              <a:rPr lang="en-US" altLang="fr-FR" sz="2000" dirty="0">
                <a:solidFill>
                  <a:srgbClr val="0033CC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 </a:t>
            </a:r>
            <a:r>
              <a:rPr lang="en-US" altLang="fr-FR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underground water resources</a:t>
            </a:r>
            <a:endParaRPr lang="en-US" altLang="fr-FR" sz="2000" dirty="0">
              <a:latin typeface="Meiryo UI" pitchFamily="34" charset="-128"/>
              <a:ea typeface="Meiryo UI" pitchFamily="34" charset="-128"/>
              <a:cs typeface="Meiryo UI" pitchFamily="34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69346" y="5211395"/>
            <a:ext cx="5500781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Font typeface="Wingdings" charset="2"/>
              <a:buChar char="§"/>
            </a:pPr>
            <a:r>
              <a:rPr lang="en-US" altLang="fr-FR" sz="2400" b="1" dirty="0" smtClean="0">
                <a:solidFill>
                  <a:srgbClr val="FF0000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 350 </a:t>
            </a:r>
            <a:r>
              <a:rPr lang="en-US" altLang="fr-FR" sz="2400" b="1" dirty="0">
                <a:solidFill>
                  <a:srgbClr val="FF0000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000 ha </a:t>
            </a:r>
            <a:r>
              <a:rPr lang="en-US" altLang="fr-FR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 irrigated land in the north</a:t>
            </a:r>
            <a:endParaRPr lang="en-US" altLang="fr-FR" sz="1600" dirty="0" smtClean="0">
              <a:latin typeface="Meiryo UI" pitchFamily="34" charset="-128"/>
              <a:ea typeface="Meiryo UI" pitchFamily="34" charset="-128"/>
              <a:cs typeface="Meiryo UI" pitchFamily="34" charset="-128"/>
            </a:endParaRPr>
          </a:p>
          <a:p>
            <a:pPr lvl="1">
              <a:spcBef>
                <a:spcPts val="600"/>
              </a:spcBef>
              <a:buFont typeface="Wingdings" charset="2"/>
              <a:buChar char="§"/>
            </a:pPr>
            <a:r>
              <a:rPr lang="en-US" altLang="fr-FR" sz="2000" b="1" dirty="0" smtClean="0">
                <a:solidFill>
                  <a:srgbClr val="000090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150 000 </a:t>
            </a:r>
            <a:r>
              <a:rPr lang="en-US" altLang="fr-FR" sz="2000" b="1" dirty="0" smtClean="0">
                <a:solidFill>
                  <a:srgbClr val="0033CC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rPr>
              <a:t>ha</a:t>
            </a:r>
            <a:r>
              <a:rPr lang="en-US" altLang="fr-FR" sz="2000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 pre developed</a:t>
            </a:r>
            <a:endParaRPr lang="en-US" altLang="fr-FR" sz="2000" dirty="0">
              <a:solidFill>
                <a:srgbClr val="000000"/>
              </a:solidFill>
              <a:latin typeface="Meiryo UI" pitchFamily="34" charset="-128"/>
              <a:ea typeface="Meiryo UI" pitchFamily="34" charset="-128"/>
              <a:cs typeface="Meiryo UI" pitchFamily="34" charset="-128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6737200" y="1984763"/>
            <a:ext cx="2299297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800" b="1" dirty="0" smtClean="0">
                <a:solidFill>
                  <a:srgbClr val="000090"/>
                </a:solidFill>
              </a:rPr>
              <a:t>20 to 30%  </a:t>
            </a:r>
            <a:endParaRPr lang="fr-FR" sz="2800" dirty="0"/>
          </a:p>
        </p:txBody>
      </p:sp>
      <p:sp>
        <p:nvSpPr>
          <p:cNvPr id="8" name="Rectangle 7"/>
          <p:cNvSpPr/>
          <p:nvPr/>
        </p:nvSpPr>
        <p:spPr>
          <a:xfrm>
            <a:off x="6277009" y="1775172"/>
            <a:ext cx="55223" cy="1166628"/>
          </a:xfrm>
          <a:prstGeom prst="rect">
            <a:avLst/>
          </a:prstGeom>
          <a:solidFill>
            <a:srgbClr val="000090"/>
          </a:solidFill>
          <a:ln>
            <a:solidFill>
              <a:srgbClr val="00009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/>
          <p:cNvSpPr/>
          <p:nvPr/>
        </p:nvSpPr>
        <p:spPr>
          <a:xfrm>
            <a:off x="722922" y="-39076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Agoa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Opportunities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 rot="20620671">
            <a:off x="8439645" y="104570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22921" y="827772"/>
            <a:ext cx="72291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 smtClean="0">
                <a:solidFill>
                  <a:srgbClr val="800000"/>
                </a:solidFill>
              </a:rPr>
              <a:t>Agro</a:t>
            </a:r>
            <a:r>
              <a:rPr lang="fr-FR" sz="3600" b="1" dirty="0" smtClean="0">
                <a:solidFill>
                  <a:srgbClr val="000090"/>
                </a:solidFill>
              </a:rPr>
              <a:t> - </a:t>
            </a:r>
            <a:r>
              <a:rPr lang="fr-FR" sz="3600" b="1" dirty="0" err="1" smtClean="0">
                <a:solidFill>
                  <a:srgbClr val="000090"/>
                </a:solidFill>
              </a:rPr>
              <a:t>Potential</a:t>
            </a:r>
            <a:endParaRPr lang="fr-FR" sz="3600" b="1" dirty="0">
              <a:solidFill>
                <a:srgbClr val="000090"/>
              </a:solidFill>
            </a:endParaRPr>
          </a:p>
        </p:txBody>
      </p:sp>
      <p:pic>
        <p:nvPicPr>
          <p:cNvPr id="16" name="Image 2" descr="Map.em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3703691"/>
            <a:ext cx="3036887" cy="274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47998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/>
      <p:bldP spid="6" grpId="0"/>
      <p:bldP spid="7" grpId="0"/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AE510-2E18-4644-9DBF-437BBE941DEC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722921" y="827772"/>
            <a:ext cx="72291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 smtClean="0">
                <a:solidFill>
                  <a:srgbClr val="800000"/>
                </a:solidFill>
              </a:rPr>
              <a:t>Agro</a:t>
            </a:r>
            <a:r>
              <a:rPr lang="fr-FR" sz="3600" b="1" dirty="0" smtClean="0">
                <a:solidFill>
                  <a:srgbClr val="000090"/>
                </a:solidFill>
              </a:rPr>
              <a:t> – Export or </a:t>
            </a:r>
            <a:r>
              <a:rPr lang="fr-FR" sz="3600" b="1" dirty="0" err="1" smtClean="0">
                <a:solidFill>
                  <a:srgbClr val="000090"/>
                </a:solidFill>
              </a:rPr>
              <a:t>high</a:t>
            </a:r>
            <a:r>
              <a:rPr lang="fr-FR" sz="3600" b="1" dirty="0" smtClean="0">
                <a:solidFill>
                  <a:srgbClr val="000090"/>
                </a:solidFill>
              </a:rPr>
              <a:t> value </a:t>
            </a:r>
            <a:r>
              <a:rPr lang="fr-FR" sz="3600" b="1" dirty="0" err="1" smtClean="0">
                <a:solidFill>
                  <a:srgbClr val="000090"/>
                </a:solidFill>
              </a:rPr>
              <a:t>added</a:t>
            </a:r>
            <a:r>
              <a:rPr lang="fr-FR" sz="3600" b="1" dirty="0" smtClean="0">
                <a:solidFill>
                  <a:srgbClr val="000090"/>
                </a:solidFill>
              </a:rPr>
              <a:t> </a:t>
            </a:r>
          </a:p>
          <a:p>
            <a:r>
              <a:rPr lang="fr-FR" sz="3600" b="1" dirty="0">
                <a:solidFill>
                  <a:srgbClr val="000090"/>
                </a:solidFill>
              </a:rPr>
              <a:t> </a:t>
            </a:r>
            <a:r>
              <a:rPr lang="fr-FR" sz="3600" b="1" dirty="0" smtClean="0">
                <a:solidFill>
                  <a:srgbClr val="000090"/>
                </a:solidFill>
              </a:rPr>
              <a:t>            </a:t>
            </a:r>
            <a:r>
              <a:rPr lang="fr-FR" sz="3600" b="1" dirty="0" err="1" smtClean="0">
                <a:solidFill>
                  <a:srgbClr val="000090"/>
                </a:solidFill>
              </a:rPr>
              <a:t>sectors</a:t>
            </a:r>
            <a:endParaRPr lang="fr-FR" sz="3600" b="1" dirty="0">
              <a:solidFill>
                <a:srgbClr val="000090"/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/>
          </a:blip>
          <a:srcRect/>
          <a:stretch>
            <a:fillRect/>
          </a:stretch>
        </p:blipFill>
        <p:spPr bwMode="auto">
          <a:xfrm>
            <a:off x="5857742" y="2575887"/>
            <a:ext cx="2915089" cy="2062212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sp>
        <p:nvSpPr>
          <p:cNvPr id="3" name="ZoneTexte 2"/>
          <p:cNvSpPr txBox="1"/>
          <p:nvPr/>
        </p:nvSpPr>
        <p:spPr>
          <a:xfrm>
            <a:off x="533822" y="2263010"/>
            <a:ext cx="458350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FF0000"/>
                </a:solidFill>
              </a:rPr>
              <a:t>67 568 tons </a:t>
            </a:r>
            <a:r>
              <a:rPr lang="fr-FR" sz="2400" dirty="0" smtClean="0"/>
              <a:t>of horticulture </a:t>
            </a:r>
            <a:r>
              <a:rPr lang="fr-FR" sz="2400" dirty="0" err="1" smtClean="0"/>
              <a:t>products</a:t>
            </a:r>
            <a:r>
              <a:rPr lang="fr-FR" sz="2400" dirty="0" smtClean="0"/>
              <a:t> ,  </a:t>
            </a:r>
            <a:r>
              <a:rPr lang="fr-FR" sz="2400" b="1" dirty="0" smtClean="0">
                <a:solidFill>
                  <a:srgbClr val="000090"/>
                </a:solidFill>
              </a:rPr>
              <a:t>50% of </a:t>
            </a:r>
            <a:r>
              <a:rPr lang="fr-FR" sz="2400" dirty="0" smtClean="0"/>
              <a:t>national </a:t>
            </a:r>
            <a:r>
              <a:rPr lang="fr-FR" sz="2400" dirty="0" err="1" smtClean="0"/>
              <a:t>target</a:t>
            </a:r>
            <a:r>
              <a:rPr lang="fr-FR" sz="2400" dirty="0" smtClean="0"/>
              <a:t> </a:t>
            </a:r>
          </a:p>
          <a:p>
            <a:pPr marL="801688" indent="-350838">
              <a:buFont typeface="Arial"/>
              <a:buChar char="•"/>
            </a:pPr>
            <a:r>
              <a:rPr lang="fr-FR" sz="2000" b="1" i="1" dirty="0" err="1" smtClean="0"/>
              <a:t>Market</a:t>
            </a:r>
            <a:r>
              <a:rPr lang="fr-FR" sz="2000" dirty="0" smtClean="0"/>
              <a:t> : Europe and </a:t>
            </a:r>
            <a:r>
              <a:rPr lang="fr-FR" sz="2000" dirty="0" err="1" smtClean="0"/>
              <a:t>America</a:t>
            </a:r>
            <a:endParaRPr lang="fr-FR" sz="2000" dirty="0" smtClean="0"/>
          </a:p>
          <a:p>
            <a:pPr marL="800100" lvl="1" indent="-342900">
              <a:buFont typeface="Arial"/>
              <a:buChar char="•"/>
            </a:pPr>
            <a:r>
              <a:rPr lang="en-US" altLang="fr-FR" sz="2000" b="1" i="1" dirty="0" smtClean="0">
                <a:ea typeface="Meiryo UI" pitchFamily="34" charset="-128"/>
                <a:cs typeface="Meiryo UI" pitchFamily="34" charset="-128"/>
              </a:rPr>
              <a:t>Products :</a:t>
            </a:r>
            <a:r>
              <a:rPr lang="en-US" altLang="fr-FR" sz="2000" i="1" dirty="0" smtClean="0">
                <a:ea typeface="Meiryo UI" pitchFamily="34" charset="-128"/>
                <a:cs typeface="Meiryo UI" pitchFamily="34" charset="-128"/>
              </a:rPr>
              <a:t>Cherry t</a:t>
            </a:r>
            <a:r>
              <a:rPr lang="en-US" altLang="fr-FR" sz="2000" dirty="0" smtClean="0">
                <a:ea typeface="Meiryo UI" pitchFamily="34" charset="-128"/>
                <a:cs typeface="Meiryo UI" pitchFamily="34" charset="-128"/>
              </a:rPr>
              <a:t>omatoes </a:t>
            </a:r>
            <a:r>
              <a:rPr lang="en-US" altLang="fr-FR" sz="2000" i="1" dirty="0" smtClean="0">
                <a:ea typeface="Meiryo UI" pitchFamily="34" charset="-128"/>
                <a:cs typeface="Meiryo UI" pitchFamily="34" charset="-128"/>
              </a:rPr>
              <a:t>(10 000t), </a:t>
            </a:r>
            <a:r>
              <a:rPr lang="en-US" altLang="fr-FR" sz="2000" dirty="0" smtClean="0">
                <a:ea typeface="Meiryo UI" pitchFamily="34" charset="-128"/>
                <a:cs typeface="Meiryo UI" pitchFamily="34" charset="-128"/>
              </a:rPr>
              <a:t>green beans </a:t>
            </a:r>
            <a:r>
              <a:rPr lang="en-US" altLang="fr-FR" sz="2000" i="1" dirty="0" smtClean="0">
                <a:ea typeface="Meiryo UI" pitchFamily="34" charset="-128"/>
                <a:cs typeface="Meiryo UI" pitchFamily="34" charset="-128"/>
              </a:rPr>
              <a:t>(</a:t>
            </a:r>
            <a:r>
              <a:rPr lang="en-US" altLang="fr-FR" sz="2000" i="1" dirty="0">
                <a:ea typeface="Meiryo UI" pitchFamily="34" charset="-128"/>
                <a:cs typeface="Meiryo UI" pitchFamily="34" charset="-128"/>
              </a:rPr>
              <a:t>8 000 t), </a:t>
            </a:r>
            <a:r>
              <a:rPr lang="en-US" altLang="fr-FR" sz="2000" dirty="0" smtClean="0">
                <a:ea typeface="Meiryo UI" pitchFamily="34" charset="-128"/>
                <a:cs typeface="Meiryo UI" pitchFamily="34" charset="-128"/>
              </a:rPr>
              <a:t>Sweet corn</a:t>
            </a:r>
            <a:r>
              <a:rPr lang="en-US" altLang="fr-FR" sz="2000" i="1" dirty="0" smtClean="0">
                <a:ea typeface="Meiryo UI" pitchFamily="34" charset="-128"/>
                <a:cs typeface="Meiryo UI" pitchFamily="34" charset="-128"/>
              </a:rPr>
              <a:t>( </a:t>
            </a:r>
            <a:r>
              <a:rPr lang="en-US" altLang="fr-FR" sz="2000" i="1" dirty="0">
                <a:ea typeface="Meiryo UI" pitchFamily="34" charset="-128"/>
                <a:cs typeface="Meiryo UI" pitchFamily="34" charset="-128"/>
              </a:rPr>
              <a:t>8 000t), </a:t>
            </a:r>
            <a:r>
              <a:rPr lang="en-US" altLang="fr-FR" sz="2000" dirty="0" smtClean="0">
                <a:ea typeface="Meiryo UI" pitchFamily="34" charset="-128"/>
                <a:cs typeface="Meiryo UI" pitchFamily="34" charset="-128"/>
              </a:rPr>
              <a:t>etc</a:t>
            </a:r>
            <a:r>
              <a:rPr lang="en-US" altLang="fr-FR" sz="2400" dirty="0" smtClean="0">
                <a:latin typeface="Meiryo UI" pitchFamily="34" charset="-128"/>
                <a:ea typeface="Meiryo UI" pitchFamily="34" charset="-128"/>
                <a:cs typeface="Meiryo UI" pitchFamily="34" charset="-128"/>
              </a:rPr>
              <a:t>.</a:t>
            </a:r>
            <a:endParaRPr lang="fr-FR" sz="2400" dirty="0" smtClean="0"/>
          </a:p>
        </p:txBody>
      </p:sp>
      <p:sp>
        <p:nvSpPr>
          <p:cNvPr id="22" name="ZoneTexte 21"/>
          <p:cNvSpPr txBox="1"/>
          <p:nvPr/>
        </p:nvSpPr>
        <p:spPr>
          <a:xfrm>
            <a:off x="533822" y="5156022"/>
            <a:ext cx="458350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 smtClean="0">
                <a:solidFill>
                  <a:srgbClr val="FF0000"/>
                </a:solidFill>
              </a:rPr>
              <a:t>750 000 tons </a:t>
            </a:r>
            <a:r>
              <a:rPr lang="fr-FR" sz="2400" dirty="0" err="1" smtClean="0"/>
              <a:t>Rice</a:t>
            </a:r>
            <a:r>
              <a:rPr lang="fr-FR" sz="2400" dirty="0" smtClean="0"/>
              <a:t> production, </a:t>
            </a:r>
            <a:r>
              <a:rPr lang="fr-FR" sz="2400" b="1" dirty="0" smtClean="0">
                <a:solidFill>
                  <a:srgbClr val="000090"/>
                </a:solidFill>
              </a:rPr>
              <a:t>60% of  </a:t>
            </a:r>
            <a:r>
              <a:rPr lang="fr-FR" sz="2400" dirty="0"/>
              <a:t>national </a:t>
            </a:r>
            <a:r>
              <a:rPr lang="fr-FR" sz="2400" dirty="0" err="1"/>
              <a:t>target</a:t>
            </a:r>
            <a:r>
              <a:rPr lang="fr-FR" sz="2400" dirty="0"/>
              <a:t> </a:t>
            </a:r>
            <a:endParaRPr lang="fr-FR" sz="2400" dirty="0" smtClean="0"/>
          </a:p>
          <a:p>
            <a:pPr marL="342900" indent="-342900">
              <a:buFont typeface="Arial"/>
              <a:buChar char="•"/>
            </a:pPr>
            <a:r>
              <a:rPr lang="fr-FR" sz="2000" b="1" i="1" dirty="0" err="1" smtClean="0"/>
              <a:t>Market</a:t>
            </a:r>
            <a:r>
              <a:rPr lang="fr-FR" sz="2000" b="1" i="1" dirty="0" smtClean="0"/>
              <a:t>:</a:t>
            </a:r>
            <a:r>
              <a:rPr lang="fr-FR" sz="2000" dirty="0" smtClean="0"/>
              <a:t> local and </a:t>
            </a:r>
            <a:r>
              <a:rPr lang="fr-FR" sz="2000" dirty="0" err="1" smtClean="0"/>
              <a:t>sub</a:t>
            </a:r>
            <a:r>
              <a:rPr lang="fr-FR" sz="2000" dirty="0" smtClean="0"/>
              <a:t> </a:t>
            </a:r>
            <a:r>
              <a:rPr lang="fr-FR" sz="2000" dirty="0" err="1" smtClean="0"/>
              <a:t>regional</a:t>
            </a:r>
            <a:endParaRPr lang="fr-FR" sz="2000" dirty="0" smtClean="0"/>
          </a:p>
          <a:p>
            <a:pPr marL="342900" indent="-342900">
              <a:buFont typeface="Arial"/>
              <a:buChar char="•"/>
            </a:pPr>
            <a:r>
              <a:rPr lang="fr-FR" sz="2000" b="1" i="1" dirty="0" smtClean="0"/>
              <a:t>Product: </a:t>
            </a:r>
            <a:r>
              <a:rPr lang="fr-FR" sz="2000" dirty="0" smtClean="0"/>
              <a:t>Paddy </a:t>
            </a:r>
            <a:r>
              <a:rPr lang="fr-FR" sz="2000" dirty="0" err="1" smtClean="0"/>
              <a:t>rice</a:t>
            </a:r>
            <a:endParaRPr lang="fr-FR" sz="2000" dirty="0" smtClean="0"/>
          </a:p>
        </p:txBody>
      </p:sp>
      <p:sp>
        <p:nvSpPr>
          <p:cNvPr id="8" name="Rectangle 7"/>
          <p:cNvSpPr/>
          <p:nvPr/>
        </p:nvSpPr>
        <p:spPr>
          <a:xfrm>
            <a:off x="722922" y="-39076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Agoa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Opportunities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 rot="20620671">
            <a:off x="8439645" y="104570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8809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CAE510-2E18-4644-9DBF-437BBE941DEC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722921" y="827772"/>
            <a:ext cx="72291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 err="1" smtClean="0">
                <a:solidFill>
                  <a:srgbClr val="800000"/>
                </a:solidFill>
              </a:rPr>
              <a:t>Livestock</a:t>
            </a:r>
            <a:r>
              <a:rPr lang="fr-FR" sz="3600" b="1" dirty="0" smtClean="0">
                <a:solidFill>
                  <a:srgbClr val="000090"/>
                </a:solidFill>
              </a:rPr>
              <a:t> – </a:t>
            </a:r>
            <a:r>
              <a:rPr lang="fr-FR" sz="3600" b="1" dirty="0" err="1" smtClean="0">
                <a:solidFill>
                  <a:srgbClr val="000090"/>
                </a:solidFill>
              </a:rPr>
              <a:t>Leather</a:t>
            </a:r>
            <a:r>
              <a:rPr lang="fr-FR" sz="3600" b="1" dirty="0" smtClean="0">
                <a:solidFill>
                  <a:srgbClr val="000090"/>
                </a:solidFill>
              </a:rPr>
              <a:t> and Skin </a:t>
            </a:r>
            <a:r>
              <a:rPr lang="fr-FR" sz="3600" b="1" dirty="0" err="1" smtClean="0">
                <a:solidFill>
                  <a:srgbClr val="000090"/>
                </a:solidFill>
              </a:rPr>
              <a:t>Sector</a:t>
            </a:r>
            <a:endParaRPr lang="fr-FR" sz="3600" b="1" dirty="0">
              <a:solidFill>
                <a:srgbClr val="000090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0" y="2012337"/>
            <a:ext cx="58481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2400" dirty="0" smtClean="0"/>
          </a:p>
          <a:p>
            <a:pPr marL="800100" lvl="1" indent="-342900">
              <a:buFont typeface="Arial"/>
              <a:buChar char="•"/>
            </a:pPr>
            <a:r>
              <a:rPr lang="fr-FR" sz="2400" b="1" i="1" dirty="0" err="1" smtClean="0"/>
              <a:t>Markets</a:t>
            </a:r>
            <a:r>
              <a:rPr lang="fr-FR" sz="2400" dirty="0" smtClean="0"/>
              <a:t> : China </a:t>
            </a:r>
            <a:r>
              <a:rPr lang="fr-FR" sz="2400" dirty="0"/>
              <a:t>(Hong Kong), Portugal, </a:t>
            </a:r>
            <a:r>
              <a:rPr lang="fr-FR" sz="2400" dirty="0" smtClean="0"/>
              <a:t>UAE, Brasil</a:t>
            </a:r>
            <a:r>
              <a:rPr lang="fr-FR" sz="2400" dirty="0"/>
              <a:t>, </a:t>
            </a:r>
            <a:r>
              <a:rPr lang="fr-FR" sz="2400" dirty="0" smtClean="0"/>
              <a:t>Niger, </a:t>
            </a:r>
            <a:r>
              <a:rPr lang="fr-FR" sz="2400" dirty="0" err="1" smtClean="0"/>
              <a:t>India</a:t>
            </a:r>
            <a:r>
              <a:rPr lang="fr-FR" sz="2400" dirty="0" smtClean="0"/>
              <a:t>, </a:t>
            </a:r>
            <a:r>
              <a:rPr lang="fr-FR" sz="2400" dirty="0" err="1" smtClean="0"/>
              <a:t>Turkey</a:t>
            </a:r>
            <a:endParaRPr lang="fr-FR" sz="2400" dirty="0"/>
          </a:p>
          <a:p>
            <a:pPr marL="800100" lvl="1" indent="-342900">
              <a:buFont typeface="Arial"/>
              <a:buChar char="•"/>
            </a:pPr>
            <a:endParaRPr lang="fr-FR" sz="2400" dirty="0" smtClean="0"/>
          </a:p>
          <a:p>
            <a:pPr marL="800100" lvl="1" indent="-342900">
              <a:buFont typeface="Arial"/>
              <a:buChar char="•"/>
            </a:pPr>
            <a:r>
              <a:rPr lang="en-US" altLang="fr-FR" sz="2400" b="1" i="1" dirty="0" smtClean="0">
                <a:ea typeface="Meiryo UI" pitchFamily="34" charset="-128"/>
                <a:cs typeface="Meiryo UI" pitchFamily="34" charset="-128"/>
              </a:rPr>
              <a:t>Products :</a:t>
            </a:r>
            <a:r>
              <a:rPr lang="fr-FR" sz="2400" dirty="0" smtClean="0"/>
              <a:t> </a:t>
            </a:r>
            <a:r>
              <a:rPr lang="fr-FR" sz="2400" dirty="0" err="1" smtClean="0"/>
              <a:t>Cattle</a:t>
            </a:r>
            <a:r>
              <a:rPr lang="fr-FR" sz="2400" dirty="0"/>
              <a:t>, </a:t>
            </a:r>
            <a:r>
              <a:rPr lang="fr-FR" sz="2400" dirty="0" err="1"/>
              <a:t>Shaved</a:t>
            </a:r>
            <a:r>
              <a:rPr lang="fr-FR" sz="2400" dirty="0"/>
              <a:t> or </a:t>
            </a:r>
            <a:r>
              <a:rPr lang="fr-FR" sz="2400" dirty="0" err="1"/>
              <a:t>without</a:t>
            </a:r>
            <a:r>
              <a:rPr lang="fr-FR" sz="2400" dirty="0"/>
              <a:t> </a:t>
            </a:r>
            <a:r>
              <a:rPr lang="fr-FR" sz="2400" dirty="0" err="1" smtClean="0"/>
              <a:t>hair</a:t>
            </a:r>
            <a:r>
              <a:rPr lang="fr-FR" sz="2400" dirty="0" smtClean="0"/>
              <a:t> </a:t>
            </a:r>
            <a:r>
              <a:rPr lang="fr-FR" sz="2400" dirty="0" err="1" smtClean="0"/>
              <a:t>Sheep</a:t>
            </a:r>
            <a:r>
              <a:rPr lang="fr-FR" sz="2400" dirty="0" smtClean="0"/>
              <a:t>, </a:t>
            </a:r>
            <a:r>
              <a:rPr lang="fr-FR" sz="2400" dirty="0"/>
              <a:t>non </a:t>
            </a:r>
            <a:r>
              <a:rPr lang="fr-FR" sz="2400" dirty="0" err="1" smtClean="0"/>
              <a:t>tanned</a:t>
            </a:r>
            <a:r>
              <a:rPr lang="fr-FR" sz="2400" dirty="0" smtClean="0"/>
              <a:t>,  </a:t>
            </a:r>
            <a:r>
              <a:rPr lang="fr-FR" sz="2400" dirty="0" err="1" smtClean="0"/>
              <a:t>other</a:t>
            </a:r>
            <a:r>
              <a:rPr lang="fr-FR" sz="2400" dirty="0" smtClean="0"/>
              <a:t>  skin …</a:t>
            </a:r>
            <a:endParaRPr lang="fr-FR" sz="2400" dirty="0"/>
          </a:p>
        </p:txBody>
      </p:sp>
      <p:sp>
        <p:nvSpPr>
          <p:cNvPr id="8" name="Rectangle 7"/>
          <p:cNvSpPr/>
          <p:nvPr/>
        </p:nvSpPr>
        <p:spPr bwMode="auto">
          <a:xfrm>
            <a:off x="6157119" y="4270978"/>
            <a:ext cx="2284385" cy="1311887"/>
          </a:xfrm>
          <a:prstGeom prst="rect">
            <a:avLst/>
          </a:prstGeom>
          <a:blipFill dpi="0" rotWithShape="1">
            <a:blip r:embed="rId2" cstate="print">
              <a:extLst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9" name="Rectangle 8"/>
          <p:cNvSpPr/>
          <p:nvPr/>
        </p:nvSpPr>
        <p:spPr bwMode="auto">
          <a:xfrm>
            <a:off x="6078675" y="2248882"/>
            <a:ext cx="2362829" cy="1285691"/>
          </a:xfrm>
          <a:prstGeom prst="rect">
            <a:avLst/>
          </a:prstGeom>
          <a:blipFill dpi="0" rotWithShape="1">
            <a:blip r:embed="rId3" cstate="print">
              <a:extLst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0" name="Rectangle 9"/>
          <p:cNvSpPr/>
          <p:nvPr/>
        </p:nvSpPr>
        <p:spPr>
          <a:xfrm>
            <a:off x="722922" y="-39076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Agoa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Opportunities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22922" y="741383"/>
            <a:ext cx="6877540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 rot="20620671">
            <a:off x="8439645" y="104570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1066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africa_map_3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123" y="2536664"/>
            <a:ext cx="3234003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space réservé du contenu 2"/>
          <p:cNvSpPr txBox="1">
            <a:spLocks/>
          </p:cNvSpPr>
          <p:nvPr/>
        </p:nvSpPr>
        <p:spPr>
          <a:xfrm>
            <a:off x="3275856" y="2708920"/>
            <a:ext cx="5868144" cy="3574621"/>
          </a:xfrm>
          <a:prstGeom prst="rect">
            <a:avLst/>
          </a:prstGeom>
        </p:spPr>
        <p:txBody>
          <a:bodyPr vert="horz">
            <a:noAutofit/>
          </a:bodyPr>
          <a:lstStyle/>
          <a:p>
            <a:pPr marL="365760" marR="0" lvl="0" indent="-25603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Char char="•"/>
              <a:tabLst/>
              <a:defRPr/>
            </a:pPr>
            <a:r>
              <a:rPr lang="en-US" sz="2000" dirty="0"/>
              <a:t>P</a:t>
            </a:r>
            <a:r>
              <a:rPr lang="en-US" sz="2000" dirty="0" smtClean="0"/>
              <a:t>opulation </a:t>
            </a:r>
          </a:p>
          <a:p>
            <a:pPr marL="822960" lvl="1" indent="-256032" defTabSz="914400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/>
            </a:pPr>
            <a:r>
              <a:rPr lang="en-US" sz="2000" b="1" dirty="0" smtClean="0">
                <a:solidFill>
                  <a:srgbClr val="FF0000"/>
                </a:solidFill>
              </a:rPr>
              <a:t>&gt;</a:t>
            </a:r>
            <a:r>
              <a:rPr lang="en-US" sz="2000" dirty="0" smtClean="0"/>
              <a:t> China’s Population in </a:t>
            </a:r>
            <a:r>
              <a:rPr lang="en-US" sz="2000" b="1" dirty="0" smtClean="0">
                <a:solidFill>
                  <a:srgbClr val="0070C0"/>
                </a:solidFill>
              </a:rPr>
              <a:t>2020</a:t>
            </a:r>
            <a:r>
              <a:rPr lang="en-US" sz="2000" dirty="0" smtClean="0"/>
              <a:t> </a:t>
            </a:r>
            <a:r>
              <a:rPr lang="fr-FR" sz="2000" dirty="0" smtClean="0"/>
              <a:t>, </a:t>
            </a:r>
          </a:p>
          <a:p>
            <a:pPr marL="822960" lvl="1" indent="-256032" defTabSz="914400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/>
            </a:pPr>
            <a:r>
              <a:rPr lang="en-US" sz="2000" b="1" dirty="0" smtClean="0">
                <a:solidFill>
                  <a:srgbClr val="FF0000"/>
                </a:solidFill>
              </a:rPr>
              <a:t>1.5 billion </a:t>
            </a:r>
            <a:r>
              <a:rPr lang="en-US" sz="2000" dirty="0"/>
              <a:t>i</a:t>
            </a:r>
            <a:r>
              <a:rPr lang="en-US" sz="2000" dirty="0" smtClean="0"/>
              <a:t>n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b="1" dirty="0" smtClean="0">
                <a:solidFill>
                  <a:srgbClr val="0070C0"/>
                </a:solidFill>
              </a:rPr>
              <a:t>2030</a:t>
            </a:r>
            <a:r>
              <a:rPr lang="en-US" sz="2000" dirty="0" smtClean="0">
                <a:solidFill>
                  <a:srgbClr val="0070C0"/>
                </a:solidFill>
              </a:rPr>
              <a:t> </a:t>
            </a:r>
            <a:endParaRPr lang="en-US" sz="2000" dirty="0" smtClean="0"/>
          </a:p>
          <a:p>
            <a:pPr marL="822960" lvl="1" indent="-256032" defTabSz="914400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/>
            </a:pPr>
            <a:r>
              <a:rPr lang="en-US" sz="2000" b="1" dirty="0" smtClean="0">
                <a:solidFill>
                  <a:srgbClr val="FF0000"/>
                </a:solidFill>
              </a:rPr>
              <a:t>2.1 billions  </a:t>
            </a:r>
            <a:r>
              <a:rPr lang="en-US" sz="2000" dirty="0"/>
              <a:t>i</a:t>
            </a:r>
            <a:r>
              <a:rPr lang="en-US" sz="2000" dirty="0" smtClean="0"/>
              <a:t>n</a:t>
            </a:r>
            <a:r>
              <a:rPr lang="en-US" sz="2000" b="1" dirty="0" smtClean="0">
                <a:solidFill>
                  <a:srgbClr val="0070C0"/>
                </a:solidFill>
              </a:rPr>
              <a:t>2050</a:t>
            </a:r>
            <a:endParaRPr lang="en-US" sz="2000" b="1" dirty="0" smtClean="0">
              <a:solidFill>
                <a:srgbClr val="FF0000"/>
              </a:solidFill>
            </a:endParaRPr>
          </a:p>
          <a:p>
            <a:pPr marL="365760" marR="0" lvl="0" indent="-25603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5760" lvl="0" indent="-256032" defTabSz="914400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/>
            </a:pPr>
            <a:r>
              <a:rPr lang="en-US" sz="2000" b="1" dirty="0">
                <a:solidFill>
                  <a:srgbClr val="FF0000"/>
                </a:solidFill>
              </a:rPr>
              <a:t>75</a:t>
            </a:r>
            <a:r>
              <a:rPr lang="en-US" sz="2000" b="1" dirty="0" smtClean="0">
                <a:solidFill>
                  <a:srgbClr val="FF0000"/>
                </a:solidFill>
              </a:rPr>
              <a:t>%  </a:t>
            </a:r>
            <a:r>
              <a:rPr lang="en-US" sz="2000" dirty="0" smtClean="0">
                <a:solidFill>
                  <a:srgbClr val="000000"/>
                </a:solidFill>
              </a:rPr>
              <a:t>Educated</a:t>
            </a:r>
            <a:r>
              <a:rPr lang="en-US" sz="2000" b="1" dirty="0" smtClean="0">
                <a:solidFill>
                  <a:srgbClr val="FF0000"/>
                </a:solidFill>
              </a:rPr>
              <a:t>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pulation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 </a:t>
            </a:r>
            <a:r>
              <a:rPr lang="en-US" sz="2000" b="1" dirty="0" smtClean="0">
                <a:solidFill>
                  <a:srgbClr val="0070C0"/>
                </a:solidFill>
              </a:rPr>
              <a:t>2020</a:t>
            </a:r>
            <a:r>
              <a:rPr lang="en-US" sz="2000" dirty="0" smtClean="0"/>
              <a:t> 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5760" indent="-256032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</a:pPr>
            <a:endParaRPr lang="en-US" sz="1000" dirty="0" smtClean="0">
              <a:solidFill>
                <a:srgbClr val="FF0000"/>
              </a:solidFill>
            </a:endParaRPr>
          </a:p>
          <a:p>
            <a:pPr marL="365760" indent="-256032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</a:pPr>
            <a:r>
              <a:rPr lang="en-US" sz="2000" b="1" dirty="0">
                <a:solidFill>
                  <a:srgbClr val="FF0000"/>
                </a:solidFill>
              </a:rPr>
              <a:t>$ 1.4 </a:t>
            </a:r>
            <a:r>
              <a:rPr lang="en-US" sz="2000" b="1" dirty="0" smtClean="0">
                <a:solidFill>
                  <a:srgbClr val="FF0000"/>
                </a:solidFill>
              </a:rPr>
              <a:t>trillion </a:t>
            </a:r>
            <a:r>
              <a:rPr lang="en-US" sz="2000" dirty="0" smtClean="0"/>
              <a:t>Consuming expenses in </a:t>
            </a:r>
            <a:r>
              <a:rPr lang="en-US" sz="2000" b="1" dirty="0" smtClean="0">
                <a:solidFill>
                  <a:srgbClr val="0070C0"/>
                </a:solidFill>
              </a:rPr>
              <a:t>2020</a:t>
            </a:r>
            <a:r>
              <a:rPr lang="en-US" sz="2000" dirty="0" smtClean="0">
                <a:solidFill>
                  <a:srgbClr val="0070C0"/>
                </a:solidFill>
              </a:rPr>
              <a:t> </a:t>
            </a:r>
            <a:endParaRPr lang="en-US" sz="2000" dirty="0" smtClean="0">
              <a:solidFill>
                <a:srgbClr val="FF0000"/>
              </a:solidFill>
            </a:endParaRPr>
          </a:p>
          <a:p>
            <a:pPr marL="365760" marR="0" lvl="0" indent="-25603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5760" lvl="0" indent="-256032" defTabSz="914400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/>
            </a:pPr>
            <a:r>
              <a:rPr lang="en-US" sz="2000" b="1" dirty="0">
                <a:solidFill>
                  <a:srgbClr val="FF0000"/>
                </a:solidFill>
              </a:rPr>
              <a:t>8</a:t>
            </a:r>
            <a:r>
              <a:rPr lang="en-US" sz="2000" b="1" dirty="0" smtClean="0">
                <a:solidFill>
                  <a:srgbClr val="FF0000"/>
                </a:solidFill>
              </a:rPr>
              <a:t>%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rowth rate in </a:t>
            </a:r>
            <a:r>
              <a:rPr lang="en-US" sz="2000" b="1" dirty="0" smtClean="0">
                <a:solidFill>
                  <a:srgbClr val="0070C0"/>
                </a:solidFill>
              </a:rPr>
              <a:t>2020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5760" marR="0" lvl="0" indent="-256032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Char char="•"/>
              <a:tabLst/>
              <a:defRPr/>
            </a:pPr>
            <a:endParaRPr kumimoji="0" lang="fr-FR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22922" y="0"/>
            <a:ext cx="857738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Africa</a:t>
            </a:r>
            <a:r>
              <a:rPr lang="fr-FR" sz="4400" b="1" dirty="0" smtClean="0">
                <a:solidFill>
                  <a:srgbClr val="FF0000"/>
                </a:solidFill>
                <a:cs typeface="Arial" pitchFamily="34" charset="0"/>
              </a:rPr>
              <a:t>, a land of  future</a:t>
            </a:r>
            <a:endParaRPr lang="fr-FR" sz="44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11" name="Titre 2"/>
          <p:cNvSpPr txBox="1">
            <a:spLocks/>
          </p:cNvSpPr>
          <p:nvPr/>
        </p:nvSpPr>
        <p:spPr>
          <a:xfrm>
            <a:off x="3286975" y="1843083"/>
            <a:ext cx="5749521" cy="649813"/>
          </a:xfrm>
          <a:prstGeom prst="rect">
            <a:avLst/>
          </a:prstGeom>
          <a:noFill/>
        </p:spPr>
        <p:txBody>
          <a:bodyPr vert="horz" anchor="ctr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ographical Challenge</a:t>
            </a:r>
            <a:endParaRPr lang="fr-FR" sz="3200" dirty="0">
              <a:solidFill>
                <a:schemeClr val="tx1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8748464" y="897687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 dirty="0" smtClean="0"/>
          </a:p>
          <a:p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722922" y="897687"/>
            <a:ext cx="8421078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55624" y="956748"/>
            <a:ext cx="33520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3600" b="1" dirty="0" smtClean="0">
                <a:cs typeface="Arial" pitchFamily="34" charset="0"/>
              </a:rPr>
              <a:t> Perspectives </a:t>
            </a:r>
            <a:endParaRPr lang="fr-FR" sz="1400" b="1" dirty="0"/>
          </a:p>
        </p:txBody>
      </p:sp>
      <p:sp>
        <p:nvSpPr>
          <p:cNvPr id="14" name="Ellipse 13"/>
          <p:cNvSpPr/>
          <p:nvPr/>
        </p:nvSpPr>
        <p:spPr>
          <a:xfrm rot="20620671">
            <a:off x="8439645" y="143646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289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ChangeArrowheads="1"/>
          </p:cNvSpPr>
          <p:nvPr/>
        </p:nvSpPr>
        <p:spPr bwMode="auto">
          <a:xfrm>
            <a:off x="967036" y="2238822"/>
            <a:ext cx="604837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360363" eaLnBrk="0" fontAlgn="auto" hangingPunct="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fr-FR" b="1" u="sng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In </a:t>
            </a:r>
            <a:r>
              <a:rPr lang="fr-FR" b="1" u="sng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2013</a:t>
            </a:r>
            <a:r>
              <a:rPr lang="fr-FR" b="1" dirty="0" smtClean="0">
                <a:solidFill>
                  <a:prstClr val="black"/>
                </a:solidFill>
                <a:latin typeface="Cambria" pitchFamily="18" charset="0"/>
              </a:rPr>
              <a:t>:</a:t>
            </a:r>
            <a:endParaRPr lang="fr-FR" b="1" dirty="0">
              <a:solidFill>
                <a:prstClr val="black"/>
              </a:solidFill>
              <a:latin typeface="Cambria" pitchFamily="18" charset="0"/>
            </a:endParaRPr>
          </a:p>
          <a:p>
            <a:pPr lvl="1" indent="360363" eaLnBrk="0" fontAlgn="auto" hangingPunct="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fr-FR" b="1" dirty="0" smtClean="0">
                <a:solidFill>
                  <a:prstClr val="black"/>
                </a:solidFill>
                <a:latin typeface="Cambria" pitchFamily="18" charset="0"/>
              </a:rPr>
              <a:t>GDP </a:t>
            </a:r>
            <a:r>
              <a:rPr lang="fr-FR" b="1" dirty="0">
                <a:solidFill>
                  <a:prstClr val="black"/>
                </a:solidFill>
                <a:latin typeface="Cambria" pitchFamily="18" charset="0"/>
              </a:rPr>
              <a:t>per Capita: </a:t>
            </a:r>
            <a:r>
              <a:rPr lang="fr-FR" b="1" dirty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US$ 1, </a:t>
            </a:r>
            <a:r>
              <a:rPr lang="fr-FR" b="1" dirty="0" smtClean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040</a:t>
            </a:r>
            <a:endParaRPr lang="fr-FR" b="1" dirty="0">
              <a:solidFill>
                <a:prstClr val="black"/>
              </a:solidFill>
              <a:latin typeface="Cambria" pitchFamily="18" charset="0"/>
            </a:endParaRPr>
          </a:p>
          <a:p>
            <a:pPr lvl="1" indent="360363" eaLnBrk="0" fontAlgn="auto" hangingPunct="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fr-FR" b="1" dirty="0" err="1">
                <a:solidFill>
                  <a:prstClr val="black"/>
                </a:solidFill>
                <a:latin typeface="Cambria" pitchFamily="18" charset="0"/>
              </a:rPr>
              <a:t>Growth</a:t>
            </a:r>
            <a:r>
              <a:rPr lang="fr-FR" b="1" dirty="0">
                <a:solidFill>
                  <a:prstClr val="black"/>
                </a:solidFill>
                <a:latin typeface="Cambria" pitchFamily="18" charset="0"/>
              </a:rPr>
              <a:t>  Rate</a:t>
            </a:r>
            <a:r>
              <a:rPr lang="fr-FR" dirty="0">
                <a:solidFill>
                  <a:prstClr val="black"/>
                </a:solidFill>
                <a:latin typeface="Cambria" pitchFamily="18" charset="0"/>
              </a:rPr>
              <a:t>: </a:t>
            </a:r>
            <a:r>
              <a:rPr lang="fr-FR" b="1" dirty="0" smtClean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3,8 %</a:t>
            </a:r>
            <a:endParaRPr lang="fr-FR" dirty="0">
              <a:solidFill>
                <a:schemeClr val="accent2">
                  <a:lumMod val="75000"/>
                </a:schemeClr>
              </a:solidFill>
              <a:latin typeface="Cambria" pitchFamily="18" charset="0"/>
            </a:endParaRPr>
          </a:p>
        </p:txBody>
      </p:sp>
      <p:sp>
        <p:nvSpPr>
          <p:cNvPr id="6" name="Titre 3"/>
          <p:cNvSpPr txBox="1">
            <a:spLocks/>
          </p:cNvSpPr>
          <p:nvPr/>
        </p:nvSpPr>
        <p:spPr>
          <a:xfrm>
            <a:off x="1547813" y="3933825"/>
            <a:ext cx="7416800" cy="574675"/>
          </a:xfrm>
          <a:prstGeom prst="rect">
            <a:avLst/>
          </a:prstGeom>
        </p:spPr>
        <p:txBody>
          <a:bodyPr/>
          <a:lstStyle/>
          <a:p>
            <a:pPr algn="r" fontAlgn="auto">
              <a:spcAft>
                <a:spcPts val="0"/>
              </a:spcAft>
              <a:defRPr/>
            </a:pPr>
            <a:r>
              <a:rPr lang="en-US" sz="3400" b="1" dirty="0" smtClean="0">
                <a:solidFill>
                  <a:srgbClr val="C00000"/>
                </a:solidFill>
                <a:latin typeface="Cambria" pitchFamily="18" charset="0"/>
                <a:ea typeface="+mj-ea"/>
                <a:cs typeface="+mj-cs"/>
              </a:rPr>
              <a:t>Competitive </a:t>
            </a:r>
            <a:r>
              <a:rPr lang="en-US" sz="3400" b="1" dirty="0">
                <a:solidFill>
                  <a:srgbClr val="C00000"/>
                </a:solidFill>
                <a:latin typeface="Cambria" pitchFamily="18" charset="0"/>
                <a:ea typeface="+mj-ea"/>
                <a:cs typeface="+mj-cs"/>
              </a:rPr>
              <a:t>Country</a:t>
            </a:r>
            <a:endParaRPr lang="en-US" sz="3400" b="1" i="1" dirty="0">
              <a:solidFill>
                <a:srgbClr val="C00000"/>
              </a:solidFill>
              <a:latin typeface="Cambria" pitchFamily="18" charset="0"/>
              <a:ea typeface="+mj-ea"/>
              <a:cs typeface="+mj-cs"/>
            </a:endParaRP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4391025" y="4508500"/>
            <a:ext cx="4752975" cy="226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360363" eaLnBrk="0" fontAlgn="auto" hangingPunct="0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b="1" u="sng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Senegal within WAEMU  </a:t>
            </a:r>
            <a:r>
              <a:rPr lang="en-US" b="1" u="sng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:</a:t>
            </a:r>
            <a:endParaRPr lang="en-US" b="1" u="sng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itchFamily="18" charset="0"/>
            </a:endParaRPr>
          </a:p>
          <a:p>
            <a:pPr marL="800100" lvl="1" indent="-342900" eaLnBrk="0" hangingPunct="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2</a:t>
            </a:r>
            <a:r>
              <a:rPr lang="en-US" sz="2000" baseline="30000" dirty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nd</a:t>
            </a:r>
            <a:r>
              <a:rPr lang="en-US" dirty="0">
                <a:latin typeface="Cambria" pitchFamily="18" charset="0"/>
              </a:rPr>
              <a:t> GDP</a:t>
            </a:r>
          </a:p>
          <a:p>
            <a:pPr marL="800100" lvl="1" indent="-342900" eaLnBrk="0" hangingPunct="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4</a:t>
            </a:r>
            <a:r>
              <a:rPr lang="en-US" sz="2000" baseline="30000" dirty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th</a:t>
            </a:r>
            <a:r>
              <a:rPr lang="en-US" b="1" dirty="0">
                <a:latin typeface="Cambria" pitchFamily="18" charset="0"/>
              </a:rPr>
              <a:t> </a:t>
            </a:r>
            <a:r>
              <a:rPr lang="en-US" dirty="0">
                <a:latin typeface="Cambria" pitchFamily="18" charset="0"/>
              </a:rPr>
              <a:t>growth rate</a:t>
            </a:r>
          </a:p>
          <a:p>
            <a:pPr marL="800100" lvl="1" indent="-342900" eaLnBrk="0" hangingPunct="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Lowest </a:t>
            </a:r>
            <a:r>
              <a:rPr lang="en-US" dirty="0">
                <a:latin typeface="Cambria" pitchFamily="18" charset="0"/>
              </a:rPr>
              <a:t>inflation </a:t>
            </a:r>
            <a:r>
              <a:rPr lang="en-US" dirty="0" smtClean="0">
                <a:latin typeface="Cambria" pitchFamily="18" charset="0"/>
              </a:rPr>
              <a:t>rate (1,4%)</a:t>
            </a:r>
            <a:endParaRPr lang="en-US" dirty="0">
              <a:latin typeface="Cambria" pitchFamily="18" charset="0"/>
            </a:endParaRPr>
          </a:p>
          <a:p>
            <a:pPr marL="800100" lvl="1" indent="-342900" eaLnBrk="0" hangingPunct="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3</a:t>
            </a:r>
            <a:r>
              <a:rPr lang="en-US" sz="2000" baseline="30000" dirty="0">
                <a:solidFill>
                  <a:schemeClr val="accent2">
                    <a:lumMod val="75000"/>
                  </a:schemeClr>
                </a:solidFill>
                <a:latin typeface="Cambria" pitchFamily="18" charset="0"/>
              </a:rPr>
              <a:t>rd</a:t>
            </a: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Cambria" pitchFamily="18" charset="0"/>
              </a:rPr>
              <a:t> </a:t>
            </a:r>
            <a:r>
              <a:rPr lang="en-US" dirty="0">
                <a:latin typeface="Cambria" pitchFamily="18" charset="0"/>
              </a:rPr>
              <a:t> FDI recipient</a:t>
            </a:r>
          </a:p>
          <a:p>
            <a:pPr marL="355600" lvl="2" indent="-71438" eaLnBrk="0" hangingPunct="0">
              <a:spcBef>
                <a:spcPts val="600"/>
              </a:spcBef>
              <a:buClr>
                <a:srgbClr val="C87528"/>
              </a:buClr>
              <a:defRPr/>
            </a:pPr>
            <a:endParaRPr lang="en-US" dirty="0"/>
          </a:p>
        </p:txBody>
      </p:sp>
      <p:pic>
        <p:nvPicPr>
          <p:cNvPr id="69634" name="Picture 2" descr="http://www.bceao.int/IMG/image/agences/daka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03924" y="1412875"/>
            <a:ext cx="2212876" cy="23308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3" name="Groupe 9"/>
          <p:cNvGrpSpPr/>
          <p:nvPr/>
        </p:nvGrpSpPr>
        <p:grpSpPr>
          <a:xfrm>
            <a:off x="1204913" y="4184649"/>
            <a:ext cx="2843212" cy="2171493"/>
            <a:chOff x="1204913" y="4451349"/>
            <a:chExt cx="2843212" cy="2171493"/>
          </a:xfrm>
        </p:grpSpPr>
        <p:pic>
          <p:nvPicPr>
            <p:cNvPr id="69636" name="Picture 4" descr="http://www.zum.de/whkmla/histatlas/westafrica/waemu1997senegal.gif"/>
            <p:cNvPicPr>
              <a:picLocks noChangeAspect="1" noChangeArrowheads="1"/>
            </p:cNvPicPr>
            <p:nvPr/>
          </p:nvPicPr>
          <p:blipFill>
            <a:blip r:embed="rId4" cstate="print"/>
            <a:srcRect l="10622" t="12094" r="8568" b="12389"/>
            <a:stretch>
              <a:fillRect/>
            </a:stretch>
          </p:blipFill>
          <p:spPr bwMode="auto">
            <a:xfrm>
              <a:off x="1204913" y="4508499"/>
              <a:ext cx="2843212" cy="2114343"/>
            </a:xfrm>
            <a:prstGeom prst="rect">
              <a:avLst/>
            </a:prstGeom>
            <a:noFill/>
          </p:spPr>
        </p:pic>
        <p:sp>
          <p:nvSpPr>
            <p:cNvPr id="9" name="Rectangle 8"/>
            <p:cNvSpPr/>
            <p:nvPr/>
          </p:nvSpPr>
          <p:spPr>
            <a:xfrm>
              <a:off x="2438400" y="4451349"/>
              <a:ext cx="1028700" cy="2349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1" name="Rectangle 10"/>
          <p:cNvSpPr/>
          <p:nvPr/>
        </p:nvSpPr>
        <p:spPr>
          <a:xfrm>
            <a:off x="722922" y="0"/>
            <a:ext cx="857738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Dynamic</a:t>
            </a:r>
            <a:r>
              <a:rPr lang="fr-FR" sz="44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Economy</a:t>
            </a:r>
            <a:endParaRPr lang="fr-FR" sz="4400" b="1" dirty="0" smtClean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22922" y="897687"/>
            <a:ext cx="8421078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 rot="20620671">
            <a:off x="8439645" y="143646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450526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696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2535238" y="5715000"/>
            <a:ext cx="5032375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pt-BR">
              <a:solidFill>
                <a:srgbClr val="FF0000"/>
              </a:solidFill>
              <a:latin typeface="Verdana" pitchFamily="34" charset="0"/>
            </a:endParaRPr>
          </a:p>
        </p:txBody>
      </p:sp>
      <p:sp>
        <p:nvSpPr>
          <p:cNvPr id="4101" name="Freeform 51"/>
          <p:cNvSpPr>
            <a:spLocks/>
          </p:cNvSpPr>
          <p:nvPr/>
        </p:nvSpPr>
        <p:spPr bwMode="auto">
          <a:xfrm>
            <a:off x="1562100" y="6070600"/>
            <a:ext cx="19050" cy="38100"/>
          </a:xfrm>
          <a:custGeom>
            <a:avLst/>
            <a:gdLst>
              <a:gd name="T0" fmla="*/ 0 w 14"/>
              <a:gd name="T1" fmla="*/ 2147483647 h 26"/>
              <a:gd name="T2" fmla="*/ 2147483647 w 14"/>
              <a:gd name="T3" fmla="*/ 0 h 26"/>
              <a:gd name="T4" fmla="*/ 2147483647 w 14"/>
              <a:gd name="T5" fmla="*/ 2147483647 h 26"/>
              <a:gd name="T6" fmla="*/ 0 w 14"/>
              <a:gd name="T7" fmla="*/ 2147483647 h 26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26"/>
              <a:gd name="T14" fmla="*/ 14 w 14"/>
              <a:gd name="T15" fmla="*/ 26 h 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26">
                <a:moveTo>
                  <a:pt x="0" y="13"/>
                </a:moveTo>
                <a:lnTo>
                  <a:pt x="7" y="0"/>
                </a:lnTo>
                <a:lnTo>
                  <a:pt x="13" y="25"/>
                </a:lnTo>
                <a:lnTo>
                  <a:pt x="0" y="13"/>
                </a:lnTo>
              </a:path>
            </a:pathLst>
          </a:custGeom>
          <a:solidFill>
            <a:srgbClr val="0000FF"/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102" name="Freeform 55"/>
          <p:cNvSpPr>
            <a:spLocks/>
          </p:cNvSpPr>
          <p:nvPr/>
        </p:nvSpPr>
        <p:spPr bwMode="auto">
          <a:xfrm>
            <a:off x="1638300" y="6230938"/>
            <a:ext cx="23813" cy="11112"/>
          </a:xfrm>
          <a:custGeom>
            <a:avLst/>
            <a:gdLst>
              <a:gd name="T0" fmla="*/ 0 w 17"/>
              <a:gd name="T1" fmla="*/ 2147483647 h 8"/>
              <a:gd name="T2" fmla="*/ 2147483647 w 17"/>
              <a:gd name="T3" fmla="*/ 0 h 8"/>
              <a:gd name="T4" fmla="*/ 2147483647 w 17"/>
              <a:gd name="T5" fmla="*/ 2147483647 h 8"/>
              <a:gd name="T6" fmla="*/ 0 w 17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8"/>
              <a:gd name="T14" fmla="*/ 17 w 17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8">
                <a:moveTo>
                  <a:pt x="0" y="4"/>
                </a:moveTo>
                <a:lnTo>
                  <a:pt x="5" y="0"/>
                </a:lnTo>
                <a:lnTo>
                  <a:pt x="16" y="7"/>
                </a:lnTo>
                <a:lnTo>
                  <a:pt x="0" y="4"/>
                </a:lnTo>
              </a:path>
            </a:pathLst>
          </a:custGeom>
          <a:solidFill>
            <a:srgbClr val="0000FF"/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103" name="Freeform 78"/>
          <p:cNvSpPr>
            <a:spLocks/>
          </p:cNvSpPr>
          <p:nvPr/>
        </p:nvSpPr>
        <p:spPr bwMode="auto">
          <a:xfrm>
            <a:off x="1893888" y="6149975"/>
            <a:ext cx="36512" cy="23813"/>
          </a:xfrm>
          <a:custGeom>
            <a:avLst/>
            <a:gdLst>
              <a:gd name="T0" fmla="*/ 0 w 26"/>
              <a:gd name="T1" fmla="*/ 2147483647 h 16"/>
              <a:gd name="T2" fmla="*/ 2147483647 w 26"/>
              <a:gd name="T3" fmla="*/ 2147483647 h 16"/>
              <a:gd name="T4" fmla="*/ 2147483647 w 26"/>
              <a:gd name="T5" fmla="*/ 0 h 16"/>
              <a:gd name="T6" fmla="*/ 2147483647 w 26"/>
              <a:gd name="T7" fmla="*/ 2147483647 h 16"/>
              <a:gd name="T8" fmla="*/ 0 w 26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6"/>
              <a:gd name="T17" fmla="*/ 26 w 26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6">
                <a:moveTo>
                  <a:pt x="0" y="15"/>
                </a:moveTo>
                <a:lnTo>
                  <a:pt x="15" y="8"/>
                </a:lnTo>
                <a:lnTo>
                  <a:pt x="7" y="0"/>
                </a:lnTo>
                <a:lnTo>
                  <a:pt x="25" y="3"/>
                </a:lnTo>
                <a:lnTo>
                  <a:pt x="0" y="15"/>
                </a:lnTo>
              </a:path>
            </a:pathLst>
          </a:custGeom>
          <a:solidFill>
            <a:srgbClr val="0000FF"/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104" name="Freeform 80"/>
          <p:cNvSpPr>
            <a:spLocks/>
          </p:cNvSpPr>
          <p:nvPr/>
        </p:nvSpPr>
        <p:spPr bwMode="auto">
          <a:xfrm>
            <a:off x="7404100" y="5254625"/>
            <a:ext cx="28575" cy="22225"/>
          </a:xfrm>
          <a:custGeom>
            <a:avLst/>
            <a:gdLst>
              <a:gd name="T0" fmla="*/ 0 w 21"/>
              <a:gd name="T1" fmla="*/ 2147483647 h 15"/>
              <a:gd name="T2" fmla="*/ 2147483647 w 21"/>
              <a:gd name="T3" fmla="*/ 0 h 15"/>
              <a:gd name="T4" fmla="*/ 2147483647 w 21"/>
              <a:gd name="T5" fmla="*/ 2147483647 h 15"/>
              <a:gd name="T6" fmla="*/ 0 w 21"/>
              <a:gd name="T7" fmla="*/ 2147483647 h 15"/>
              <a:gd name="T8" fmla="*/ 0 60000 65536"/>
              <a:gd name="T9" fmla="*/ 0 60000 65536"/>
              <a:gd name="T10" fmla="*/ 0 60000 65536"/>
              <a:gd name="T11" fmla="*/ 0 60000 65536"/>
              <a:gd name="T12" fmla="*/ 0 w 21"/>
              <a:gd name="T13" fmla="*/ 0 h 15"/>
              <a:gd name="T14" fmla="*/ 21 w 21"/>
              <a:gd name="T15" fmla="*/ 15 h 1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" h="15">
                <a:moveTo>
                  <a:pt x="0" y="14"/>
                </a:moveTo>
                <a:lnTo>
                  <a:pt x="11" y="0"/>
                </a:lnTo>
                <a:lnTo>
                  <a:pt x="20" y="14"/>
                </a:lnTo>
                <a:lnTo>
                  <a:pt x="0" y="14"/>
                </a:lnTo>
              </a:path>
            </a:pathLst>
          </a:custGeom>
          <a:solidFill>
            <a:srgbClr val="0000FF"/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111" name="Freeform 225"/>
          <p:cNvSpPr>
            <a:spLocks/>
          </p:cNvSpPr>
          <p:nvPr/>
        </p:nvSpPr>
        <p:spPr bwMode="auto">
          <a:xfrm>
            <a:off x="7651750" y="3149600"/>
            <a:ext cx="69850" cy="23813"/>
          </a:xfrm>
          <a:custGeom>
            <a:avLst/>
            <a:gdLst>
              <a:gd name="T0" fmla="*/ 0 w 51"/>
              <a:gd name="T1" fmla="*/ 2147483647 h 16"/>
              <a:gd name="T2" fmla="*/ 2147483647 w 51"/>
              <a:gd name="T3" fmla="*/ 0 h 16"/>
              <a:gd name="T4" fmla="*/ 2147483647 w 51"/>
              <a:gd name="T5" fmla="*/ 2147483647 h 16"/>
              <a:gd name="T6" fmla="*/ 2147483647 w 51"/>
              <a:gd name="T7" fmla="*/ 2147483647 h 16"/>
              <a:gd name="T8" fmla="*/ 0 w 51"/>
              <a:gd name="T9" fmla="*/ 2147483647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"/>
              <a:gd name="T16" fmla="*/ 0 h 16"/>
              <a:gd name="T17" fmla="*/ 51 w 51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" h="16">
                <a:moveTo>
                  <a:pt x="0" y="3"/>
                </a:moveTo>
                <a:lnTo>
                  <a:pt x="30" y="0"/>
                </a:lnTo>
                <a:lnTo>
                  <a:pt x="50" y="8"/>
                </a:lnTo>
                <a:lnTo>
                  <a:pt x="39" y="15"/>
                </a:lnTo>
                <a:lnTo>
                  <a:pt x="0" y="3"/>
                </a:lnTo>
              </a:path>
            </a:pathLst>
          </a:custGeom>
          <a:solidFill>
            <a:srgbClr val="0000FF"/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4112" name="Text Box 249"/>
          <p:cNvSpPr txBox="1">
            <a:spLocks noChangeArrowheads="1"/>
          </p:cNvSpPr>
          <p:nvPr/>
        </p:nvSpPr>
        <p:spPr bwMode="auto">
          <a:xfrm>
            <a:off x="250825" y="1268413"/>
            <a:ext cx="83534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pt-BR">
              <a:solidFill>
                <a:srgbClr val="C00000"/>
              </a:solidFill>
            </a:endParaRPr>
          </a:p>
        </p:txBody>
      </p:sp>
      <p:sp>
        <p:nvSpPr>
          <p:cNvPr id="24" name="Rectangle 248"/>
          <p:cNvSpPr>
            <a:spLocks noChangeArrowheads="1"/>
          </p:cNvSpPr>
          <p:nvPr/>
        </p:nvSpPr>
        <p:spPr bwMode="auto">
          <a:xfrm>
            <a:off x="109538" y="2266951"/>
            <a:ext cx="4932363" cy="39639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marL="266700" indent="-266700" eaLnBrk="0" hangingPunct="0">
              <a:spcAft>
                <a:spcPts val="600"/>
              </a:spcAft>
              <a:buClr>
                <a:srgbClr val="FF6600"/>
              </a:buClr>
              <a:buFont typeface="Wingdings" pitchFamily="2" charset="2"/>
              <a:buChar char="§"/>
            </a:pPr>
            <a:r>
              <a:rPr lang="en-US" sz="2200" dirty="0">
                <a:latin typeface="Cambria" pitchFamily="18" charset="0"/>
              </a:rPr>
              <a:t>Located at the western tip of Africa </a:t>
            </a:r>
          </a:p>
          <a:p>
            <a:pPr marL="723900" lvl="1" indent="-266700" eaLnBrk="0" hangingPunct="0">
              <a:spcAft>
                <a:spcPts val="600"/>
              </a:spcAft>
              <a:buClr>
                <a:srgbClr val="FF6600"/>
              </a:buClr>
              <a:buFont typeface="Arial" charset="0"/>
              <a:buChar char="•"/>
            </a:pPr>
            <a:r>
              <a:rPr lang="en-US" sz="2200" dirty="0">
                <a:solidFill>
                  <a:srgbClr val="002060"/>
                </a:solidFill>
                <a:latin typeface="Cambria" pitchFamily="18" charset="0"/>
              </a:rPr>
              <a:t>2</a:t>
            </a:r>
            <a:r>
              <a:rPr lang="en-US" sz="2200" dirty="0" smtClean="0">
                <a:solidFill>
                  <a:srgbClr val="002060"/>
                </a:solidFill>
                <a:latin typeface="Cambria" pitchFamily="18" charset="0"/>
              </a:rPr>
              <a:t>, 616 </a:t>
            </a:r>
            <a:r>
              <a:rPr lang="en-US" sz="2200" dirty="0">
                <a:solidFill>
                  <a:srgbClr val="002060"/>
                </a:solidFill>
                <a:latin typeface="Cambria" pitchFamily="18" charset="0"/>
              </a:rPr>
              <a:t>mi </a:t>
            </a:r>
            <a:r>
              <a:rPr lang="en-US" sz="2200" dirty="0">
                <a:latin typeface="Cambria" pitchFamily="18" charset="0"/>
              </a:rPr>
              <a:t>from </a:t>
            </a:r>
            <a:r>
              <a:rPr lang="en-US" sz="2200" b="1" dirty="0" smtClean="0">
                <a:latin typeface="Cambria" pitchFamily="18" charset="0"/>
              </a:rPr>
              <a:t>Paris</a:t>
            </a:r>
            <a:endParaRPr lang="en-US" sz="2200" b="1" dirty="0">
              <a:latin typeface="Cambria" pitchFamily="18" charset="0"/>
            </a:endParaRPr>
          </a:p>
          <a:p>
            <a:pPr marL="723900" lvl="1" indent="-266700" eaLnBrk="0" hangingPunct="0">
              <a:spcAft>
                <a:spcPts val="600"/>
              </a:spcAft>
              <a:buClr>
                <a:srgbClr val="FF6600"/>
              </a:buClr>
              <a:buFont typeface="Arial" charset="0"/>
              <a:buChar char="•"/>
            </a:pPr>
            <a:r>
              <a:rPr lang="fr-FR" sz="2200" dirty="0" smtClean="0">
                <a:solidFill>
                  <a:srgbClr val="002060"/>
                </a:solidFill>
                <a:latin typeface="Cambria" pitchFamily="18" charset="0"/>
              </a:rPr>
              <a:t>4,102 mi </a:t>
            </a:r>
            <a:r>
              <a:rPr lang="fr-FR" sz="2200" dirty="0" err="1">
                <a:latin typeface="Cambria" pitchFamily="18" charset="0"/>
              </a:rPr>
              <a:t>from</a:t>
            </a:r>
            <a:r>
              <a:rPr lang="fr-FR" sz="2200" dirty="0">
                <a:latin typeface="Cambria" pitchFamily="18" charset="0"/>
              </a:rPr>
              <a:t> </a:t>
            </a:r>
            <a:r>
              <a:rPr lang="fr-FR" sz="2200" b="1" dirty="0" smtClean="0">
                <a:latin typeface="Cambria" pitchFamily="18" charset="0"/>
              </a:rPr>
              <a:t>Miami</a:t>
            </a:r>
            <a:endParaRPr lang="en-US" sz="2200" b="1" dirty="0">
              <a:latin typeface="Cambria" pitchFamily="18" charset="0"/>
            </a:endParaRPr>
          </a:p>
          <a:p>
            <a:pPr marL="723900" lvl="1" indent="-266700" eaLnBrk="0" hangingPunct="0">
              <a:spcAft>
                <a:spcPts val="600"/>
              </a:spcAft>
              <a:buClr>
                <a:srgbClr val="FF6600"/>
              </a:buClr>
              <a:buFont typeface="Arial" charset="0"/>
              <a:buChar char="•"/>
            </a:pPr>
            <a:r>
              <a:rPr lang="en-US" sz="2200" dirty="0">
                <a:solidFill>
                  <a:srgbClr val="002060"/>
                </a:solidFill>
                <a:latin typeface="Cambria" pitchFamily="18" charset="0"/>
              </a:rPr>
              <a:t>3, 300 mi </a:t>
            </a:r>
            <a:r>
              <a:rPr lang="en-US" sz="2200" dirty="0">
                <a:latin typeface="Cambria" pitchFamily="18" charset="0"/>
              </a:rPr>
              <a:t>from </a:t>
            </a:r>
            <a:r>
              <a:rPr lang="en-US" sz="2200" b="1" dirty="0">
                <a:latin typeface="Cambria" pitchFamily="18" charset="0"/>
              </a:rPr>
              <a:t>Sao Paulo</a:t>
            </a:r>
          </a:p>
          <a:p>
            <a:pPr marL="723900" lvl="1" indent="-266700" eaLnBrk="0" hangingPunct="0">
              <a:spcAft>
                <a:spcPts val="600"/>
              </a:spcAft>
              <a:buClr>
                <a:srgbClr val="FF6600"/>
              </a:buClr>
              <a:buFont typeface="Arial" charset="0"/>
              <a:buChar char="•"/>
            </a:pPr>
            <a:r>
              <a:rPr lang="fr-FR" sz="2200" dirty="0">
                <a:solidFill>
                  <a:srgbClr val="002060"/>
                </a:solidFill>
                <a:latin typeface="Cambria" pitchFamily="18" charset="0"/>
              </a:rPr>
              <a:t>4, 162 mi</a:t>
            </a:r>
            <a:r>
              <a:rPr lang="fr-FR" sz="2200" b="1" dirty="0">
                <a:latin typeface="Cambria" pitchFamily="18" charset="0"/>
              </a:rPr>
              <a:t>  </a:t>
            </a:r>
            <a:r>
              <a:rPr lang="fr-FR" sz="2200" dirty="0" err="1">
                <a:latin typeface="Cambria" pitchFamily="18" charset="0"/>
              </a:rPr>
              <a:t>from</a:t>
            </a:r>
            <a:r>
              <a:rPr lang="fr-FR" sz="2200" dirty="0">
                <a:latin typeface="Cambria" pitchFamily="18" charset="0"/>
              </a:rPr>
              <a:t>  </a:t>
            </a:r>
            <a:r>
              <a:rPr lang="fr-FR" sz="2200" b="1" dirty="0">
                <a:latin typeface="Cambria" pitchFamily="18" charset="0"/>
              </a:rPr>
              <a:t>Johannesburg</a:t>
            </a:r>
          </a:p>
          <a:p>
            <a:pPr marL="723900" lvl="1" indent="-266700" eaLnBrk="0" hangingPunct="0">
              <a:spcAft>
                <a:spcPts val="600"/>
              </a:spcAft>
              <a:buClr>
                <a:srgbClr val="FF6600"/>
              </a:buClr>
            </a:pPr>
            <a:endParaRPr lang="en-US" sz="2200" dirty="0">
              <a:latin typeface="Cambria" pitchFamily="18" charset="0"/>
            </a:endParaRPr>
          </a:p>
          <a:p>
            <a:pPr marL="266700" indent="-266700" eaLnBrk="0" hangingPunct="0">
              <a:spcAft>
                <a:spcPts val="600"/>
              </a:spcAft>
              <a:buClr>
                <a:srgbClr val="FF6600"/>
              </a:buClr>
              <a:buFont typeface="Wingdings" pitchFamily="2" charset="2"/>
              <a:buChar char="§"/>
            </a:pPr>
            <a:r>
              <a:rPr lang="en-US" sz="2200" dirty="0">
                <a:latin typeface="Cambria" pitchFamily="18" charset="0"/>
              </a:rPr>
              <a:t> GMT time zone (+0:00)</a:t>
            </a: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224" t="11438" r="24439" b="16223"/>
          <a:stretch>
            <a:fillRect/>
          </a:stretch>
        </p:blipFill>
        <p:spPr bwMode="auto">
          <a:xfrm>
            <a:off x="5292080" y="2348880"/>
            <a:ext cx="3731807" cy="2252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/>
        </p:nvSpPr>
        <p:spPr>
          <a:xfrm>
            <a:off x="722922" y="0"/>
            <a:ext cx="857738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Strategic</a:t>
            </a:r>
            <a:r>
              <a:rPr lang="fr-FR" sz="44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Geographical</a:t>
            </a:r>
            <a:r>
              <a:rPr lang="fr-FR" sz="4400" b="1" dirty="0" smtClean="0">
                <a:solidFill>
                  <a:srgbClr val="FF0000"/>
                </a:solidFill>
                <a:cs typeface="Arial" pitchFamily="34" charset="0"/>
              </a:rPr>
              <a:t> Loca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22922" y="897687"/>
            <a:ext cx="8421078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 rot="20620671">
            <a:off x="8439645" y="143646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595793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12738" y="1338263"/>
            <a:ext cx="4114800" cy="1370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7" name="Ellipse 6"/>
          <p:cNvSpPr/>
          <p:nvPr/>
        </p:nvSpPr>
        <p:spPr>
          <a:xfrm rot="20620671">
            <a:off x="8439645" y="143646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-4259262" y="5226"/>
            <a:ext cx="9144000" cy="8854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fr-FR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endParaRPr kumimoji="0" lang="fr-FR" sz="4000" b="0" i="0" u="none" strike="noStrike" kern="1200" cap="none" spc="0" normalizeH="0" baseline="0" noProof="0" dirty="0">
              <a:ln>
                <a:noFill/>
              </a:ln>
              <a:solidFill>
                <a:srgbClr val="8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22922" y="0"/>
            <a:ext cx="85773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Why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Investing</a:t>
            </a:r>
            <a:r>
              <a:rPr lang="fr-FR" sz="4000" b="1" dirty="0" smtClean="0">
                <a:solidFill>
                  <a:srgbClr val="FF0000"/>
                </a:solidFill>
                <a:cs typeface="Arial" pitchFamily="34" charset="0"/>
              </a:rPr>
              <a:t> in </a:t>
            </a:r>
            <a:r>
              <a:rPr lang="fr-FR" sz="4000" b="1" dirty="0" err="1" smtClean="0">
                <a:solidFill>
                  <a:srgbClr val="FF0000"/>
                </a:solidFill>
                <a:cs typeface="Arial" pitchFamily="34" charset="0"/>
              </a:rPr>
              <a:t>Senegal</a:t>
            </a:r>
            <a:endParaRPr lang="fr-FR" sz="4000" b="1" dirty="0" smtClean="0">
              <a:solidFill>
                <a:srgbClr val="AB0000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49095" y="914987"/>
            <a:ext cx="83256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800" i="1" dirty="0" err="1" smtClean="0">
                <a:solidFill>
                  <a:prstClr val="black"/>
                </a:solidFill>
                <a:cs typeface="Arial" charset="0"/>
              </a:rPr>
              <a:t>Political</a:t>
            </a:r>
            <a:r>
              <a:rPr lang="fr-FR" sz="2800" i="1" dirty="0" smtClean="0">
                <a:solidFill>
                  <a:prstClr val="black"/>
                </a:solidFill>
                <a:cs typeface="Arial" charset="0"/>
              </a:rPr>
              <a:t> </a:t>
            </a:r>
            <a:r>
              <a:rPr lang="fr-FR" sz="2800" i="1" dirty="0" err="1" smtClean="0">
                <a:solidFill>
                  <a:prstClr val="black"/>
                </a:solidFill>
                <a:cs typeface="Arial" charset="0"/>
              </a:rPr>
              <a:t>Stability</a:t>
            </a:r>
            <a:r>
              <a:rPr lang="fr-FR" sz="2800" i="1" dirty="0" smtClean="0">
                <a:solidFill>
                  <a:prstClr val="black"/>
                </a:solidFill>
                <a:cs typeface="Arial" charset="0"/>
              </a:rPr>
              <a:t> &amp; </a:t>
            </a:r>
            <a:r>
              <a:rPr lang="fr-FR" sz="2800" i="1" dirty="0" err="1" smtClean="0">
                <a:solidFill>
                  <a:prstClr val="black"/>
                </a:solidFill>
                <a:cs typeface="Arial" charset="0"/>
              </a:rPr>
              <a:t>Strong</a:t>
            </a:r>
            <a:r>
              <a:rPr lang="fr-FR" sz="2800" i="1" dirty="0" smtClean="0">
                <a:solidFill>
                  <a:prstClr val="black"/>
                </a:solidFill>
                <a:cs typeface="Arial" charset="0"/>
              </a:rPr>
              <a:t> </a:t>
            </a:r>
            <a:r>
              <a:rPr lang="fr-FR" sz="2800" i="1" dirty="0" err="1" smtClean="0">
                <a:solidFill>
                  <a:prstClr val="black"/>
                </a:solidFill>
                <a:cs typeface="Arial" charset="0"/>
              </a:rPr>
              <a:t>governance</a:t>
            </a:r>
            <a:r>
              <a:rPr lang="fr-FR" sz="2800" i="1" dirty="0" smtClean="0">
                <a:solidFill>
                  <a:prstClr val="black"/>
                </a:solidFill>
                <a:cs typeface="Arial" charset="0"/>
              </a:rPr>
              <a:t> System</a:t>
            </a:r>
            <a:endParaRPr lang="fr-FR" sz="1100" b="1" dirty="0"/>
          </a:p>
        </p:txBody>
      </p:sp>
      <p:sp>
        <p:nvSpPr>
          <p:cNvPr id="12" name="Rectangle 11"/>
          <p:cNvSpPr/>
          <p:nvPr/>
        </p:nvSpPr>
        <p:spPr>
          <a:xfrm>
            <a:off x="722922" y="780459"/>
            <a:ext cx="6036653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8485" y="1627188"/>
            <a:ext cx="8414690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545820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236482" y="1951025"/>
            <a:ext cx="517109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fr-FR" sz="2400" b="1" dirty="0" smtClean="0">
                <a:solidFill>
                  <a:srgbClr val="AB0000"/>
                </a:solidFill>
              </a:rPr>
              <a:t>700 km </a:t>
            </a:r>
            <a:r>
              <a:rPr lang="fr-FR" sz="2400" dirty="0" smtClean="0"/>
              <a:t>of  </a:t>
            </a:r>
            <a:r>
              <a:rPr lang="fr-FR" sz="2400" dirty="0" err="1" smtClean="0"/>
              <a:t>waterfront</a:t>
            </a:r>
            <a:endParaRPr lang="fr-FR" sz="2400" dirty="0" smtClean="0"/>
          </a:p>
          <a:p>
            <a:pPr marL="285750" indent="-285750">
              <a:buFont typeface="Arial"/>
              <a:buChar char="•"/>
            </a:pPr>
            <a:r>
              <a:rPr lang="fr-FR" sz="2400" b="1" dirty="0" smtClean="0">
                <a:solidFill>
                  <a:srgbClr val="AB0000"/>
                </a:solidFill>
              </a:rPr>
              <a:t>500 km </a:t>
            </a:r>
            <a:r>
              <a:rPr lang="fr-FR" sz="2400" dirty="0" smtClean="0">
                <a:solidFill>
                  <a:srgbClr val="000000"/>
                </a:solidFill>
              </a:rPr>
              <a:t>of</a:t>
            </a:r>
            <a:r>
              <a:rPr lang="fr-FR" sz="2400" b="1" dirty="0" smtClean="0">
                <a:solidFill>
                  <a:srgbClr val="AB0000"/>
                </a:solidFill>
              </a:rPr>
              <a:t> </a:t>
            </a:r>
            <a:r>
              <a:rPr lang="fr-FR" sz="2400" dirty="0" err="1" smtClean="0"/>
              <a:t>sandy</a:t>
            </a:r>
            <a:r>
              <a:rPr lang="fr-FR" sz="2400" dirty="0" smtClean="0"/>
              <a:t> </a:t>
            </a:r>
            <a:r>
              <a:rPr lang="fr-FR" sz="2400" dirty="0" err="1" smtClean="0"/>
              <a:t>beaches</a:t>
            </a:r>
            <a:endParaRPr lang="fr-FR" sz="2400" dirty="0" smtClean="0"/>
          </a:p>
          <a:p>
            <a:endParaRPr lang="fr-FR" sz="2400" dirty="0" smtClean="0"/>
          </a:p>
          <a:p>
            <a:pPr marL="285750" indent="-285750">
              <a:buFont typeface="Arial"/>
              <a:buChar char="•"/>
            </a:pPr>
            <a:r>
              <a:rPr lang="fr-FR" sz="2400" b="1" dirty="0" smtClean="0">
                <a:solidFill>
                  <a:srgbClr val="AB0000"/>
                </a:solidFill>
              </a:rPr>
              <a:t>3000 </a:t>
            </a:r>
            <a:r>
              <a:rPr lang="fr-FR" sz="2400" b="1" dirty="0" err="1" smtClean="0">
                <a:solidFill>
                  <a:srgbClr val="AB0000"/>
                </a:solidFill>
              </a:rPr>
              <a:t>hours</a:t>
            </a:r>
            <a:r>
              <a:rPr lang="fr-FR" sz="2400" b="1" dirty="0" smtClean="0">
                <a:solidFill>
                  <a:srgbClr val="AB0000"/>
                </a:solidFill>
              </a:rPr>
              <a:t>  </a:t>
            </a:r>
            <a:r>
              <a:rPr lang="fr-FR" sz="2400" dirty="0" smtClean="0"/>
              <a:t>of </a:t>
            </a:r>
            <a:r>
              <a:rPr lang="fr-FR" sz="2400" dirty="0" err="1" smtClean="0"/>
              <a:t>sunshine</a:t>
            </a:r>
            <a:r>
              <a:rPr lang="fr-FR" sz="2400" dirty="0" smtClean="0"/>
              <a:t> Medium and </a:t>
            </a:r>
            <a:r>
              <a:rPr lang="fr-FR" sz="2400" dirty="0" err="1" smtClean="0"/>
              <a:t>Mild</a:t>
            </a:r>
            <a:r>
              <a:rPr lang="fr-FR" sz="2400" dirty="0" smtClean="0"/>
              <a:t> </a:t>
            </a:r>
            <a:r>
              <a:rPr lang="fr-FR" sz="2400" dirty="0" err="1" smtClean="0"/>
              <a:t>Temperature</a:t>
            </a:r>
            <a:r>
              <a:rPr lang="fr-FR" sz="2400" dirty="0" smtClean="0"/>
              <a:t> of </a:t>
            </a:r>
            <a:r>
              <a:rPr lang="fr-FR" sz="2400" b="1" dirty="0" smtClean="0">
                <a:solidFill>
                  <a:srgbClr val="AB0000"/>
                </a:solidFill>
              </a:rPr>
              <a:t>25°</a:t>
            </a:r>
            <a:r>
              <a:rPr lang="fr-FR" sz="2400" dirty="0" smtClean="0"/>
              <a:t> </a:t>
            </a:r>
          </a:p>
          <a:p>
            <a:endParaRPr lang="fr-FR" sz="2400" dirty="0" smtClean="0"/>
          </a:p>
          <a:p>
            <a:pPr marL="285750" indent="-285750">
              <a:buFont typeface="Arial"/>
              <a:buChar char="•"/>
            </a:pPr>
            <a:r>
              <a:rPr lang="fr-FR" sz="2400" dirty="0" smtClean="0"/>
              <a:t>Micro </a:t>
            </a:r>
            <a:r>
              <a:rPr lang="fr-FR" sz="2400" dirty="0" err="1" smtClean="0"/>
              <a:t>climate</a:t>
            </a:r>
            <a:r>
              <a:rPr lang="fr-FR" sz="2400" dirty="0" smtClean="0"/>
              <a:t> in </a:t>
            </a:r>
            <a:r>
              <a:rPr lang="fr-FR" sz="2400" dirty="0" err="1" smtClean="0"/>
              <a:t>favour</a:t>
            </a:r>
            <a:r>
              <a:rPr lang="fr-FR" sz="2400" dirty="0" smtClean="0"/>
              <a:t> of  </a:t>
            </a:r>
            <a:r>
              <a:rPr lang="fr-FR" sz="2400" dirty="0" err="1" smtClean="0"/>
              <a:t>health</a:t>
            </a:r>
            <a:r>
              <a:rPr lang="fr-FR" sz="2400" dirty="0" smtClean="0"/>
              <a:t> </a:t>
            </a:r>
            <a:r>
              <a:rPr lang="fr-FR" sz="2400" b="1" dirty="0" err="1" smtClean="0">
                <a:solidFill>
                  <a:srgbClr val="AB0000"/>
                </a:solidFill>
              </a:rPr>
              <a:t>tourism</a:t>
            </a:r>
            <a:r>
              <a:rPr lang="fr-FR" sz="2400" b="1" dirty="0" smtClean="0">
                <a:solidFill>
                  <a:srgbClr val="AB0000"/>
                </a:solidFill>
              </a:rPr>
              <a:t> </a:t>
            </a:r>
            <a:r>
              <a:rPr lang="fr-FR" sz="2400" dirty="0" smtClean="0">
                <a:solidFill>
                  <a:srgbClr val="000000"/>
                </a:solidFill>
              </a:rPr>
              <a:t>and  </a:t>
            </a:r>
            <a:r>
              <a:rPr lang="fr-FR" sz="2400" b="1" dirty="0" err="1" smtClean="0">
                <a:solidFill>
                  <a:srgbClr val="AB0000"/>
                </a:solidFill>
              </a:rPr>
              <a:t>Counter</a:t>
            </a:r>
            <a:r>
              <a:rPr lang="fr-FR" sz="2400" b="1" dirty="0" smtClean="0">
                <a:solidFill>
                  <a:srgbClr val="AB0000"/>
                </a:solidFill>
              </a:rPr>
              <a:t> </a:t>
            </a:r>
            <a:r>
              <a:rPr lang="fr-FR" sz="2400" b="1" dirty="0" err="1" smtClean="0">
                <a:solidFill>
                  <a:srgbClr val="AB0000"/>
                </a:solidFill>
              </a:rPr>
              <a:t>season</a:t>
            </a:r>
            <a:r>
              <a:rPr lang="fr-FR" sz="2400" b="1" dirty="0" smtClean="0">
                <a:solidFill>
                  <a:srgbClr val="AB0000"/>
                </a:solidFill>
              </a:rPr>
              <a:t> agriculture</a:t>
            </a:r>
            <a:endParaRPr lang="fr-FR" sz="24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79" t="13663" r="13735" b="15116"/>
          <a:stretch>
            <a:fillRect/>
          </a:stretch>
        </p:blipFill>
        <p:spPr bwMode="auto">
          <a:xfrm>
            <a:off x="6192225" y="1240016"/>
            <a:ext cx="2577044" cy="1422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49" t="12654" r="12610" b="18916"/>
          <a:stretch>
            <a:fillRect/>
          </a:stretch>
        </p:blipFill>
        <p:spPr bwMode="auto">
          <a:xfrm>
            <a:off x="6114439" y="3011325"/>
            <a:ext cx="2627651" cy="1345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25" t="10701" r="12674" b="13542"/>
          <a:stretch>
            <a:fillRect/>
          </a:stretch>
        </p:blipFill>
        <p:spPr bwMode="auto">
          <a:xfrm flipH="1">
            <a:off x="6114439" y="4572000"/>
            <a:ext cx="2750885" cy="1560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722922" y="0"/>
            <a:ext cx="857738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Climate</a:t>
            </a:r>
            <a:r>
              <a:rPr lang="fr-FR" sz="4400" b="1" dirty="0" smtClean="0">
                <a:solidFill>
                  <a:srgbClr val="FF0000"/>
                </a:solidFill>
                <a:cs typeface="Arial" pitchFamily="34" charset="0"/>
              </a:rPr>
              <a:t> Condition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22922" y="897687"/>
            <a:ext cx="8421078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 rot="20620671">
            <a:off x="8439645" y="143646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891509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58" t="29117" r="34522" b="13676"/>
          <a:stretch/>
        </p:blipFill>
        <p:spPr bwMode="auto">
          <a:xfrm>
            <a:off x="4229075" y="2705503"/>
            <a:ext cx="4914925" cy="41329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0" name="Rectangle 29"/>
          <p:cNvSpPr/>
          <p:nvPr/>
        </p:nvSpPr>
        <p:spPr>
          <a:xfrm>
            <a:off x="321517" y="2471642"/>
            <a:ext cx="336681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rgbClr val="AB0000"/>
                </a:solidFill>
              </a:rPr>
              <a:t>Touristic and Sky </a:t>
            </a:r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b</a:t>
            </a:r>
            <a:endParaRPr lang="fr-FR" sz="2800" b="1" dirty="0">
              <a:solidFill>
                <a:srgbClr val="AB000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21517" y="1550281"/>
            <a:ext cx="379854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rgbClr val="AB0000"/>
                </a:solidFill>
              </a:rPr>
              <a:t>Service </a:t>
            </a:r>
            <a:r>
              <a:rPr lang="en-US" sz="2800" b="1" dirty="0" smtClean="0">
                <a:solidFill>
                  <a:srgbClr val="AB0000"/>
                </a:solidFill>
              </a:rPr>
              <a:t>and logistic </a:t>
            </a:r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b </a:t>
            </a:r>
            <a:endParaRPr lang="fr-FR" sz="2800" b="1" dirty="0">
              <a:solidFill>
                <a:srgbClr val="AB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21517" y="3503497"/>
            <a:ext cx="34506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rgbClr val="AB0000"/>
                </a:solidFill>
              </a:rPr>
              <a:t>Industrial</a:t>
            </a:r>
            <a:r>
              <a:rPr lang="en-US" sz="2800" b="1" dirty="0" smtClean="0">
                <a:solidFill>
                  <a:srgbClr val="AB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b</a:t>
            </a:r>
            <a:endParaRPr lang="fr-FR" sz="2800" b="1" dirty="0"/>
          </a:p>
        </p:txBody>
      </p:sp>
      <p:sp>
        <p:nvSpPr>
          <p:cNvPr id="9" name="Rectangle 8"/>
          <p:cNvSpPr/>
          <p:nvPr/>
        </p:nvSpPr>
        <p:spPr>
          <a:xfrm>
            <a:off x="722922" y="0"/>
            <a:ext cx="857738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Senegal</a:t>
            </a:r>
            <a:r>
              <a:rPr lang="fr-FR" sz="4400" b="1" dirty="0" smtClean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fr-FR" sz="4400" b="1" dirty="0" err="1" smtClean="0">
                <a:solidFill>
                  <a:srgbClr val="FF0000"/>
                </a:solidFill>
                <a:cs typeface="Arial" pitchFamily="34" charset="0"/>
              </a:rPr>
              <a:t>Positioning</a:t>
            </a:r>
            <a:endParaRPr lang="fr-FR" sz="4400" b="1" dirty="0" smtClean="0">
              <a:solidFill>
                <a:srgbClr val="FF0000"/>
              </a:solidFill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22922" y="897687"/>
            <a:ext cx="8421078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 rot="20620671">
            <a:off x="8439645" y="143646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62808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Box 2"/>
          <p:cNvSpPr txBox="1">
            <a:spLocks noChangeArrowheads="1"/>
          </p:cNvSpPr>
          <p:nvPr/>
        </p:nvSpPr>
        <p:spPr bwMode="auto">
          <a:xfrm>
            <a:off x="971550" y="404813"/>
            <a:ext cx="54721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fr-FR"/>
          </a:p>
        </p:txBody>
      </p:sp>
      <p:pic>
        <p:nvPicPr>
          <p:cNvPr id="24583" name="Picture 2" descr="E:\GABARIT014.tif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532" b="13287"/>
          <a:stretch>
            <a:fillRect/>
          </a:stretch>
        </p:blipFill>
        <p:spPr bwMode="auto">
          <a:xfrm>
            <a:off x="643909" y="4293096"/>
            <a:ext cx="1391169" cy="10391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5" descr="PA28037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1" y="3247453"/>
            <a:ext cx="1368152" cy="9016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098" name="Picture 2" descr="http://www.cic.si/fiberGlobe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568" y="5445224"/>
            <a:ext cx="1358188" cy="10719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Rectangle 14"/>
          <p:cNvSpPr/>
          <p:nvPr/>
        </p:nvSpPr>
        <p:spPr>
          <a:xfrm>
            <a:off x="2160239" y="5539268"/>
            <a:ext cx="65882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Cambria" pitchFamily="18" charset="0"/>
                <a:cs typeface="Arial" charset="0"/>
              </a:rPr>
              <a:t>Telecommunication :</a:t>
            </a:r>
            <a:r>
              <a:rPr lang="en-US" sz="2400" b="1" dirty="0" smtClean="0">
                <a:latin typeface="Cambria" pitchFamily="18" charset="0"/>
                <a:cs typeface="Arial" charset="0"/>
              </a:rPr>
              <a:t> </a:t>
            </a:r>
            <a:r>
              <a:rPr lang="en-US" sz="2400" dirty="0" smtClean="0">
                <a:latin typeface="Cambria" pitchFamily="18" charset="0"/>
                <a:cs typeface="Arial" charset="0"/>
              </a:rPr>
              <a:t>modern and reliable network </a:t>
            </a:r>
            <a:endParaRPr lang="fr-FR" sz="2400" dirty="0"/>
          </a:p>
        </p:txBody>
      </p:sp>
      <p:sp>
        <p:nvSpPr>
          <p:cNvPr id="16" name="Rectangle 15"/>
          <p:cNvSpPr/>
          <p:nvPr/>
        </p:nvSpPr>
        <p:spPr>
          <a:xfrm>
            <a:off x="2160239" y="4398203"/>
            <a:ext cx="67322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13" lvl="1" indent="-23813">
              <a:spcBef>
                <a:spcPct val="0"/>
              </a:spcBef>
              <a:buSzPct val="80000"/>
            </a:pPr>
            <a:r>
              <a:rPr lang="en-US" sz="2400" b="1" dirty="0" smtClean="0">
                <a:solidFill>
                  <a:srgbClr val="C00000"/>
                </a:solidFill>
                <a:latin typeface="Cambria" pitchFamily="18" charset="0"/>
                <a:cs typeface="Arial" charset="0"/>
              </a:rPr>
              <a:t>Roads &amp; Train :</a:t>
            </a:r>
            <a:r>
              <a:rPr lang="en-US" sz="2400" b="1" dirty="0" smtClean="0">
                <a:latin typeface="Cambria" pitchFamily="18" charset="0"/>
                <a:cs typeface="Arial" charset="0"/>
              </a:rPr>
              <a:t> </a:t>
            </a:r>
            <a:r>
              <a:rPr lang="en-US" sz="2400" dirty="0" smtClean="0">
                <a:latin typeface="Cambria" pitchFamily="18" charset="0"/>
                <a:cs typeface="Arial" charset="0"/>
              </a:rPr>
              <a:t>new and upgraded Infrastructur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160239" y="3460107"/>
            <a:ext cx="63184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813" lvl="1" indent="-23813">
              <a:spcBef>
                <a:spcPct val="0"/>
              </a:spcBef>
              <a:buSzPct val="80000"/>
            </a:pPr>
            <a:r>
              <a:rPr lang="en-US" sz="2400" b="1" dirty="0" smtClean="0">
                <a:solidFill>
                  <a:srgbClr val="C00000"/>
                </a:solidFill>
                <a:latin typeface="Cambria" pitchFamily="18" charset="0"/>
                <a:cs typeface="Arial" charset="0"/>
              </a:rPr>
              <a:t>Port :</a:t>
            </a:r>
            <a:r>
              <a:rPr lang="en-US" sz="2400" b="1" dirty="0" smtClean="0">
                <a:latin typeface="Cambria" pitchFamily="18" charset="0"/>
                <a:cs typeface="Arial" charset="0"/>
              </a:rPr>
              <a:t> </a:t>
            </a:r>
            <a:r>
              <a:rPr lang="en-US" sz="2400" dirty="0" smtClean="0">
                <a:latin typeface="Cambria" pitchFamily="18" charset="0"/>
                <a:cs typeface="Arial" charset="0"/>
              </a:rPr>
              <a:t>modern  and expanding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160240" y="1476014"/>
            <a:ext cx="5796136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265113">
              <a:spcBef>
                <a:spcPct val="0"/>
              </a:spcBef>
              <a:spcAft>
                <a:spcPts val="1200"/>
              </a:spcAft>
              <a:buSzPct val="80000"/>
            </a:pPr>
            <a:r>
              <a:rPr lang="en-GB" sz="2200" b="1" dirty="0" smtClean="0">
                <a:solidFill>
                  <a:srgbClr val="C00000"/>
                </a:solidFill>
                <a:latin typeface="Cambria" pitchFamily="18" charset="0"/>
                <a:cs typeface="Arial" charset="0"/>
              </a:rPr>
              <a:t>New Airport </a:t>
            </a:r>
            <a:r>
              <a:rPr lang="en-GB" sz="2200" dirty="0" smtClean="0">
                <a:latin typeface="Cambria" pitchFamily="18" charset="0"/>
                <a:cs typeface="Arial" charset="0"/>
              </a:rPr>
              <a:t>at DIASS (45 km from Dakar)  </a:t>
            </a:r>
            <a:r>
              <a:rPr lang="en-GB" sz="2200" b="1" dirty="0" smtClean="0">
                <a:latin typeface="Cambria" pitchFamily="18" charset="0"/>
                <a:cs typeface="Arial" charset="0"/>
              </a:rPr>
              <a:t>accessible via Highway and </a:t>
            </a:r>
            <a:r>
              <a:rPr lang="en-GB" sz="2400" b="1" dirty="0">
                <a:solidFill>
                  <a:srgbClr val="C00000"/>
                </a:solidFill>
                <a:latin typeface="Cambria" pitchFamily="18" charset="0"/>
                <a:cs typeface="Arial" charset="0"/>
              </a:rPr>
              <a:t>new project of express train </a:t>
            </a:r>
          </a:p>
          <a:p>
            <a:pPr marL="0" lvl="1" defTabSz="265113">
              <a:spcBef>
                <a:spcPct val="0"/>
              </a:spcBef>
              <a:spcAft>
                <a:spcPts val="1200"/>
              </a:spcAft>
              <a:buSzPct val="80000"/>
            </a:pPr>
            <a:r>
              <a:rPr lang="en-GB" sz="2200" dirty="0">
                <a:latin typeface="Cambria" pitchFamily="18" charset="0"/>
                <a:cs typeface="Arial" charset="0"/>
              </a:rPr>
              <a:t>F</a:t>
            </a:r>
            <a:r>
              <a:rPr lang="en-GB" sz="2200" dirty="0" smtClean="0">
                <a:latin typeface="Cambria" pitchFamily="18" charset="0"/>
                <a:cs typeface="Arial" charset="0"/>
              </a:rPr>
              <a:t>ive (5) other international Airports </a:t>
            </a:r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8" t="13086" r="80008" b="64654"/>
          <a:stretch>
            <a:fillRect/>
          </a:stretch>
        </p:blipFill>
        <p:spPr bwMode="auto">
          <a:xfrm>
            <a:off x="601321" y="1665288"/>
            <a:ext cx="1278772" cy="827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/>
        </p:nvSpPr>
        <p:spPr>
          <a:xfrm>
            <a:off x="722922" y="189192"/>
            <a:ext cx="857738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>
                <a:solidFill>
                  <a:srgbClr val="FF0000"/>
                </a:solidFill>
                <a:cs typeface="Arial" pitchFamily="34" charset="0"/>
              </a:rPr>
              <a:t>Good Access and Mobility Infrastructur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22922" y="897687"/>
            <a:ext cx="8421078" cy="45719"/>
          </a:xfrm>
          <a:prstGeom prst="rect">
            <a:avLst/>
          </a:prstGeom>
          <a:solidFill>
            <a:srgbClr val="800000"/>
          </a:solidFill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000000"/>
              </a:solidFill>
            </a:endParaRPr>
          </a:p>
        </p:txBody>
      </p:sp>
      <p:sp>
        <p:nvSpPr>
          <p:cNvPr id="14" name="Ellipse 13"/>
          <p:cNvSpPr/>
          <p:nvPr/>
        </p:nvSpPr>
        <p:spPr>
          <a:xfrm rot="20620671">
            <a:off x="8439645" y="143646"/>
            <a:ext cx="528403" cy="562888"/>
          </a:xfrm>
          <a:prstGeom prst="ellipse">
            <a:avLst/>
          </a:prstGeom>
          <a:solidFill>
            <a:srgbClr val="AB0000"/>
          </a:solidFill>
          <a:ln>
            <a:solidFill>
              <a:srgbClr val="FF0000"/>
            </a:solidFill>
          </a:ln>
          <a:effectLst>
            <a:glow rad="101600">
              <a:schemeClr val="accent6">
                <a:satMod val="175000"/>
                <a:alpha val="40000"/>
              </a:schemeClr>
            </a:glow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90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 anchorCtr="0"/>
          <a:lstStyle/>
          <a:p>
            <a:pPr marL="361950" indent="-1905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fr-FR" sz="1100" b="1" dirty="0" smtClean="0">
              <a:solidFill>
                <a:srgbClr val="C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07827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45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45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45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8" grpId="0"/>
      <p:bldP spid="1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NZEx.2U2pEb.ZwmE_T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cfTlIq1kSLtZlrDP3NF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s7wke5sEmLpovFUasp8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nMDQvXlUCCZ2DXrvK9b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_rBD.b5E2MLtibnNR3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a_6zLrSkKzwqCPORO7m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.ybPSyR0GnAEMlLxHDV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QwdB2OvEayi0OCes2NW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a9LtFCkUeu.sm7XQtOo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wMNdcefEqKyE.1JnGpJ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t0nqgX60WggNIlqq7GW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58CbHBc02DD9.JkIB_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dd6DltgkGVEMAyuqkA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d5e.1EOU.9QQgzr8CmX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YwOKVNOkaZfZJG4t5M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6XUdlVRECO3C9xpJvAE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J0.vBS5EazxBCPASU7H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Uie6w2gEq0jvOqimDk9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1.YDM3ZkWqXzFv7GWws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vXdG7Bx0SItGJAP8_bG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1.YDM3ZkWqXzFv7GWws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vXdG7Bx0SItGJAP8_bG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DZYtAfIEGF.znUMggc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z.M_l80UeZPOwQ_YJSS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TDJuGqu0.T6b5w3x9pe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cN8b9QAECsflW0sdN3y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TDJuGqu0.T6b5w3x9pe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cN8b9QAECsflW0sdN3y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cN8b9QAECsflW0sdN3y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TDJuGqu0.T6b5w3x9pe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TDJuGqu0.T6b5w3x9pe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cN8b9QAECsflW0sdN3y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nl_zUaA0iMw7O57Dspz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DrYJajYkirIYF83BDl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u_Oo1toEqvZ2AU6O.A4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EPfIrrokWOJXSwUlds9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AMpMWYgEyCVX3ujliI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Z3F1jx80usCKQxwp3g9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6HBmoL.E6jGzR3eJ3VJ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tiqjHbkSf6nVnMHgIw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0e1Rq5KkmG9439Pn7tn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encGIKhk.XyQNxKBi2r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BbLirU6kK2PhKbcurCO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PStS__.USNJgS1zXS3W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lXNZSiL0GRjd8XcJjA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FMwr1_J0WJCJQs3auC3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kfvqSMG0aoPnoG8InK0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NwhZYU302JK_VM6ZPjX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NPrrIiC0G8mDnUDV7Q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vrFKK5XUyWrANsnwpZL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pbQXmoQUWCAUka0k8hj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ozDItCR0mpDW9gmTS0B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mmj6JrEk.OFBmJcj45k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CnwF2ZzUuWxeNTtg02d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Ev6__G8k691SXYyZp_8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704UggnUOnn6DpQqc8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v22m3hbUqtxX7bqw45i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NqnTo6DUm7F.6AtFlc1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GQgEsVWkO_mkaXxEl5N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W60GcTbUOf5oiefhRay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LCidXAG06Rn7ANYNI2C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s0xECznEunSkdUzBN2N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YYRxkby0Gkt5SvQI9fd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M8rE_230OoDtJJX0hGh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gCZ_d.MEKmEt43gdkN2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zRwve0dUmQsNLRYaDGp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TFmqjXi06hsiIk0Zua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YpyqBHTUK85e0to8Duj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9J.o0ej06Bgrbv.69qm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rLQ9DOp02yRqix.uBGj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5UtYzsXUmXJxWhZLZu8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vABMqV5EGWqP3l5fyCk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Vfy8nXnU6iqyaonDU6M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zPXmCv50GCjyBukdPhU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0uls.Ko02BsuU_l1bju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mp3R0pNEiDaXj_vEz9.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mUUIJbNkK5qv9begOVh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1s9DyqAEGWjs0qIInL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Am04dTGUaowLOsdV45f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Pw57Wdr06nVQM8v3I3H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fNwdkxJEOH3RlIvTb8l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GBVKAyZU6r9AJOo7Mzj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tVcPrpSka2Cx.kxFtHL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ychLnnDkyPqOkrgCOOu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mb9DMHYU6IxPfCRErRm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v_.hZ3DE6x8zclNKPYD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bCOtxKVUmPDg14T3rPN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zSLjF_MkqPj7lQ2Nr7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EUhTtysEGxRyVzNQAs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YdbSAkr0yW2NacaFioR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4ZuHzVoEyZ5MAYUK77M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hAWUBeMUmNe_6Iuf8oG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3sb6HzlkmY41MoGv13o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ESlJGuVkOs8H27S.x9o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72b6jPJESfsUIy2yH1h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pel_n5hk2jdUJW4mCPR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ulwBXbAEuUCMF79XMhM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XPPCKyBk6S0JSNgd11S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M1Op4ZRkChSQDLCPDjc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.4dtLqJkaOE_KtQLaz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QAbfqDY0GRXlsRfguc2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s9R6NdfU2lawOXDwVBu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FXzCebEu.4dwztDsG1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JwVMhU7Eu2Do2q6OAZk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.kPBeFLkKrZpx6R7ZMU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.On9LWIkClbygGJ4Xzf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4y1uHB5kKtQX0BaJa_w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reD5lH9EeOF858bjf9o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Ay69hBvUa2wf.VKKMon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P3eDEX_k.dLlc9Ak3_F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3CJYqkGU6s1XC56PMd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THKEZUeE2HZ5NY630a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cz8o6wpUm6RFvZOMfuZ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_FAAhSdUW7oA_IuobVV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jcBdUvCU25fgXLJUEtj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sNvgIY_Eanp9O75zoJi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3CJYqkGU6s1XC56PMdk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_FAAhSdUW7oA_IuobVV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3CJYqkGU6s1XC56PMdk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_FAAhSdUW7oA_IuobVV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3CJYqkGU6s1XC56PMdk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_FAAhSdUW7oA_IuobVV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jcBdUvCU25fgXLJUEt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b.nqzrkUCIebXAWF_C9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sNvgIY_Eanp9O75zoJi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jcBdUvCU25fgXLJUEtj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sNvgIY_Eanp9O75zoJi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SNZEx.2U2pEb.ZwmE_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N4GBgFhk641Diec9NL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N4JWs.HEO8y4n.6Ifi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qO7ioUxkiwHWP6DABh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fDhEKMEUOKg.9HCfud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t7YoDZ3kGi9AlwIcwG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vQ6.bVpUWxPbQQ_Ocb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R39GZbJE27jpDLgNFZ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hrGfgqQUytsygviuOR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4Bg4DP10u9c4fMjEnD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DgJ9eHNE.twrbbE8Re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CTSsobS0q0jgfyn.CO2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y02dwBok.WQoC25.Un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W8V5rAwE62jMeuNUrN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O__piyekW0Yr8X8PPgQ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4rkM1BLEayRkgmW2UQ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vdFE9KL0CT.FXmyTXb6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g8u84YWUid_ACh7LPP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xa7hjWXky79EEb6mdC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hpBKoogEm_xRmkfZB1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.k7K_I10KGJtUeRNJr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OJ5571xkCZrc6ns1E0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atVJvJQUCC68L6Pazw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uJIsS2DkuxY0w9AvYH4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MBwBmb7kmkRlxcRBTi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UzbW_U_EmDenFFwcfp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sg36.SD0yXqpVN8nxp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5AnczWs06.9Ab2iSM7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y.yO1HLU..ev_lZNrd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QHKYoO_k.NRi7S1QQcF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.F6Xr3iEKoxTKGYLE3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sCaGmUJUmBcHVf1bn_y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IPF6Ajik2QFx.udRdP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vE7pbXIkKwQYClUnM9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2IT9gZVU.s562yaLai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vaWTqnTkqajz0nfDN4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lPQBtWEGt5TVssh5WK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0qTVVcHEaQfD6sRcrS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TZNF8T.UiQnXMdhe.ox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XrBvpt6E2ai11qT78VX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rLvdjB7kS1td2UgFJg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Ah8_iLtEatRD5hi.13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jl2q0WyUW1oYqHxZEVE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dy3vUZVUCSjg0kxBb8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4xJOl6NEm4VBckrqAD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0BX2ZZq0Kt01W80lF5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_P7uNsrUiapmo9oWkR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piUDuZ7UK8hb7LGv0H2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N7X2undEuxj9JprY7F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kLoD3f7UWxgPkKt8W5I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0WYlalF0Cp1lq3v2JF1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fJa6sxREmlIIJ7LtGlR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XPORNtoUSDZInyjGAb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7AJEwznUqL5Dlm4njre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IN6Mud.0q5PES60xx1I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4zmuNAiUmZXtn54wH1E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07JPk0NEeN.8R.hpv7j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7V87IH3ECRVm0Y8vsKL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.fLw.GTEGP8SdhrxBRi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5r7h1Joka23h1GeeC.I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Bj2Rlex0iEVhPjUJti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8EmXSJGkyocHvVXtElj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EWIB5FwU68L4tYRmdU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XBAh_swEuc1aI_7v_N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WxtRbX8kq4UycvFmJS4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ZHBeTi4Uu8BO6cmWdg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73hE7nTUeN57Lq63b4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KuTltuLEi1A5rU7nFfl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TXR_UrN0qkq8B0cDtcX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dfTRpSo02KY4WzEW..u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YdDwORlkOwqvVTKFjDz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dyYkPUGU.TfAcCEeQjZ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2hdz1MIkS9Mj5qit7iy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2ooux3j0C11LaQ_vmhO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EcZCW8KUGZ97dC36sj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Xup_Lq3EGprArbuAN_I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_tNtrDOkOFNWy_0aEdD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68geFJ7kqLQNz9Ob_R4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Q9diGhq0ugGn1mcXgsM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MTTRY71ka6eLPIborqF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vAjZb_UEiQxB3gdFsHx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CuD3caV0ehmSKlZREt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nINT9WUyhEqXXog0sb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NkkKIiKkuFbFQ73irWA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1.YDM3ZkWqXzFv7GWws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vXdG7Bx0SItGJAP8_b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1173</Words>
  <Application>Microsoft Office PowerPoint</Application>
  <PresentationFormat>On-screen Show (4:3)</PresentationFormat>
  <Paragraphs>279</Paragraphs>
  <Slides>22</Slides>
  <Notes>1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lif NDIAYE</dc:creator>
  <cp:lastModifiedBy>Salif NDIAYE</cp:lastModifiedBy>
  <cp:revision>4</cp:revision>
  <dcterms:created xsi:type="dcterms:W3CDTF">2015-02-04T20:40:42Z</dcterms:created>
  <dcterms:modified xsi:type="dcterms:W3CDTF">2015-02-04T21:22:12Z</dcterms:modified>
</cp:coreProperties>
</file>